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7" r:id="rId2"/>
    <p:sldId id="258" r:id="rId3"/>
    <p:sldId id="283" r:id="rId4"/>
    <p:sldId id="288" r:id="rId5"/>
    <p:sldId id="280" r:id="rId6"/>
    <p:sldId id="290" r:id="rId7"/>
    <p:sldId id="289" r:id="rId8"/>
    <p:sldId id="285" r:id="rId9"/>
    <p:sldId id="291" r:id="rId10"/>
    <p:sldId id="282" r:id="rId11"/>
    <p:sldId id="286" r:id="rId12"/>
    <p:sldId id="265" r:id="rId13"/>
    <p:sldId id="266" r:id="rId14"/>
    <p:sldId id="267" r:id="rId15"/>
    <p:sldId id="268" r:id="rId16"/>
    <p:sldId id="269" r:id="rId17"/>
    <p:sldId id="287" r:id="rId18"/>
    <p:sldId id="271" r:id="rId19"/>
    <p:sldId id="272" r:id="rId20"/>
    <p:sldId id="273" r:id="rId21"/>
    <p:sldId id="274" r:id="rId22"/>
    <p:sldId id="275" r:id="rId23"/>
    <p:sldId id="276" r:id="rId24"/>
    <p:sldId id="278" r:id="rId25"/>
  </p:sldIdLst>
  <p:sldSz cx="9144000" cy="5143500" type="screen16x9"/>
  <p:notesSz cx="6797675" cy="9926638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18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-102" y="-73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884565899850755E-2"/>
          <c:y val="0"/>
          <c:w val="0.97711549315765656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3!$A$9</c:f>
              <c:strCache>
                <c:ptCount val="1"/>
                <c:pt idx="0">
                  <c:v>Налог на прибыль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B$8:$G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Лист3!$B$9:$G$9</c:f>
              <c:numCache>
                <c:formatCode>0.0</c:formatCode>
                <c:ptCount val="6"/>
                <c:pt idx="0">
                  <c:v>3.2000000000000006</c:v>
                </c:pt>
                <c:pt idx="1">
                  <c:v>2.8400000000000003</c:v>
                </c:pt>
                <c:pt idx="2">
                  <c:v>0.80000000000000016</c:v>
                </c:pt>
                <c:pt idx="3">
                  <c:v>0.96</c:v>
                </c:pt>
                <c:pt idx="4">
                  <c:v>0.96</c:v>
                </c:pt>
              </c:numCache>
            </c:numRef>
          </c:val>
        </c:ser>
        <c:ser>
          <c:idx val="1"/>
          <c:order val="1"/>
          <c:tx>
            <c:strRef>
              <c:f>Лист3!$A$10</c:f>
              <c:strCache>
                <c:ptCount val="1"/>
                <c:pt idx="0">
                  <c:v>Налог на имущество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B$8:$G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Лист3!$B$10:$G$10</c:f>
              <c:numCache>
                <c:formatCode>0.0</c:formatCode>
                <c:ptCount val="6"/>
                <c:pt idx="0">
                  <c:v>11</c:v>
                </c:pt>
                <c:pt idx="1">
                  <c:v>8.25</c:v>
                </c:pt>
                <c:pt idx="2">
                  <c:v>11</c:v>
                </c:pt>
                <c:pt idx="3">
                  <c:v>2.75</c:v>
                </c:pt>
                <c:pt idx="4">
                  <c:v>1.25</c:v>
                </c:pt>
              </c:numCache>
            </c:numRef>
          </c:val>
        </c:ser>
        <c:ser>
          <c:idx val="2"/>
          <c:order val="2"/>
          <c:tx>
            <c:strRef>
              <c:f>Лист3!$A$11</c:f>
              <c:strCache>
                <c:ptCount val="1"/>
                <c:pt idx="0">
                  <c:v>Социальные плате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B$8:$G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Лист3!$B$11:$G$11</c:f>
              <c:numCache>
                <c:formatCode>0.0</c:formatCode>
                <c:ptCount val="6"/>
                <c:pt idx="0">
                  <c:v>8.7048000000000005</c:v>
                </c:pt>
                <c:pt idx="1">
                  <c:v>8.7048000000000005</c:v>
                </c:pt>
                <c:pt idx="2">
                  <c:v>8.7048000000000005</c:v>
                </c:pt>
                <c:pt idx="3">
                  <c:v>2.2052160000000001</c:v>
                </c:pt>
                <c:pt idx="4">
                  <c:v>2.2052160000000001</c:v>
                </c:pt>
              </c:numCache>
            </c:numRef>
          </c:val>
        </c:ser>
        <c:ser>
          <c:idx val="3"/>
          <c:order val="3"/>
          <c:tx>
            <c:strRef>
              <c:f>Лист3!$A$12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B$8:$G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Лист3!$B$12:$G$12</c:f>
              <c:numCache>
                <c:formatCode>0.0</c:formatCode>
                <c:ptCount val="6"/>
                <c:pt idx="0">
                  <c:v>3.7720800000000003</c:v>
                </c:pt>
                <c:pt idx="1">
                  <c:v>3.7720800000000003</c:v>
                </c:pt>
                <c:pt idx="2">
                  <c:v>3.7720800000000003</c:v>
                </c:pt>
                <c:pt idx="3">
                  <c:v>3.7720800000000003</c:v>
                </c:pt>
                <c:pt idx="4">
                  <c:v>3.77208000000000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2379392"/>
        <c:axId val="82739776"/>
      </c:barChart>
      <c:catAx>
        <c:axId val="323793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82739776"/>
        <c:crosses val="autoZero"/>
        <c:auto val="1"/>
        <c:lblAlgn val="ctr"/>
        <c:lblOffset val="100"/>
        <c:noMultiLvlLbl val="0"/>
      </c:catAx>
      <c:valAx>
        <c:axId val="82739776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one"/>
        <c:crossAx val="32379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67295597484309E-2"/>
          <c:y val="9.6491228070175433E-2"/>
          <c:w val="0.9446540880503147"/>
          <c:h val="0.807017543859648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Office PowerPoint]Лист3'!$A$13</c:f>
              <c:strCache>
                <c:ptCount val="1"/>
                <c:pt idx="0">
                  <c:v>Итого платежей в бюджеты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Диаграмма в Microsoft Office PowerPoint]Лист3'!$B$8:$F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'[Диаграмма в Microsoft Office PowerPoint]Лист3'!$B$13:$F$13</c:f>
              <c:numCache>
                <c:formatCode>0</c:formatCode>
                <c:ptCount val="5"/>
                <c:pt idx="0">
                  <c:v>26.676880000000018</c:v>
                </c:pt>
                <c:pt idx="1">
                  <c:v>23.566880000000001</c:v>
                </c:pt>
                <c:pt idx="2">
                  <c:v>24.27688000000002</c:v>
                </c:pt>
                <c:pt idx="3">
                  <c:v>9.6872960000000017</c:v>
                </c:pt>
                <c:pt idx="4">
                  <c:v>8.1872960000000017</c:v>
                </c:pt>
              </c:numCache>
            </c:numRef>
          </c:val>
        </c:ser>
        <c:ser>
          <c:idx val="1"/>
          <c:order val="1"/>
          <c:tx>
            <c:strRef>
              <c:f>'[Диаграмма в Microsoft Office PowerPoint]Лист3'!$A$14</c:f>
              <c:strCache>
                <c:ptCount val="1"/>
                <c:pt idx="0">
                  <c:v>Экономия на платежах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Диаграмма в Microsoft Office PowerPoint]Лист3'!$B$8:$F$8</c:f>
              <c:strCache>
                <c:ptCount val="5"/>
                <c:pt idx="0">
                  <c:v>Без льгот</c:v>
                </c:pt>
                <c:pt idx="1">
                  <c:v>Приоритетный инвестиционный проект</c:v>
                </c:pt>
                <c:pt idx="2">
                  <c:v>Региональный инвестиционный проект</c:v>
                </c:pt>
                <c:pt idx="3">
                  <c:v>ТОСЭР</c:v>
                </c:pt>
                <c:pt idx="4">
                  <c:v>СПВ</c:v>
                </c:pt>
              </c:strCache>
            </c:strRef>
          </c:cat>
          <c:val>
            <c:numRef>
              <c:f>'[Диаграмма в Microsoft Office PowerPoint]Лист3'!$B$14:$F$14</c:f>
              <c:numCache>
                <c:formatCode>0</c:formatCode>
                <c:ptCount val="5"/>
                <c:pt idx="0">
                  <c:v>0</c:v>
                </c:pt>
                <c:pt idx="1">
                  <c:v>3.1099999999999994</c:v>
                </c:pt>
                <c:pt idx="2">
                  <c:v>2.3999999999999977</c:v>
                </c:pt>
                <c:pt idx="3">
                  <c:v>16.989583999999976</c:v>
                </c:pt>
                <c:pt idx="4">
                  <c:v>18.48958399999997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32749056"/>
        <c:axId val="82741504"/>
      </c:barChart>
      <c:catAx>
        <c:axId val="3274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82741504"/>
        <c:crosses val="autoZero"/>
        <c:auto val="1"/>
        <c:lblAlgn val="ctr"/>
        <c:lblOffset val="100"/>
        <c:noMultiLvlLbl val="0"/>
      </c:catAx>
      <c:valAx>
        <c:axId val="82741504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one"/>
        <c:crossAx val="32749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E9EDF4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8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8904339427211353"/>
          <c:y val="0.27290815047333561"/>
          <c:w val="0.55455939984234293"/>
          <c:h val="0.5439578609273644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5 г. (оценка)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806450" h="850900"/>
              <a:bevelB w="317500" h="234950"/>
            </a:sp3d>
          </c:spPr>
          <c:dPt>
            <c:idx val="0"/>
            <c:bubble3D val="0"/>
            <c:explosion val="12"/>
            <c:spPr>
              <a:solidFill>
                <a:schemeClr val="accent3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1"/>
            <c:bubble3D val="0"/>
            <c:explosion val="20"/>
            <c:spPr>
              <a:solidFill>
                <a:srgbClr val="FFC00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2"/>
            <c:bubble3D val="0"/>
            <c:explosion val="14"/>
            <c:spPr>
              <a:solidFill>
                <a:srgbClr val="9148C8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3"/>
            <c:bubble3D val="0"/>
            <c:explosion val="15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4"/>
            <c:bubble3D val="0"/>
            <c:explosion val="21"/>
            <c:spPr>
              <a:solidFill>
                <a:srgbClr val="15FB4C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5"/>
            <c:bubble3D val="0"/>
            <c:explosion val="20"/>
            <c:spPr>
              <a:solidFill>
                <a:srgbClr val="FFFF0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6"/>
            <c:bubble3D val="0"/>
            <c:explosion val="22"/>
            <c:spPr>
              <a:solidFill>
                <a:srgbClr val="FF000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7"/>
            <c:bubble3D val="0"/>
            <c:explosion val="28"/>
            <c:spPr>
              <a:solidFill>
                <a:srgbClr val="0070C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8"/>
            <c:bubble3D val="0"/>
            <c:explosion val="29"/>
            <c:spPr>
              <a:solidFill>
                <a:srgbClr val="00B050"/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Pt>
            <c:idx val="9"/>
            <c:bubble3D val="0"/>
            <c:explosion val="20"/>
            <c:spPr>
              <a:solidFill>
                <a:schemeClr val="bg1">
                  <a:lumMod val="65000"/>
                </a:schemeClr>
              </a:solidFill>
              <a:scene3d>
                <a:camera prst="orthographicFront"/>
                <a:lightRig rig="threePt" dir="t"/>
              </a:scene3d>
              <a:sp3d>
                <a:bevelT w="806450" h="850900"/>
                <a:bevelB w="317500" h="234950"/>
              </a:sp3d>
            </c:spPr>
          </c:dPt>
          <c:dLbls>
            <c:dLbl>
              <c:idx val="0"/>
              <c:layout>
                <c:manualLayout>
                  <c:x val="-5.0992669186073175E-2"/>
                  <c:y val="3.794858087682229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7.8536858573870258E-2"/>
                  <c:y val="-2.998510022830117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3425763355251588"/>
                  <c:y val="-0.1369824704020287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9971988142772082E-2"/>
                  <c:y val="-4.595734622806039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7323332848523024E-2"/>
                  <c:y val="-2.558408982717811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6.1261272844006912E-2"/>
                  <c:y val="-1.384320226909495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712773197972146E-2"/>
                  <c:y val="6.388721679112596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2936142447445634"/>
                  <c:y val="1.867784131135662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24845601310755641"/>
                  <c:y val="3.7882310580162285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8.0437261394984069E-3"/>
                  <c:y val="-1.005961013184475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1</c:f>
              <c:strCache>
                <c:ptCount val="10"/>
                <c:pt idx="0">
                  <c:v>Прочие</c:v>
                </c:pt>
                <c:pt idx="1">
                  <c:v>Добыча полезных ископаемых</c:v>
                </c:pt>
                <c:pt idx="2">
                  <c:v>Обрабатывающие производства</c:v>
                </c:pt>
                <c:pt idx="3">
                  <c:v>Производство и распределение электроэнергии, газа и воды</c:v>
                </c:pt>
                <c:pt idx="4">
                  <c:v>Оптовая и розничная торговля</c:v>
                </c:pt>
                <c:pt idx="5">
                  <c:v>Образование, здравоохранение и предоставление социальных услуг</c:v>
                </c:pt>
                <c:pt idx="6">
                  <c:v>Рыболовств, рыбоводство</c:v>
                </c:pt>
                <c:pt idx="7">
                  <c:v>Сельское хозяйство, охота и лесное хозяйство</c:v>
                </c:pt>
                <c:pt idx="8">
                  <c:v>Строительство</c:v>
                </c:pt>
                <c:pt idx="9">
                  <c:v>Транспорт и связь</c:v>
                </c:pt>
              </c:strCache>
            </c:strRef>
          </c:cat>
          <c:val>
            <c:numRef>
              <c:f>Лист1!$B$2:$B$11</c:f>
              <c:numCache>
                <c:formatCode>0.0</c:formatCode>
                <c:ptCount val="10"/>
                <c:pt idx="0">
                  <c:v>18.899999999999999</c:v>
                </c:pt>
                <c:pt idx="1">
                  <c:v>4.5999999999999996</c:v>
                </c:pt>
                <c:pt idx="2">
                  <c:v>9.6999999999999993</c:v>
                </c:pt>
                <c:pt idx="3">
                  <c:v>3.8</c:v>
                </c:pt>
                <c:pt idx="4">
                  <c:v>14.3</c:v>
                </c:pt>
                <c:pt idx="5">
                  <c:v>9.4</c:v>
                </c:pt>
                <c:pt idx="6">
                  <c:v>1.9</c:v>
                </c:pt>
                <c:pt idx="7">
                  <c:v>4.5999999999999996</c:v>
                </c:pt>
                <c:pt idx="8">
                  <c:v>3.5</c:v>
                </c:pt>
                <c:pt idx="9">
                  <c:v>29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9.2592592592592587E-3"/>
                  <c:y val="-5.014604542165618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8518518518518517E-2"/>
                  <c:y val="-5.3280173260509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5432098765432042E-2"/>
                  <c:y val="-5.01460454216561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2345679012345566E-2"/>
                  <c:y val="-5.328017326050975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2345679012345678E-2"/>
                  <c:y val="-4.07436619050957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3888888888888775E-2"/>
                  <c:y val="-3.760953406624213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Производство тр-ртных средств</c:v>
                </c:pt>
                <c:pt idx="1">
                  <c:v>Химическое производство</c:v>
                </c:pt>
                <c:pt idx="2">
                  <c:v>Рыбопереработка</c:v>
                </c:pt>
                <c:pt idx="3">
                  <c:v>Лесозаготовка</c:v>
                </c:pt>
                <c:pt idx="4">
                  <c:v>деревообработка</c:v>
                </c:pt>
                <c:pt idx="5">
                  <c:v>Грузоооборот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38.6</c:v>
                </c:pt>
                <c:pt idx="1">
                  <c:v>112.4</c:v>
                </c:pt>
                <c:pt idx="2">
                  <c:v>115.1</c:v>
                </c:pt>
                <c:pt idx="3">
                  <c:v>102.6</c:v>
                </c:pt>
                <c:pt idx="4">
                  <c:v>108.8</c:v>
                </c:pt>
                <c:pt idx="5">
                  <c:v>108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89587712"/>
        <c:axId val="40949376"/>
        <c:axId val="89391744"/>
      </c:bar3DChart>
      <c:catAx>
        <c:axId val="89587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0949376"/>
        <c:crosses val="autoZero"/>
        <c:auto val="1"/>
        <c:lblAlgn val="ctr"/>
        <c:lblOffset val="100"/>
        <c:noMultiLvlLbl val="0"/>
      </c:catAx>
      <c:valAx>
        <c:axId val="409493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9587712"/>
        <c:crosses val="autoZero"/>
        <c:crossBetween val="between"/>
      </c:valAx>
      <c:serAx>
        <c:axId val="89391744"/>
        <c:scaling>
          <c:orientation val="minMax"/>
        </c:scaling>
        <c:delete val="1"/>
        <c:axPos val="b"/>
        <c:majorTickMark val="out"/>
        <c:minorTickMark val="none"/>
        <c:tickLblPos val="nextTo"/>
        <c:crossAx val="40949376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image" Target="../media/image24.png"/><Relationship Id="rId5" Type="http://schemas.openxmlformats.org/officeDocument/2006/relationships/image" Target="../media/image28.jpeg"/><Relationship Id="rId4" Type="http://schemas.openxmlformats.org/officeDocument/2006/relationships/image" Target="../media/image27.jp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image" Target="../media/image49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image" Target="../media/image54.jpeg"/><Relationship Id="rId4" Type="http://schemas.openxmlformats.org/officeDocument/2006/relationships/image" Target="../media/image57.jp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image" Target="../media/image24.png"/><Relationship Id="rId5" Type="http://schemas.openxmlformats.org/officeDocument/2006/relationships/image" Target="../media/image28.jpeg"/><Relationship Id="rId4" Type="http://schemas.openxmlformats.org/officeDocument/2006/relationships/image" Target="../media/image27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D6EE0F-8A0A-466E-9297-6081D79DB078}" type="doc">
      <dgm:prSet loTypeId="urn:microsoft.com/office/officeart/2008/layout/VerticalCurvedList" loCatId="list" qsTypeId="urn:microsoft.com/office/officeart/2005/8/quickstyle/simple4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669E405C-C3CD-4BD8-A495-8EBE3C5AA5CC}">
      <dgm:prSet phldrT="[Текст]" custT="1"/>
      <dgm:spPr/>
      <dgm:t>
        <a:bodyPr/>
        <a:lstStyle/>
        <a:p>
          <a:r>
            <a:rPr lang="ru-RU" sz="1600" b="1" dirty="0" smtClean="0"/>
            <a:t>  Площадь – 787,6 тыс. кв. км</a:t>
          </a:r>
          <a:endParaRPr lang="ru-RU" sz="1600" b="1" dirty="0"/>
        </a:p>
      </dgm:t>
    </dgm:pt>
    <dgm:pt modelId="{FDE33493-C6F4-4983-BFD0-AFC5C30DEBF6}" type="parTrans" cxnId="{76BFE9AA-81F4-4F5F-8A9E-49E47B4E6518}">
      <dgm:prSet/>
      <dgm:spPr/>
      <dgm:t>
        <a:bodyPr/>
        <a:lstStyle/>
        <a:p>
          <a:endParaRPr lang="ru-RU" sz="2800" b="1"/>
        </a:p>
      </dgm:t>
    </dgm:pt>
    <dgm:pt modelId="{A1B14D72-A782-4927-AFA6-7FF3950C23B4}" type="sibTrans" cxnId="{76BFE9AA-81F4-4F5F-8A9E-49E47B4E6518}">
      <dgm:prSet/>
      <dgm:spPr/>
      <dgm:t>
        <a:bodyPr/>
        <a:lstStyle/>
        <a:p>
          <a:endParaRPr lang="ru-RU" sz="2800" b="1"/>
        </a:p>
      </dgm:t>
    </dgm:pt>
    <dgm:pt modelId="{AF9F33DD-9707-4B2F-9B19-2927DFA57862}">
      <dgm:prSet phldrT="[Текст]" custT="1"/>
      <dgm:spPr/>
      <dgm:t>
        <a:bodyPr/>
        <a:lstStyle/>
        <a:p>
          <a:r>
            <a:rPr lang="ru-RU" sz="1600" b="1" dirty="0" smtClean="0"/>
            <a:t> Население – 1,3 млн. человек</a:t>
          </a:r>
          <a:endParaRPr lang="ru-RU" sz="1600" b="1" dirty="0"/>
        </a:p>
      </dgm:t>
    </dgm:pt>
    <dgm:pt modelId="{DFB06CD2-4355-47D8-B617-260E3C0A8CBF}" type="parTrans" cxnId="{0A068652-36A7-48F5-8D5E-87BC3D2F0AA0}">
      <dgm:prSet/>
      <dgm:spPr/>
      <dgm:t>
        <a:bodyPr/>
        <a:lstStyle/>
        <a:p>
          <a:endParaRPr lang="ru-RU" sz="2800" b="1"/>
        </a:p>
      </dgm:t>
    </dgm:pt>
    <dgm:pt modelId="{572E2F7B-F33E-421B-BAB9-5B13C338413B}" type="sibTrans" cxnId="{0A068652-36A7-48F5-8D5E-87BC3D2F0AA0}">
      <dgm:prSet/>
      <dgm:spPr/>
      <dgm:t>
        <a:bodyPr/>
        <a:lstStyle/>
        <a:p>
          <a:endParaRPr lang="ru-RU" sz="2800" b="1"/>
        </a:p>
      </dgm:t>
    </dgm:pt>
    <dgm:pt modelId="{1A86213C-0830-47FB-BEB5-96DF54ADA974}">
      <dgm:prSet phldrT="[Текст]" custT="1"/>
      <dgm:spPr/>
      <dgm:t>
        <a:bodyPr/>
        <a:lstStyle/>
        <a:p>
          <a:r>
            <a:rPr lang="ru-RU" sz="1600" b="1" dirty="0" smtClean="0"/>
            <a:t>  Объем инвестиций – 2 млрд. долл.</a:t>
          </a:r>
        </a:p>
      </dgm:t>
    </dgm:pt>
    <dgm:pt modelId="{C3F6A685-2DFF-42B2-B234-048AA52513DE}" type="parTrans" cxnId="{B3ACFEC8-8380-4A7E-90E9-A0B29568502D}">
      <dgm:prSet/>
      <dgm:spPr/>
      <dgm:t>
        <a:bodyPr/>
        <a:lstStyle/>
        <a:p>
          <a:endParaRPr lang="ru-RU" sz="2800" b="1"/>
        </a:p>
      </dgm:t>
    </dgm:pt>
    <dgm:pt modelId="{B92F8A62-5CE5-465D-820B-351C145DEE4D}" type="sibTrans" cxnId="{B3ACFEC8-8380-4A7E-90E9-A0B29568502D}">
      <dgm:prSet/>
      <dgm:spPr/>
      <dgm:t>
        <a:bodyPr/>
        <a:lstStyle/>
        <a:p>
          <a:endParaRPr lang="ru-RU" sz="2800" b="1"/>
        </a:p>
      </dgm:t>
    </dgm:pt>
    <dgm:pt modelId="{637095C3-9D1D-462A-A1D2-7E2B7D694E8D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  ВРП – 11 млрд. долларов</a:t>
          </a:r>
        </a:p>
      </dgm:t>
    </dgm:pt>
    <dgm:pt modelId="{ED6B2FBF-D518-47A2-B7E4-626EEF9BC1C6}" type="parTrans" cxnId="{BF6328FF-C1DD-4E64-B9CE-C567A2E457A1}">
      <dgm:prSet/>
      <dgm:spPr/>
      <dgm:t>
        <a:bodyPr/>
        <a:lstStyle/>
        <a:p>
          <a:endParaRPr lang="ru-RU" sz="2800" b="1"/>
        </a:p>
      </dgm:t>
    </dgm:pt>
    <dgm:pt modelId="{ACEF161B-513A-4F81-B79E-2E55B7D59094}" type="sibTrans" cxnId="{BF6328FF-C1DD-4E64-B9CE-C567A2E457A1}">
      <dgm:prSet/>
      <dgm:spPr/>
      <dgm:t>
        <a:bodyPr/>
        <a:lstStyle/>
        <a:p>
          <a:endParaRPr lang="ru-RU" sz="2800" b="1"/>
        </a:p>
      </dgm:t>
    </dgm:pt>
    <dgm:pt modelId="{ABBFCB83-4892-45E6-9DB7-287DCBEE4CFD}">
      <dgm:prSet phldrT="[Текст]" custT="1"/>
      <dgm:spPr/>
      <dgm:t>
        <a:bodyPr/>
        <a:lstStyle/>
        <a:p>
          <a:r>
            <a:rPr lang="ru-RU" sz="1600" b="1" dirty="0" smtClean="0"/>
            <a:t> Внешнеторговый оборот – 4 млрд. долл.</a:t>
          </a:r>
        </a:p>
      </dgm:t>
    </dgm:pt>
    <dgm:pt modelId="{5D2C4DFA-57BC-48EA-B7D0-E593C35E43A4}" type="parTrans" cxnId="{14F8E8E9-17C6-4FD4-B074-ED2E8AC5CA21}">
      <dgm:prSet/>
      <dgm:spPr/>
      <dgm:t>
        <a:bodyPr/>
        <a:lstStyle/>
        <a:p>
          <a:endParaRPr lang="ru-RU" sz="2800" b="1"/>
        </a:p>
      </dgm:t>
    </dgm:pt>
    <dgm:pt modelId="{AE6B81EE-A325-453B-93FC-374E71D36734}" type="sibTrans" cxnId="{14F8E8E9-17C6-4FD4-B074-ED2E8AC5CA21}">
      <dgm:prSet/>
      <dgm:spPr/>
      <dgm:t>
        <a:bodyPr/>
        <a:lstStyle/>
        <a:p>
          <a:endParaRPr lang="ru-RU" sz="2800" b="1"/>
        </a:p>
      </dgm:t>
    </dgm:pt>
    <dgm:pt modelId="{BEFE07D4-FCD2-4CCA-9920-349A0A12A8C4}" type="pres">
      <dgm:prSet presAssocID="{A8D6EE0F-8A0A-466E-9297-6081D79DB078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11FB6C9-CA33-4CAB-9FD7-B3CB5C4DAE93}" type="pres">
      <dgm:prSet presAssocID="{A8D6EE0F-8A0A-466E-9297-6081D79DB078}" presName="Name1" presStyleCnt="0"/>
      <dgm:spPr/>
    </dgm:pt>
    <dgm:pt modelId="{3D36A6FA-B97B-4260-8E7E-62CE986C53EA}" type="pres">
      <dgm:prSet presAssocID="{A8D6EE0F-8A0A-466E-9297-6081D79DB078}" presName="cycle" presStyleCnt="0"/>
      <dgm:spPr/>
    </dgm:pt>
    <dgm:pt modelId="{B8FABCF9-4BA6-4454-B36D-DB5426E1FE57}" type="pres">
      <dgm:prSet presAssocID="{A8D6EE0F-8A0A-466E-9297-6081D79DB078}" presName="srcNode" presStyleLbl="node1" presStyleIdx="0" presStyleCnt="5"/>
      <dgm:spPr/>
    </dgm:pt>
    <dgm:pt modelId="{407920C2-46F7-422C-AE79-8174DEF54864}" type="pres">
      <dgm:prSet presAssocID="{A8D6EE0F-8A0A-466E-9297-6081D79DB078}" presName="conn" presStyleLbl="parChTrans1D2" presStyleIdx="0" presStyleCnt="1"/>
      <dgm:spPr/>
      <dgm:t>
        <a:bodyPr/>
        <a:lstStyle/>
        <a:p>
          <a:endParaRPr lang="ru-RU"/>
        </a:p>
      </dgm:t>
    </dgm:pt>
    <dgm:pt modelId="{429559A1-A647-4B34-9BD5-D74FEC3C06B6}" type="pres">
      <dgm:prSet presAssocID="{A8D6EE0F-8A0A-466E-9297-6081D79DB078}" presName="extraNode" presStyleLbl="node1" presStyleIdx="0" presStyleCnt="5"/>
      <dgm:spPr/>
    </dgm:pt>
    <dgm:pt modelId="{790AAF86-EF35-4E4E-ACEE-9202FA046FAC}" type="pres">
      <dgm:prSet presAssocID="{A8D6EE0F-8A0A-466E-9297-6081D79DB078}" presName="dstNode" presStyleLbl="node1" presStyleIdx="0" presStyleCnt="5"/>
      <dgm:spPr/>
    </dgm:pt>
    <dgm:pt modelId="{106A81C0-9150-4C1A-831C-281D3BB63A0F}" type="pres">
      <dgm:prSet presAssocID="{669E405C-C3CD-4BD8-A495-8EBE3C5AA5CC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7E6A2D-5B49-443F-BFF6-B93BFEAB26C5}" type="pres">
      <dgm:prSet presAssocID="{669E405C-C3CD-4BD8-A495-8EBE3C5AA5CC}" presName="accent_1" presStyleCnt="0"/>
      <dgm:spPr/>
    </dgm:pt>
    <dgm:pt modelId="{E22D78F8-AEE1-4474-8C3D-FA74D8DA555B}" type="pres">
      <dgm:prSet presAssocID="{669E405C-C3CD-4BD8-A495-8EBE3C5AA5CC}" presName="accentRepeatNode" presStyleLbl="solidFgAcc1" presStyleIdx="0" presStyleCnt="5"/>
      <dgm:spPr/>
    </dgm:pt>
    <dgm:pt modelId="{CF3DF8B2-2AF9-4954-BA17-C9CCD8BDCCB5}" type="pres">
      <dgm:prSet presAssocID="{AF9F33DD-9707-4B2F-9B19-2927DFA57862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07C28F-027D-4909-9BDB-4D9A1E662403}" type="pres">
      <dgm:prSet presAssocID="{AF9F33DD-9707-4B2F-9B19-2927DFA57862}" presName="accent_2" presStyleCnt="0"/>
      <dgm:spPr/>
    </dgm:pt>
    <dgm:pt modelId="{554C5C04-497F-434B-BBA2-67A8303C3839}" type="pres">
      <dgm:prSet presAssocID="{AF9F33DD-9707-4B2F-9B19-2927DFA57862}" presName="accentRepeatNode" presStyleLbl="solidFgAcc1" presStyleIdx="1" presStyleCnt="5"/>
      <dgm:spPr/>
    </dgm:pt>
    <dgm:pt modelId="{35787B31-0994-41DE-A9EE-06FB6755511D}" type="pres">
      <dgm:prSet presAssocID="{637095C3-9D1D-462A-A1D2-7E2B7D694E8D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340AA6-404C-4384-B956-5C298D708A65}" type="pres">
      <dgm:prSet presAssocID="{637095C3-9D1D-462A-A1D2-7E2B7D694E8D}" presName="accent_3" presStyleCnt="0"/>
      <dgm:spPr/>
    </dgm:pt>
    <dgm:pt modelId="{CF28C662-97E3-4026-9141-F4D0D0455389}" type="pres">
      <dgm:prSet presAssocID="{637095C3-9D1D-462A-A1D2-7E2B7D694E8D}" presName="accentRepeatNode" presStyleLbl="solidFgAcc1" presStyleIdx="2" presStyleCnt="5"/>
      <dgm:spPr/>
    </dgm:pt>
    <dgm:pt modelId="{D5E6FC89-00A5-46C1-B8E7-033ACB7D20C2}" type="pres">
      <dgm:prSet presAssocID="{ABBFCB83-4892-45E6-9DB7-287DCBEE4CFD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6333A0-26AF-4B15-B0F9-E46A233A5E72}" type="pres">
      <dgm:prSet presAssocID="{ABBFCB83-4892-45E6-9DB7-287DCBEE4CFD}" presName="accent_4" presStyleCnt="0"/>
      <dgm:spPr/>
    </dgm:pt>
    <dgm:pt modelId="{60611E50-48D1-496B-909D-8578F7880DA2}" type="pres">
      <dgm:prSet presAssocID="{ABBFCB83-4892-45E6-9DB7-287DCBEE4CFD}" presName="accentRepeatNode" presStyleLbl="solidFgAcc1" presStyleIdx="3" presStyleCnt="5"/>
      <dgm:spPr/>
    </dgm:pt>
    <dgm:pt modelId="{89650085-3CBE-4816-AAB0-55C6F5F7F8AE}" type="pres">
      <dgm:prSet presAssocID="{1A86213C-0830-47FB-BEB5-96DF54ADA974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5E642B-BD5E-41BA-862B-6FC6812B5C01}" type="pres">
      <dgm:prSet presAssocID="{1A86213C-0830-47FB-BEB5-96DF54ADA974}" presName="accent_5" presStyleCnt="0"/>
      <dgm:spPr/>
    </dgm:pt>
    <dgm:pt modelId="{2BA0170D-B60E-4838-B4A7-844310EE8587}" type="pres">
      <dgm:prSet presAssocID="{1A86213C-0830-47FB-BEB5-96DF54ADA974}" presName="accentRepeatNode" presStyleLbl="solidFgAcc1" presStyleIdx="4" presStyleCnt="5"/>
      <dgm:spPr/>
    </dgm:pt>
  </dgm:ptLst>
  <dgm:cxnLst>
    <dgm:cxn modelId="{3AF8D169-A3A2-43AB-BE7D-C2715FC3B6B4}" type="presOf" srcId="{A8D6EE0F-8A0A-466E-9297-6081D79DB078}" destId="{BEFE07D4-FCD2-4CCA-9920-349A0A12A8C4}" srcOrd="0" destOrd="0" presId="urn:microsoft.com/office/officeart/2008/layout/VerticalCurvedList"/>
    <dgm:cxn modelId="{9CB0CDB8-CB42-4E8E-87B1-D330A9E2BE45}" type="presOf" srcId="{ABBFCB83-4892-45E6-9DB7-287DCBEE4CFD}" destId="{D5E6FC89-00A5-46C1-B8E7-033ACB7D20C2}" srcOrd="0" destOrd="0" presId="urn:microsoft.com/office/officeart/2008/layout/VerticalCurvedList"/>
    <dgm:cxn modelId="{0A068652-36A7-48F5-8D5E-87BC3D2F0AA0}" srcId="{A8D6EE0F-8A0A-466E-9297-6081D79DB078}" destId="{AF9F33DD-9707-4B2F-9B19-2927DFA57862}" srcOrd="1" destOrd="0" parTransId="{DFB06CD2-4355-47D8-B617-260E3C0A8CBF}" sibTransId="{572E2F7B-F33E-421B-BAB9-5B13C338413B}"/>
    <dgm:cxn modelId="{B3ACFEC8-8380-4A7E-90E9-A0B29568502D}" srcId="{A8D6EE0F-8A0A-466E-9297-6081D79DB078}" destId="{1A86213C-0830-47FB-BEB5-96DF54ADA974}" srcOrd="4" destOrd="0" parTransId="{C3F6A685-2DFF-42B2-B234-048AA52513DE}" sibTransId="{B92F8A62-5CE5-465D-820B-351C145DEE4D}"/>
    <dgm:cxn modelId="{CA52DA4C-8041-4B8D-A306-EE3063BD01EA}" type="presOf" srcId="{637095C3-9D1D-462A-A1D2-7E2B7D694E8D}" destId="{35787B31-0994-41DE-A9EE-06FB6755511D}" srcOrd="0" destOrd="0" presId="urn:microsoft.com/office/officeart/2008/layout/VerticalCurvedList"/>
    <dgm:cxn modelId="{4A4D84BF-A743-4468-A555-EA8EBB8A8CAC}" type="presOf" srcId="{669E405C-C3CD-4BD8-A495-8EBE3C5AA5CC}" destId="{106A81C0-9150-4C1A-831C-281D3BB63A0F}" srcOrd="0" destOrd="0" presId="urn:microsoft.com/office/officeart/2008/layout/VerticalCurvedList"/>
    <dgm:cxn modelId="{B92B209B-68EC-446E-B1B5-38694CC30866}" type="presOf" srcId="{A1B14D72-A782-4927-AFA6-7FF3950C23B4}" destId="{407920C2-46F7-422C-AE79-8174DEF54864}" srcOrd="0" destOrd="0" presId="urn:microsoft.com/office/officeart/2008/layout/VerticalCurvedList"/>
    <dgm:cxn modelId="{BF6328FF-C1DD-4E64-B9CE-C567A2E457A1}" srcId="{A8D6EE0F-8A0A-466E-9297-6081D79DB078}" destId="{637095C3-9D1D-462A-A1D2-7E2B7D694E8D}" srcOrd="2" destOrd="0" parTransId="{ED6B2FBF-D518-47A2-B7E4-626EEF9BC1C6}" sibTransId="{ACEF161B-513A-4F81-B79E-2E55B7D59094}"/>
    <dgm:cxn modelId="{E0252449-33E0-4E8C-884F-51584CF38C4C}" type="presOf" srcId="{1A86213C-0830-47FB-BEB5-96DF54ADA974}" destId="{89650085-3CBE-4816-AAB0-55C6F5F7F8AE}" srcOrd="0" destOrd="0" presId="urn:microsoft.com/office/officeart/2008/layout/VerticalCurvedList"/>
    <dgm:cxn modelId="{47CBAAAE-880B-49DF-B7C3-1EEB40A9A675}" type="presOf" srcId="{AF9F33DD-9707-4B2F-9B19-2927DFA57862}" destId="{CF3DF8B2-2AF9-4954-BA17-C9CCD8BDCCB5}" srcOrd="0" destOrd="0" presId="urn:microsoft.com/office/officeart/2008/layout/VerticalCurvedList"/>
    <dgm:cxn modelId="{76BFE9AA-81F4-4F5F-8A9E-49E47B4E6518}" srcId="{A8D6EE0F-8A0A-466E-9297-6081D79DB078}" destId="{669E405C-C3CD-4BD8-A495-8EBE3C5AA5CC}" srcOrd="0" destOrd="0" parTransId="{FDE33493-C6F4-4983-BFD0-AFC5C30DEBF6}" sibTransId="{A1B14D72-A782-4927-AFA6-7FF3950C23B4}"/>
    <dgm:cxn modelId="{14F8E8E9-17C6-4FD4-B074-ED2E8AC5CA21}" srcId="{A8D6EE0F-8A0A-466E-9297-6081D79DB078}" destId="{ABBFCB83-4892-45E6-9DB7-287DCBEE4CFD}" srcOrd="3" destOrd="0" parTransId="{5D2C4DFA-57BC-48EA-B7D0-E593C35E43A4}" sibTransId="{AE6B81EE-A325-453B-93FC-374E71D36734}"/>
    <dgm:cxn modelId="{56A0A120-DD25-4F25-8D70-643C78C87A71}" type="presParOf" srcId="{BEFE07D4-FCD2-4CCA-9920-349A0A12A8C4}" destId="{C11FB6C9-CA33-4CAB-9FD7-B3CB5C4DAE93}" srcOrd="0" destOrd="0" presId="urn:microsoft.com/office/officeart/2008/layout/VerticalCurvedList"/>
    <dgm:cxn modelId="{1476B26B-508D-4E2D-AF87-AD433453FC49}" type="presParOf" srcId="{C11FB6C9-CA33-4CAB-9FD7-B3CB5C4DAE93}" destId="{3D36A6FA-B97B-4260-8E7E-62CE986C53EA}" srcOrd="0" destOrd="0" presId="urn:microsoft.com/office/officeart/2008/layout/VerticalCurvedList"/>
    <dgm:cxn modelId="{D1B858D9-1362-4CFA-A5ED-C79559C32714}" type="presParOf" srcId="{3D36A6FA-B97B-4260-8E7E-62CE986C53EA}" destId="{B8FABCF9-4BA6-4454-B36D-DB5426E1FE57}" srcOrd="0" destOrd="0" presId="urn:microsoft.com/office/officeart/2008/layout/VerticalCurvedList"/>
    <dgm:cxn modelId="{69F509F8-CC29-4C46-99C3-78081271268D}" type="presParOf" srcId="{3D36A6FA-B97B-4260-8E7E-62CE986C53EA}" destId="{407920C2-46F7-422C-AE79-8174DEF54864}" srcOrd="1" destOrd="0" presId="urn:microsoft.com/office/officeart/2008/layout/VerticalCurvedList"/>
    <dgm:cxn modelId="{8B2B4886-4E9F-429A-A618-916962226433}" type="presParOf" srcId="{3D36A6FA-B97B-4260-8E7E-62CE986C53EA}" destId="{429559A1-A647-4B34-9BD5-D74FEC3C06B6}" srcOrd="2" destOrd="0" presId="urn:microsoft.com/office/officeart/2008/layout/VerticalCurvedList"/>
    <dgm:cxn modelId="{DD3B30D8-E589-4C11-9939-F5635B64C4E2}" type="presParOf" srcId="{3D36A6FA-B97B-4260-8E7E-62CE986C53EA}" destId="{790AAF86-EF35-4E4E-ACEE-9202FA046FAC}" srcOrd="3" destOrd="0" presId="urn:microsoft.com/office/officeart/2008/layout/VerticalCurvedList"/>
    <dgm:cxn modelId="{8E4BB46E-BE00-490E-8CB5-5653725B99F3}" type="presParOf" srcId="{C11FB6C9-CA33-4CAB-9FD7-B3CB5C4DAE93}" destId="{106A81C0-9150-4C1A-831C-281D3BB63A0F}" srcOrd="1" destOrd="0" presId="urn:microsoft.com/office/officeart/2008/layout/VerticalCurvedList"/>
    <dgm:cxn modelId="{8DD37377-1A0E-4842-8E0B-743BC9E6EF05}" type="presParOf" srcId="{C11FB6C9-CA33-4CAB-9FD7-B3CB5C4DAE93}" destId="{027E6A2D-5B49-443F-BFF6-B93BFEAB26C5}" srcOrd="2" destOrd="0" presId="urn:microsoft.com/office/officeart/2008/layout/VerticalCurvedList"/>
    <dgm:cxn modelId="{C1CED8A5-5D64-428A-9C2D-A4C66EC9BEE5}" type="presParOf" srcId="{027E6A2D-5B49-443F-BFF6-B93BFEAB26C5}" destId="{E22D78F8-AEE1-4474-8C3D-FA74D8DA555B}" srcOrd="0" destOrd="0" presId="urn:microsoft.com/office/officeart/2008/layout/VerticalCurvedList"/>
    <dgm:cxn modelId="{3EA2ED45-6414-494E-BEE8-77B172E5C255}" type="presParOf" srcId="{C11FB6C9-CA33-4CAB-9FD7-B3CB5C4DAE93}" destId="{CF3DF8B2-2AF9-4954-BA17-C9CCD8BDCCB5}" srcOrd="3" destOrd="0" presId="urn:microsoft.com/office/officeart/2008/layout/VerticalCurvedList"/>
    <dgm:cxn modelId="{1134C852-2AAF-4CDE-BBFF-4407D879E4F6}" type="presParOf" srcId="{C11FB6C9-CA33-4CAB-9FD7-B3CB5C4DAE93}" destId="{BD07C28F-027D-4909-9BDB-4D9A1E662403}" srcOrd="4" destOrd="0" presId="urn:microsoft.com/office/officeart/2008/layout/VerticalCurvedList"/>
    <dgm:cxn modelId="{620BECF7-36D9-4594-8C87-206E631290C0}" type="presParOf" srcId="{BD07C28F-027D-4909-9BDB-4D9A1E662403}" destId="{554C5C04-497F-434B-BBA2-67A8303C3839}" srcOrd="0" destOrd="0" presId="urn:microsoft.com/office/officeart/2008/layout/VerticalCurvedList"/>
    <dgm:cxn modelId="{56DDC87D-49F8-4E4D-8714-3E3D5FC0641C}" type="presParOf" srcId="{C11FB6C9-CA33-4CAB-9FD7-B3CB5C4DAE93}" destId="{35787B31-0994-41DE-A9EE-06FB6755511D}" srcOrd="5" destOrd="0" presId="urn:microsoft.com/office/officeart/2008/layout/VerticalCurvedList"/>
    <dgm:cxn modelId="{15046F41-E720-4916-BEB4-2BB2E7F560B5}" type="presParOf" srcId="{C11FB6C9-CA33-4CAB-9FD7-B3CB5C4DAE93}" destId="{B3340AA6-404C-4384-B956-5C298D708A65}" srcOrd="6" destOrd="0" presId="urn:microsoft.com/office/officeart/2008/layout/VerticalCurvedList"/>
    <dgm:cxn modelId="{440C76E8-C82F-421B-A6BC-EE455644F9A8}" type="presParOf" srcId="{B3340AA6-404C-4384-B956-5C298D708A65}" destId="{CF28C662-97E3-4026-9141-F4D0D0455389}" srcOrd="0" destOrd="0" presId="urn:microsoft.com/office/officeart/2008/layout/VerticalCurvedList"/>
    <dgm:cxn modelId="{6046DBEB-9325-4B5C-B8DC-0A624626753B}" type="presParOf" srcId="{C11FB6C9-CA33-4CAB-9FD7-B3CB5C4DAE93}" destId="{D5E6FC89-00A5-46C1-B8E7-033ACB7D20C2}" srcOrd="7" destOrd="0" presId="urn:microsoft.com/office/officeart/2008/layout/VerticalCurvedList"/>
    <dgm:cxn modelId="{CE7154C9-E319-496B-896E-E57064EEC4EB}" type="presParOf" srcId="{C11FB6C9-CA33-4CAB-9FD7-B3CB5C4DAE93}" destId="{D96333A0-26AF-4B15-B0F9-E46A233A5E72}" srcOrd="8" destOrd="0" presId="urn:microsoft.com/office/officeart/2008/layout/VerticalCurvedList"/>
    <dgm:cxn modelId="{5C69E8DF-10EB-4321-B97A-BD4330BC5CD2}" type="presParOf" srcId="{D96333A0-26AF-4B15-B0F9-E46A233A5E72}" destId="{60611E50-48D1-496B-909D-8578F7880DA2}" srcOrd="0" destOrd="0" presId="urn:microsoft.com/office/officeart/2008/layout/VerticalCurvedList"/>
    <dgm:cxn modelId="{F95E492D-19B8-476B-ADCA-B0030C41C637}" type="presParOf" srcId="{C11FB6C9-CA33-4CAB-9FD7-B3CB5C4DAE93}" destId="{89650085-3CBE-4816-AAB0-55C6F5F7F8AE}" srcOrd="9" destOrd="0" presId="urn:microsoft.com/office/officeart/2008/layout/VerticalCurvedList"/>
    <dgm:cxn modelId="{F60E57B8-FD8B-4F01-87FC-469A4DEDD768}" type="presParOf" srcId="{C11FB6C9-CA33-4CAB-9FD7-B3CB5C4DAE93}" destId="{3C5E642B-BD5E-41BA-862B-6FC6812B5C01}" srcOrd="10" destOrd="0" presId="urn:microsoft.com/office/officeart/2008/layout/VerticalCurvedList"/>
    <dgm:cxn modelId="{325143A8-77D8-400E-91BC-550ACF0D3D9C}" type="presParOf" srcId="{3C5E642B-BD5E-41BA-862B-6FC6812B5C01}" destId="{2BA0170D-B60E-4838-B4A7-844310EE8587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D7A37CA-3710-4EF0-AFEB-461D03EF35EB}" type="doc">
      <dgm:prSet loTypeId="urn:microsoft.com/office/officeart/2008/layout/PictureAccentList" loCatId="picture" qsTypeId="urn:microsoft.com/office/officeart/2005/8/quickstyle/3d1" qsCatId="3D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95C4BCF7-19E6-46EE-923D-90749370CB77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>
        <a:effectLst>
          <a:glow rad="228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3600" dirty="0" smtClean="0"/>
            <a:t>Лидер в ДФО</a:t>
          </a:r>
          <a:endParaRPr lang="ru-RU" sz="3600" dirty="0"/>
        </a:p>
      </dgm:t>
    </dgm:pt>
    <dgm:pt modelId="{EB32E854-3199-40C4-8FFC-FA466664B750}" type="parTrans" cxnId="{223D63F3-94C6-485D-B3E8-806453FBD22F}">
      <dgm:prSet/>
      <dgm:spPr/>
      <dgm:t>
        <a:bodyPr/>
        <a:lstStyle/>
        <a:p>
          <a:endParaRPr lang="ru-RU"/>
        </a:p>
      </dgm:t>
    </dgm:pt>
    <dgm:pt modelId="{E91F3E70-F655-45D5-9452-155DF1C9067D}" type="sibTrans" cxnId="{223D63F3-94C6-485D-B3E8-806453FBD22F}">
      <dgm:prSet/>
      <dgm:spPr/>
      <dgm:t>
        <a:bodyPr/>
        <a:lstStyle/>
        <a:p>
          <a:endParaRPr lang="ru-RU"/>
        </a:p>
      </dgm:t>
    </dgm:pt>
    <dgm:pt modelId="{514501B7-E789-457B-975F-EA3B1EBB419C}">
      <dgm:prSet phldrT="[Текст]" custT="1"/>
      <dgm:spPr/>
      <dgm:t>
        <a:bodyPr/>
        <a:lstStyle/>
        <a:p>
          <a:r>
            <a:rPr lang="ru-RU" sz="2000" b="1" dirty="0" smtClean="0"/>
            <a:t>Авиастроение</a:t>
          </a:r>
          <a:endParaRPr lang="ru-RU" sz="2000" b="1" dirty="0"/>
        </a:p>
      </dgm:t>
    </dgm:pt>
    <dgm:pt modelId="{5681AF24-01BE-4CA9-BE1D-6CC7E21599B6}" type="parTrans" cxnId="{834D1C9B-AEDF-4595-A62C-A94067761987}">
      <dgm:prSet/>
      <dgm:spPr/>
      <dgm:t>
        <a:bodyPr/>
        <a:lstStyle/>
        <a:p>
          <a:endParaRPr lang="ru-RU"/>
        </a:p>
      </dgm:t>
    </dgm:pt>
    <dgm:pt modelId="{564A93EA-A371-4AA8-918D-74D031CB0AA0}" type="sibTrans" cxnId="{834D1C9B-AEDF-4595-A62C-A94067761987}">
      <dgm:prSet/>
      <dgm:spPr/>
      <dgm:t>
        <a:bodyPr/>
        <a:lstStyle/>
        <a:p>
          <a:endParaRPr lang="ru-RU"/>
        </a:p>
      </dgm:t>
    </dgm:pt>
    <dgm:pt modelId="{ED2B3EFE-B92E-4C44-9BAC-554CC1AA5C5C}">
      <dgm:prSet phldrT="[Текст]" custT="1"/>
      <dgm:spPr/>
      <dgm:t>
        <a:bodyPr/>
        <a:lstStyle/>
        <a:p>
          <a:r>
            <a:rPr lang="ru-RU" sz="2000" b="1" dirty="0" smtClean="0"/>
            <a:t>Черная металлургия</a:t>
          </a:r>
          <a:endParaRPr lang="ru-RU" sz="2000" b="1" dirty="0"/>
        </a:p>
      </dgm:t>
    </dgm:pt>
    <dgm:pt modelId="{8FF3A338-CEE0-448F-84D0-51133890C165}" type="parTrans" cxnId="{3E209FE5-EC99-4852-AF79-D4E8F2CFEE3F}">
      <dgm:prSet/>
      <dgm:spPr/>
      <dgm:t>
        <a:bodyPr/>
        <a:lstStyle/>
        <a:p>
          <a:endParaRPr lang="ru-RU"/>
        </a:p>
      </dgm:t>
    </dgm:pt>
    <dgm:pt modelId="{2A7F2EDF-A3A8-4854-A4CC-CBA4491A4F0A}" type="sibTrans" cxnId="{3E209FE5-EC99-4852-AF79-D4E8F2CFEE3F}">
      <dgm:prSet/>
      <dgm:spPr/>
      <dgm:t>
        <a:bodyPr/>
        <a:lstStyle/>
        <a:p>
          <a:endParaRPr lang="ru-RU"/>
        </a:p>
      </dgm:t>
    </dgm:pt>
    <dgm:pt modelId="{62D1EA4B-0FDE-4604-84B2-2DC56F93333C}">
      <dgm:prSet phldrT="[Текст]" custT="1"/>
      <dgm:spPr/>
      <dgm:t>
        <a:bodyPr/>
        <a:lstStyle/>
        <a:p>
          <a:r>
            <a:rPr lang="ru-RU" sz="2000" b="1" dirty="0" smtClean="0"/>
            <a:t>Деревообработка</a:t>
          </a:r>
          <a:endParaRPr lang="ru-RU" sz="2000" b="1" dirty="0"/>
        </a:p>
      </dgm:t>
    </dgm:pt>
    <dgm:pt modelId="{D42CD52B-C22C-488E-9998-D69D394EEB02}" type="parTrans" cxnId="{BF16D531-DD4B-4102-A123-34FAED34DB3A}">
      <dgm:prSet/>
      <dgm:spPr/>
      <dgm:t>
        <a:bodyPr/>
        <a:lstStyle/>
        <a:p>
          <a:endParaRPr lang="ru-RU"/>
        </a:p>
      </dgm:t>
    </dgm:pt>
    <dgm:pt modelId="{2145A467-6736-468C-97C5-0DC934F7E798}" type="sibTrans" cxnId="{BF16D531-DD4B-4102-A123-34FAED34DB3A}">
      <dgm:prSet/>
      <dgm:spPr/>
      <dgm:t>
        <a:bodyPr/>
        <a:lstStyle/>
        <a:p>
          <a:endParaRPr lang="ru-RU"/>
        </a:p>
      </dgm:t>
    </dgm:pt>
    <dgm:pt modelId="{698617BB-E611-40F4-BA81-0CFAA73434FA}">
      <dgm:prSet phldrT="[Текст]" custT="1"/>
      <dgm:spPr/>
      <dgm:t>
        <a:bodyPr/>
        <a:lstStyle/>
        <a:p>
          <a:r>
            <a:rPr lang="ru-RU" sz="2000" b="1" dirty="0" smtClean="0"/>
            <a:t>Нефтепереработка</a:t>
          </a:r>
          <a:endParaRPr lang="ru-RU" sz="2000" b="1" dirty="0"/>
        </a:p>
      </dgm:t>
    </dgm:pt>
    <dgm:pt modelId="{DD309618-8AB1-45BD-8F6A-CA7710CD186A}" type="parTrans" cxnId="{C856D575-753B-447D-8904-0807A112EB55}">
      <dgm:prSet/>
      <dgm:spPr/>
      <dgm:t>
        <a:bodyPr/>
        <a:lstStyle/>
        <a:p>
          <a:endParaRPr lang="ru-RU"/>
        </a:p>
      </dgm:t>
    </dgm:pt>
    <dgm:pt modelId="{B6AA9513-7731-4869-AB6B-48374AF80CC1}" type="sibTrans" cxnId="{C856D575-753B-447D-8904-0807A112EB55}">
      <dgm:prSet/>
      <dgm:spPr/>
      <dgm:t>
        <a:bodyPr/>
        <a:lstStyle/>
        <a:p>
          <a:endParaRPr lang="ru-RU"/>
        </a:p>
      </dgm:t>
    </dgm:pt>
    <dgm:pt modelId="{FE10DB6B-363D-497E-9E09-EC2CFE3C1739}">
      <dgm:prSet phldrT="[Текст]" custT="1"/>
      <dgm:spPr/>
      <dgm:t>
        <a:bodyPr/>
        <a:lstStyle/>
        <a:p>
          <a:r>
            <a:rPr lang="ru-RU" sz="2000" b="1" dirty="0" smtClean="0"/>
            <a:t>Ядерная медицина</a:t>
          </a:r>
          <a:endParaRPr lang="ru-RU" sz="2000" b="1" dirty="0"/>
        </a:p>
      </dgm:t>
    </dgm:pt>
    <dgm:pt modelId="{1147CE7E-96FA-47AD-920B-645C1326BE5C}" type="parTrans" cxnId="{D2A0ED1E-A104-4A54-A594-31CF2CBA02EA}">
      <dgm:prSet/>
      <dgm:spPr/>
      <dgm:t>
        <a:bodyPr/>
        <a:lstStyle/>
        <a:p>
          <a:endParaRPr lang="ru-RU"/>
        </a:p>
      </dgm:t>
    </dgm:pt>
    <dgm:pt modelId="{CC47D21E-0A80-4445-BAC0-1E2004987406}" type="sibTrans" cxnId="{D2A0ED1E-A104-4A54-A594-31CF2CBA02EA}">
      <dgm:prSet/>
      <dgm:spPr/>
      <dgm:t>
        <a:bodyPr/>
        <a:lstStyle/>
        <a:p>
          <a:endParaRPr lang="ru-RU"/>
        </a:p>
      </dgm:t>
    </dgm:pt>
    <dgm:pt modelId="{B2AC18F3-5D26-4640-9878-72D856FA6233}" type="pres">
      <dgm:prSet presAssocID="{4D7A37CA-3710-4EF0-AFEB-461D03EF35EB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DCEEAB27-BDEE-40A3-AE1C-84FDE84DD2FF}" type="pres">
      <dgm:prSet presAssocID="{95C4BCF7-19E6-46EE-923D-90749370CB77}" presName="root" presStyleCnt="0">
        <dgm:presLayoutVars>
          <dgm:chMax/>
          <dgm:chPref val="4"/>
        </dgm:presLayoutVars>
      </dgm:prSet>
      <dgm:spPr/>
    </dgm:pt>
    <dgm:pt modelId="{801E4474-7E10-4E44-A91F-E772BCE36AD1}" type="pres">
      <dgm:prSet presAssocID="{95C4BCF7-19E6-46EE-923D-90749370CB77}" presName="rootComposite" presStyleCnt="0">
        <dgm:presLayoutVars/>
      </dgm:prSet>
      <dgm:spPr/>
    </dgm:pt>
    <dgm:pt modelId="{66DAE394-AD90-41D7-AFB2-3FC72AACDEBC}" type="pres">
      <dgm:prSet presAssocID="{95C4BCF7-19E6-46EE-923D-90749370CB77}" presName="rootText" presStyleLbl="node0" presStyleIdx="0" presStyleCnt="1" custScaleX="150803">
        <dgm:presLayoutVars>
          <dgm:chMax/>
          <dgm:chPref val="4"/>
        </dgm:presLayoutVars>
      </dgm:prSet>
      <dgm:spPr/>
      <dgm:t>
        <a:bodyPr/>
        <a:lstStyle/>
        <a:p>
          <a:endParaRPr lang="ru-RU"/>
        </a:p>
      </dgm:t>
    </dgm:pt>
    <dgm:pt modelId="{6D665A2A-7268-4542-A24A-92CEECAA3BAE}" type="pres">
      <dgm:prSet presAssocID="{95C4BCF7-19E6-46EE-923D-90749370CB77}" presName="childShape" presStyleCnt="0">
        <dgm:presLayoutVars>
          <dgm:chMax val="0"/>
          <dgm:chPref val="0"/>
        </dgm:presLayoutVars>
      </dgm:prSet>
      <dgm:spPr/>
    </dgm:pt>
    <dgm:pt modelId="{F0E79438-629D-4199-8C5B-0510C3D5E43A}" type="pres">
      <dgm:prSet presAssocID="{514501B7-E789-457B-975F-EA3B1EBB419C}" presName="childComposite" presStyleCnt="0">
        <dgm:presLayoutVars>
          <dgm:chMax val="0"/>
          <dgm:chPref val="0"/>
        </dgm:presLayoutVars>
      </dgm:prSet>
      <dgm:spPr/>
    </dgm:pt>
    <dgm:pt modelId="{CE3F624B-D872-492D-AC1F-932212666C43}" type="pres">
      <dgm:prSet presAssocID="{514501B7-E789-457B-975F-EA3B1EBB419C}" presName="Image" presStyleLbl="node1" presStyleIdx="0" presStyleCnt="5" custLinFactNeighborX="-95168" custLinFactNeighborY="-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B88162DA-ABBE-4B9D-A3E7-8D3EFEAD0C6D}" type="pres">
      <dgm:prSet presAssocID="{514501B7-E789-457B-975F-EA3B1EBB419C}" presName="childText" presStyleLbl="lnNode1" presStyleIdx="0" presStyleCnt="5" custScaleX="210491" custScaleY="101331" custLinFactNeighborX="28878" custLinFactNeighborY="11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552C99-663E-469F-9DE6-9C2BA422F30C}" type="pres">
      <dgm:prSet presAssocID="{ED2B3EFE-B92E-4C44-9BAC-554CC1AA5C5C}" presName="childComposite" presStyleCnt="0">
        <dgm:presLayoutVars>
          <dgm:chMax val="0"/>
          <dgm:chPref val="0"/>
        </dgm:presLayoutVars>
      </dgm:prSet>
      <dgm:spPr/>
    </dgm:pt>
    <dgm:pt modelId="{BDDC524C-D039-4B58-B08F-5BC1F1D083F4}" type="pres">
      <dgm:prSet presAssocID="{ED2B3EFE-B92E-4C44-9BAC-554CC1AA5C5C}" presName="Image" presStyleLbl="node1" presStyleIdx="1" presStyleCnt="5" custLinFactNeighborX="-62815" custLinFactNeighborY="-8602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ru-RU"/>
        </a:p>
      </dgm:t>
    </dgm:pt>
    <dgm:pt modelId="{1EDF4845-A4C1-4568-B850-F6EF91811BA8}" type="pres">
      <dgm:prSet presAssocID="{ED2B3EFE-B92E-4C44-9BAC-554CC1AA5C5C}" presName="childText" presStyleLbl="lnNode1" presStyleIdx="1" presStyleCnt="5" custScaleX="210491" custScaleY="101490" custLinFactNeighborX="24069" custLinFactNeighborY="-49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647F20-65A6-469F-A12E-94260F6E1E17}" type="pres">
      <dgm:prSet presAssocID="{698617BB-E611-40F4-BA81-0CFAA73434FA}" presName="childComposite" presStyleCnt="0">
        <dgm:presLayoutVars>
          <dgm:chMax val="0"/>
          <dgm:chPref val="0"/>
        </dgm:presLayoutVars>
      </dgm:prSet>
      <dgm:spPr/>
    </dgm:pt>
    <dgm:pt modelId="{636493F0-C5F6-4FCC-B039-06B8E69FDEB4}" type="pres">
      <dgm:prSet presAssocID="{698617BB-E611-40F4-BA81-0CFAA73434FA}" presName="Image" presStyleLbl="node1" presStyleIdx="2" presStyleCnt="5" custLinFactNeighborX="-56962" custLinFactNeighborY="-1247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ru-RU"/>
        </a:p>
      </dgm:t>
    </dgm:pt>
    <dgm:pt modelId="{4184A587-162B-4E97-AE0B-D565111548AD}" type="pres">
      <dgm:prSet presAssocID="{698617BB-E611-40F4-BA81-0CFAA73434FA}" presName="childText" presStyleLbl="lnNode1" presStyleIdx="2" presStyleCnt="5" custScaleX="212637" custScaleY="106994" custLinFactNeighborX="24069" custLinFactNeighborY="-111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DC1584-7C43-400B-93FE-C1A018870330}" type="pres">
      <dgm:prSet presAssocID="{FE10DB6B-363D-497E-9E09-EC2CFE3C1739}" presName="childComposite" presStyleCnt="0">
        <dgm:presLayoutVars>
          <dgm:chMax val="0"/>
          <dgm:chPref val="0"/>
        </dgm:presLayoutVars>
      </dgm:prSet>
      <dgm:spPr/>
    </dgm:pt>
    <dgm:pt modelId="{4D754AC9-AFD6-4D78-8B0F-0BBA6D42833D}" type="pres">
      <dgm:prSet presAssocID="{FE10DB6B-363D-497E-9E09-EC2CFE3C1739}" presName="Image" presStyleLbl="node1" presStyleIdx="3" presStyleCnt="5" custLinFactNeighborX="-56963" custLinFactNeighborY="-14728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  <dgm:t>
        <a:bodyPr/>
        <a:lstStyle/>
        <a:p>
          <a:endParaRPr lang="ru-RU"/>
        </a:p>
      </dgm:t>
    </dgm:pt>
    <dgm:pt modelId="{E259D095-D23A-406A-8C8A-76087548FA21}" type="pres">
      <dgm:prSet presAssocID="{FE10DB6B-363D-497E-9E09-EC2CFE3C1739}" presName="childText" presStyleLbl="lnNode1" presStyleIdx="3" presStyleCnt="5" custScaleX="212636" custScaleY="108959" custLinFactNeighborX="23950" custLinFactNeighborY="-154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78BC66-C567-4824-BB89-ECC6D03E28A2}" type="pres">
      <dgm:prSet presAssocID="{62D1EA4B-0FDE-4604-84B2-2DC56F93333C}" presName="childComposite" presStyleCnt="0">
        <dgm:presLayoutVars>
          <dgm:chMax val="0"/>
          <dgm:chPref val="0"/>
        </dgm:presLayoutVars>
      </dgm:prSet>
      <dgm:spPr/>
    </dgm:pt>
    <dgm:pt modelId="{43A2852A-EEAA-45F4-A607-3E2FB2A79448}" type="pres">
      <dgm:prSet presAssocID="{62D1EA4B-0FDE-4604-84B2-2DC56F93333C}" presName="Image" presStyleLbl="node1" presStyleIdx="4" presStyleCnt="5" custLinFactNeighborX="-59542" custLinFactNeighborY="-20274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ru-RU"/>
        </a:p>
      </dgm:t>
    </dgm:pt>
    <dgm:pt modelId="{49EBFBEF-99E4-48CE-B10A-AFA81B10ED83}" type="pres">
      <dgm:prSet presAssocID="{62D1EA4B-0FDE-4604-84B2-2DC56F93333C}" presName="childText" presStyleLbl="lnNode1" presStyleIdx="4" presStyleCnt="5" custScaleX="210092" custLinFactNeighborX="22198" custLinFactNeighborY="-2027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50F8F3-C20B-4153-B25C-E4BAAD7D8FFD}" type="presOf" srcId="{698617BB-E611-40F4-BA81-0CFAA73434FA}" destId="{4184A587-162B-4E97-AE0B-D565111548AD}" srcOrd="0" destOrd="0" presId="urn:microsoft.com/office/officeart/2008/layout/PictureAccentList"/>
    <dgm:cxn modelId="{834D1C9B-AEDF-4595-A62C-A94067761987}" srcId="{95C4BCF7-19E6-46EE-923D-90749370CB77}" destId="{514501B7-E789-457B-975F-EA3B1EBB419C}" srcOrd="0" destOrd="0" parTransId="{5681AF24-01BE-4CA9-BE1D-6CC7E21599B6}" sibTransId="{564A93EA-A371-4AA8-918D-74D031CB0AA0}"/>
    <dgm:cxn modelId="{5FB600D2-473E-476B-AB96-7805FBE779F9}" type="presOf" srcId="{4D7A37CA-3710-4EF0-AFEB-461D03EF35EB}" destId="{B2AC18F3-5D26-4640-9878-72D856FA6233}" srcOrd="0" destOrd="0" presId="urn:microsoft.com/office/officeart/2008/layout/PictureAccentList"/>
    <dgm:cxn modelId="{CF051CF1-0D4B-49C2-A891-D59E3A9CD3E1}" type="presOf" srcId="{514501B7-E789-457B-975F-EA3B1EBB419C}" destId="{B88162DA-ABBE-4B9D-A3E7-8D3EFEAD0C6D}" srcOrd="0" destOrd="0" presId="urn:microsoft.com/office/officeart/2008/layout/PictureAccentList"/>
    <dgm:cxn modelId="{3E209FE5-EC99-4852-AF79-D4E8F2CFEE3F}" srcId="{95C4BCF7-19E6-46EE-923D-90749370CB77}" destId="{ED2B3EFE-B92E-4C44-9BAC-554CC1AA5C5C}" srcOrd="1" destOrd="0" parTransId="{8FF3A338-CEE0-448F-84D0-51133890C165}" sibTransId="{2A7F2EDF-A3A8-4854-A4CC-CBA4491A4F0A}"/>
    <dgm:cxn modelId="{223D63F3-94C6-485D-B3E8-806453FBD22F}" srcId="{4D7A37CA-3710-4EF0-AFEB-461D03EF35EB}" destId="{95C4BCF7-19E6-46EE-923D-90749370CB77}" srcOrd="0" destOrd="0" parTransId="{EB32E854-3199-40C4-8FFC-FA466664B750}" sibTransId="{E91F3E70-F655-45D5-9452-155DF1C9067D}"/>
    <dgm:cxn modelId="{D2A0ED1E-A104-4A54-A594-31CF2CBA02EA}" srcId="{95C4BCF7-19E6-46EE-923D-90749370CB77}" destId="{FE10DB6B-363D-497E-9E09-EC2CFE3C1739}" srcOrd="3" destOrd="0" parTransId="{1147CE7E-96FA-47AD-920B-645C1326BE5C}" sibTransId="{CC47D21E-0A80-4445-BAC0-1E2004987406}"/>
    <dgm:cxn modelId="{9EDD548C-4D5D-4B53-86AC-971F8C6F4EEB}" type="presOf" srcId="{95C4BCF7-19E6-46EE-923D-90749370CB77}" destId="{66DAE394-AD90-41D7-AFB2-3FC72AACDEBC}" srcOrd="0" destOrd="0" presId="urn:microsoft.com/office/officeart/2008/layout/PictureAccentList"/>
    <dgm:cxn modelId="{414DCDAD-9D90-4576-ACC8-29BA332FD089}" type="presOf" srcId="{FE10DB6B-363D-497E-9E09-EC2CFE3C1739}" destId="{E259D095-D23A-406A-8C8A-76087548FA21}" srcOrd="0" destOrd="0" presId="urn:microsoft.com/office/officeart/2008/layout/PictureAccentList"/>
    <dgm:cxn modelId="{C856D575-753B-447D-8904-0807A112EB55}" srcId="{95C4BCF7-19E6-46EE-923D-90749370CB77}" destId="{698617BB-E611-40F4-BA81-0CFAA73434FA}" srcOrd="2" destOrd="0" parTransId="{DD309618-8AB1-45BD-8F6A-CA7710CD186A}" sibTransId="{B6AA9513-7731-4869-AB6B-48374AF80CC1}"/>
    <dgm:cxn modelId="{BF16D531-DD4B-4102-A123-34FAED34DB3A}" srcId="{95C4BCF7-19E6-46EE-923D-90749370CB77}" destId="{62D1EA4B-0FDE-4604-84B2-2DC56F93333C}" srcOrd="4" destOrd="0" parTransId="{D42CD52B-C22C-488E-9998-D69D394EEB02}" sibTransId="{2145A467-6736-468C-97C5-0DC934F7E798}"/>
    <dgm:cxn modelId="{D2E5317A-5BC2-42E4-A6DE-3E44A1E30CE8}" type="presOf" srcId="{ED2B3EFE-B92E-4C44-9BAC-554CC1AA5C5C}" destId="{1EDF4845-A4C1-4568-B850-F6EF91811BA8}" srcOrd="0" destOrd="0" presId="urn:microsoft.com/office/officeart/2008/layout/PictureAccentList"/>
    <dgm:cxn modelId="{A058A383-8858-4F55-877D-CE2B52958A7B}" type="presOf" srcId="{62D1EA4B-0FDE-4604-84B2-2DC56F93333C}" destId="{49EBFBEF-99E4-48CE-B10A-AFA81B10ED83}" srcOrd="0" destOrd="0" presId="urn:microsoft.com/office/officeart/2008/layout/PictureAccentList"/>
    <dgm:cxn modelId="{D6116340-DCC9-4915-A3EB-66807E034A15}" type="presParOf" srcId="{B2AC18F3-5D26-4640-9878-72D856FA6233}" destId="{DCEEAB27-BDEE-40A3-AE1C-84FDE84DD2FF}" srcOrd="0" destOrd="0" presId="urn:microsoft.com/office/officeart/2008/layout/PictureAccentList"/>
    <dgm:cxn modelId="{3DDAFABF-4EEC-4CD3-A594-74177E81637B}" type="presParOf" srcId="{DCEEAB27-BDEE-40A3-AE1C-84FDE84DD2FF}" destId="{801E4474-7E10-4E44-A91F-E772BCE36AD1}" srcOrd="0" destOrd="0" presId="urn:microsoft.com/office/officeart/2008/layout/PictureAccentList"/>
    <dgm:cxn modelId="{1AD93E39-27A7-4FB6-A004-2C42B2327B69}" type="presParOf" srcId="{801E4474-7E10-4E44-A91F-E772BCE36AD1}" destId="{66DAE394-AD90-41D7-AFB2-3FC72AACDEBC}" srcOrd="0" destOrd="0" presId="urn:microsoft.com/office/officeart/2008/layout/PictureAccentList"/>
    <dgm:cxn modelId="{5A18F1FD-85A3-411D-A280-050ECD2B447B}" type="presParOf" srcId="{DCEEAB27-BDEE-40A3-AE1C-84FDE84DD2FF}" destId="{6D665A2A-7268-4542-A24A-92CEECAA3BAE}" srcOrd="1" destOrd="0" presId="urn:microsoft.com/office/officeart/2008/layout/PictureAccentList"/>
    <dgm:cxn modelId="{4205EE0D-607E-4957-8D57-B46136DFAAE4}" type="presParOf" srcId="{6D665A2A-7268-4542-A24A-92CEECAA3BAE}" destId="{F0E79438-629D-4199-8C5B-0510C3D5E43A}" srcOrd="0" destOrd="0" presId="urn:microsoft.com/office/officeart/2008/layout/PictureAccentList"/>
    <dgm:cxn modelId="{2B09A42B-2FC1-4E38-A25E-9271C5E2CC95}" type="presParOf" srcId="{F0E79438-629D-4199-8C5B-0510C3D5E43A}" destId="{CE3F624B-D872-492D-AC1F-932212666C43}" srcOrd="0" destOrd="0" presId="urn:microsoft.com/office/officeart/2008/layout/PictureAccentList"/>
    <dgm:cxn modelId="{107F000C-AAEE-41E1-A0D4-0385094B91C1}" type="presParOf" srcId="{F0E79438-629D-4199-8C5B-0510C3D5E43A}" destId="{B88162DA-ABBE-4B9D-A3E7-8D3EFEAD0C6D}" srcOrd="1" destOrd="0" presId="urn:microsoft.com/office/officeart/2008/layout/PictureAccentList"/>
    <dgm:cxn modelId="{D701777D-37AF-4FA7-805A-EC237A236C33}" type="presParOf" srcId="{6D665A2A-7268-4542-A24A-92CEECAA3BAE}" destId="{06552C99-663E-469F-9DE6-9C2BA422F30C}" srcOrd="1" destOrd="0" presId="urn:microsoft.com/office/officeart/2008/layout/PictureAccentList"/>
    <dgm:cxn modelId="{83DB26DD-1574-4C67-B88B-8DFE0AC8C5C7}" type="presParOf" srcId="{06552C99-663E-469F-9DE6-9C2BA422F30C}" destId="{BDDC524C-D039-4B58-B08F-5BC1F1D083F4}" srcOrd="0" destOrd="0" presId="urn:microsoft.com/office/officeart/2008/layout/PictureAccentList"/>
    <dgm:cxn modelId="{9BCB18E9-DE15-4630-A1BD-59E36783F4F9}" type="presParOf" srcId="{06552C99-663E-469F-9DE6-9C2BA422F30C}" destId="{1EDF4845-A4C1-4568-B850-F6EF91811BA8}" srcOrd="1" destOrd="0" presId="urn:microsoft.com/office/officeart/2008/layout/PictureAccentList"/>
    <dgm:cxn modelId="{6133E69B-9C6F-442E-A9EE-9FF9B4A4F574}" type="presParOf" srcId="{6D665A2A-7268-4542-A24A-92CEECAA3BAE}" destId="{92647F20-65A6-469F-A12E-94260F6E1E17}" srcOrd="2" destOrd="0" presId="urn:microsoft.com/office/officeart/2008/layout/PictureAccentList"/>
    <dgm:cxn modelId="{6E84FCCE-2A94-42AF-AEAA-DCFE82D8061D}" type="presParOf" srcId="{92647F20-65A6-469F-A12E-94260F6E1E17}" destId="{636493F0-C5F6-4FCC-B039-06B8E69FDEB4}" srcOrd="0" destOrd="0" presId="urn:microsoft.com/office/officeart/2008/layout/PictureAccentList"/>
    <dgm:cxn modelId="{BFEFE146-68CD-4FD3-A9EB-2FC970E17BDE}" type="presParOf" srcId="{92647F20-65A6-469F-A12E-94260F6E1E17}" destId="{4184A587-162B-4E97-AE0B-D565111548AD}" srcOrd="1" destOrd="0" presId="urn:microsoft.com/office/officeart/2008/layout/PictureAccentList"/>
    <dgm:cxn modelId="{DA645262-9072-485B-90C8-CA92F0CB63AA}" type="presParOf" srcId="{6D665A2A-7268-4542-A24A-92CEECAA3BAE}" destId="{75DC1584-7C43-400B-93FE-C1A018870330}" srcOrd="3" destOrd="0" presId="urn:microsoft.com/office/officeart/2008/layout/PictureAccentList"/>
    <dgm:cxn modelId="{DE1B519A-F555-4CD9-8E34-DAD290CDA464}" type="presParOf" srcId="{75DC1584-7C43-400B-93FE-C1A018870330}" destId="{4D754AC9-AFD6-4D78-8B0F-0BBA6D42833D}" srcOrd="0" destOrd="0" presId="urn:microsoft.com/office/officeart/2008/layout/PictureAccentList"/>
    <dgm:cxn modelId="{183BF951-CFAF-480A-9970-2A7DA00FC786}" type="presParOf" srcId="{75DC1584-7C43-400B-93FE-C1A018870330}" destId="{E259D095-D23A-406A-8C8A-76087548FA21}" srcOrd="1" destOrd="0" presId="urn:microsoft.com/office/officeart/2008/layout/PictureAccentList"/>
    <dgm:cxn modelId="{A8F37981-8676-48DE-8B96-A064594A3D8C}" type="presParOf" srcId="{6D665A2A-7268-4542-A24A-92CEECAA3BAE}" destId="{AD78BC66-C567-4824-BB89-ECC6D03E28A2}" srcOrd="4" destOrd="0" presId="urn:microsoft.com/office/officeart/2008/layout/PictureAccentList"/>
    <dgm:cxn modelId="{93D2A1AD-9D96-4B6F-A834-955DE633D193}" type="presParOf" srcId="{AD78BC66-C567-4824-BB89-ECC6D03E28A2}" destId="{43A2852A-EEAA-45F4-A607-3E2FB2A79448}" srcOrd="0" destOrd="0" presId="urn:microsoft.com/office/officeart/2008/layout/PictureAccentList"/>
    <dgm:cxn modelId="{58E7A567-9714-43FA-8372-B651DAD7D062}" type="presParOf" srcId="{AD78BC66-C567-4824-BB89-ECC6D03E28A2}" destId="{49EBFBEF-99E4-48CE-B10A-AFA81B10ED83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CB64D20-78D6-40F1-AAAC-AEBD9058DEB0}" type="doc">
      <dgm:prSet loTypeId="urn:microsoft.com/office/officeart/2005/8/layout/chevron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023070-99C3-4C64-80CF-B9A757C85D34}">
      <dgm:prSet phldrT="[Текст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5400000" scaled="1"/>
          <a:tileRect/>
        </a:gradFill>
        <a:effectLst>
          <a:glow rad="1397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DE72360E-63C9-4CFF-AF38-46891519F6E2}" type="parTrans" cxnId="{14D9700A-0AAB-4FAE-811E-0F19B9D96A74}">
      <dgm:prSet/>
      <dgm:spPr/>
      <dgm:t>
        <a:bodyPr/>
        <a:lstStyle/>
        <a:p>
          <a:endParaRPr lang="ru-RU"/>
        </a:p>
      </dgm:t>
    </dgm:pt>
    <dgm:pt modelId="{01AE9289-2C9E-41E2-AB55-DEAA89088352}" type="sibTrans" cxnId="{14D9700A-0AAB-4FAE-811E-0F19B9D96A74}">
      <dgm:prSet/>
      <dgm:spPr/>
      <dgm:t>
        <a:bodyPr/>
        <a:lstStyle/>
        <a:p>
          <a:endParaRPr lang="ru-RU"/>
        </a:p>
      </dgm:t>
    </dgm:pt>
    <dgm:pt modelId="{8735306F-C2E6-4BE5-B1B2-5CE35FFBFC9B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30.03.2015</a:t>
          </a:r>
          <a:r>
            <a:rPr lang="en-US" sz="1600" b="1" dirty="0" smtClean="0">
              <a:solidFill>
                <a:schemeClr val="bg1"/>
              </a:solidFill>
            </a:rPr>
            <a:t> </a:t>
          </a:r>
          <a:r>
            <a:rPr lang="ru-RU" sz="1600" b="1" dirty="0" smtClean="0">
              <a:solidFill>
                <a:schemeClr val="bg1"/>
              </a:solidFill>
            </a:rPr>
            <a:t>вступил в силу закон о ТОСЭР</a:t>
          </a:r>
          <a:endParaRPr lang="ru-RU" sz="1600" dirty="0">
            <a:solidFill>
              <a:schemeClr val="bg1"/>
            </a:solidFill>
          </a:endParaRPr>
        </a:p>
      </dgm:t>
    </dgm:pt>
    <dgm:pt modelId="{9D6CA035-8599-4CE9-ADDE-771E7C830464}" type="parTrans" cxnId="{1A4E2E43-3639-4AA3-9CC0-686C5C1D0CC3}">
      <dgm:prSet/>
      <dgm:spPr/>
      <dgm:t>
        <a:bodyPr/>
        <a:lstStyle/>
        <a:p>
          <a:endParaRPr lang="ru-RU"/>
        </a:p>
      </dgm:t>
    </dgm:pt>
    <dgm:pt modelId="{0F1A4A45-518A-4236-B21D-27C3C80E8286}" type="sibTrans" cxnId="{1A4E2E43-3639-4AA3-9CC0-686C5C1D0CC3}">
      <dgm:prSet/>
      <dgm:spPr/>
      <dgm:t>
        <a:bodyPr/>
        <a:lstStyle/>
        <a:p>
          <a:endParaRPr lang="ru-RU"/>
        </a:p>
      </dgm:t>
    </dgm:pt>
    <dgm:pt modelId="{66009B59-FC2C-4869-AE0B-B3E6D9B51224}">
      <dgm:prSet phldrT="[Текст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5400000" scaled="1"/>
          <a:tileRect/>
        </a:gradFill>
        <a:effectLst>
          <a:glow rad="1397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60A79A91-A63D-4A15-9138-CD1954A771F8}" type="parTrans" cxnId="{E20F73F4-D22C-4C22-9ED1-751324D295D2}">
      <dgm:prSet/>
      <dgm:spPr/>
      <dgm:t>
        <a:bodyPr/>
        <a:lstStyle/>
        <a:p>
          <a:endParaRPr lang="ru-RU"/>
        </a:p>
      </dgm:t>
    </dgm:pt>
    <dgm:pt modelId="{F6F05764-E09D-4123-A5B8-2CDCF50C66DE}" type="sibTrans" cxnId="{E20F73F4-D22C-4C22-9ED1-751324D295D2}">
      <dgm:prSet/>
      <dgm:spPr/>
      <dgm:t>
        <a:bodyPr/>
        <a:lstStyle/>
        <a:p>
          <a:endParaRPr lang="ru-RU"/>
        </a:p>
      </dgm:t>
    </dgm:pt>
    <dgm:pt modelId="{A819CECB-D9F0-4419-99B1-56C399AF3DB4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25.06.2015 приняты Постановления Правительства Российской Федерации  о создании ТОСЭР «Хабаровск» и ТОСЭР «Комсомольск</a:t>
          </a:r>
          <a:r>
            <a:rPr lang="ru-RU" sz="1500" b="1" dirty="0" smtClean="0">
              <a:solidFill>
                <a:schemeClr val="bg1"/>
              </a:solidFill>
            </a:rPr>
            <a:t>» (первые в Российской Федерации)</a:t>
          </a:r>
          <a:endParaRPr lang="ru-RU" sz="1500" dirty="0"/>
        </a:p>
      </dgm:t>
    </dgm:pt>
    <dgm:pt modelId="{63ACC17B-69C5-43AA-9E25-9ED42C425B02}" type="parTrans" cxnId="{182D9572-8916-4B90-840A-5345F949A8B3}">
      <dgm:prSet/>
      <dgm:spPr/>
      <dgm:t>
        <a:bodyPr/>
        <a:lstStyle/>
        <a:p>
          <a:endParaRPr lang="ru-RU"/>
        </a:p>
      </dgm:t>
    </dgm:pt>
    <dgm:pt modelId="{673544E6-19E4-4AC8-B4F5-DE9787ED3BD8}" type="sibTrans" cxnId="{182D9572-8916-4B90-840A-5345F949A8B3}">
      <dgm:prSet/>
      <dgm:spPr/>
      <dgm:t>
        <a:bodyPr/>
        <a:lstStyle/>
        <a:p>
          <a:endParaRPr lang="ru-RU"/>
        </a:p>
      </dgm:t>
    </dgm:pt>
    <dgm:pt modelId="{9E208748-4132-4805-B92E-E37F9E059AEB}">
      <dgm:prSet phldrT="[Текст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5400000" scaled="1"/>
          <a:tileRect/>
        </a:gradFill>
        <a:effectLst>
          <a:glow rad="1397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48E4A95-C358-4E62-A8BF-ABBE603B10DF}" type="parTrans" cxnId="{43CEF146-FB07-4F07-89B1-8331822912FD}">
      <dgm:prSet/>
      <dgm:spPr/>
      <dgm:t>
        <a:bodyPr/>
        <a:lstStyle/>
        <a:p>
          <a:endParaRPr lang="ru-RU"/>
        </a:p>
      </dgm:t>
    </dgm:pt>
    <dgm:pt modelId="{37DC509D-DFDF-41A6-BC83-3AC2EA1D2900}" type="sibTrans" cxnId="{43CEF146-FB07-4F07-89B1-8331822912FD}">
      <dgm:prSet/>
      <dgm:spPr/>
      <dgm:t>
        <a:bodyPr/>
        <a:lstStyle/>
        <a:p>
          <a:endParaRPr lang="ru-RU"/>
        </a:p>
      </dgm:t>
    </dgm:pt>
    <dgm:pt modelId="{6590A828-D749-4F6F-93E3-7B1748C90E39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10.03.2017  –</a:t>
          </a:r>
          <a:r>
            <a:rPr lang="en-US" sz="1600" b="1" dirty="0" smtClean="0">
              <a:solidFill>
                <a:schemeClr val="bg1"/>
              </a:solidFill>
            </a:rPr>
            <a:t> </a:t>
          </a:r>
          <a:r>
            <a:rPr lang="ru-RU" sz="1600" b="1" dirty="0" smtClean="0">
              <a:solidFill>
                <a:schemeClr val="bg1"/>
              </a:solidFill>
            </a:rPr>
            <a:t>58 компаний подали заявки (</a:t>
          </a:r>
          <a:r>
            <a:rPr lang="en-US" sz="1600" b="1" dirty="0" smtClean="0">
              <a:solidFill>
                <a:schemeClr val="bg1"/>
              </a:solidFill>
            </a:rPr>
            <a:t>2</a:t>
          </a:r>
          <a:r>
            <a:rPr lang="ru-RU" sz="1600" b="1" dirty="0" smtClean="0">
              <a:solidFill>
                <a:schemeClr val="bg1"/>
              </a:solidFill>
            </a:rPr>
            <a:t>5 получили статус резидента)</a:t>
          </a:r>
          <a:endParaRPr lang="ru-RU" sz="1600" b="1" dirty="0">
            <a:solidFill>
              <a:schemeClr val="bg1"/>
            </a:solidFill>
          </a:endParaRPr>
        </a:p>
      </dgm:t>
    </dgm:pt>
    <dgm:pt modelId="{19C9EFC8-5B91-4217-8E96-AC282BE6A4D3}" type="parTrans" cxnId="{3C435AFA-6BAE-47AA-85B5-C52F7F03AA17}">
      <dgm:prSet/>
      <dgm:spPr/>
      <dgm:t>
        <a:bodyPr/>
        <a:lstStyle/>
        <a:p>
          <a:endParaRPr lang="ru-RU"/>
        </a:p>
      </dgm:t>
    </dgm:pt>
    <dgm:pt modelId="{C91341D5-E543-40F8-A9C0-ABDB4F03C816}" type="sibTrans" cxnId="{3C435AFA-6BAE-47AA-85B5-C52F7F03AA17}">
      <dgm:prSet/>
      <dgm:spPr/>
      <dgm:t>
        <a:bodyPr/>
        <a:lstStyle/>
        <a:p>
          <a:endParaRPr lang="ru-RU"/>
        </a:p>
      </dgm:t>
    </dgm:pt>
    <dgm:pt modelId="{5A3D434B-2CCB-4A2F-96A2-31D994D6AA4F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Установлен минимальный объем капитальных вложений для резидентов –   </a:t>
          </a:r>
          <a:r>
            <a:rPr lang="en-US" sz="1600" b="1" dirty="0" smtClean="0">
              <a:solidFill>
                <a:schemeClr val="bg1"/>
              </a:solidFill>
            </a:rPr>
            <a:t>7</a:t>
          </a:r>
          <a:r>
            <a:rPr lang="ru-RU" sz="1600" b="1" dirty="0" smtClean="0">
              <a:solidFill>
                <a:schemeClr val="bg1"/>
              </a:solidFill>
            </a:rPr>
            <a:t>,7 тыс. долларов</a:t>
          </a:r>
          <a:endParaRPr lang="ru-RU" sz="1500" b="1" dirty="0">
            <a:solidFill>
              <a:schemeClr val="bg1"/>
            </a:solidFill>
          </a:endParaRPr>
        </a:p>
      </dgm:t>
    </dgm:pt>
    <dgm:pt modelId="{BAA83C5B-8B78-4C61-8B78-4084903091E2}" type="parTrans" cxnId="{6A1C9D52-D8B1-4346-969D-6094CC2626C4}">
      <dgm:prSet/>
      <dgm:spPr/>
      <dgm:t>
        <a:bodyPr/>
        <a:lstStyle/>
        <a:p>
          <a:endParaRPr lang="ru-RU"/>
        </a:p>
      </dgm:t>
    </dgm:pt>
    <dgm:pt modelId="{BA3D1D2E-0FEB-4752-A312-0C6D13FAC116}" type="sibTrans" cxnId="{6A1C9D52-D8B1-4346-969D-6094CC2626C4}">
      <dgm:prSet/>
      <dgm:spPr/>
      <dgm:t>
        <a:bodyPr/>
        <a:lstStyle/>
        <a:p>
          <a:endParaRPr lang="ru-RU"/>
        </a:p>
      </dgm:t>
    </dgm:pt>
    <dgm:pt modelId="{AD8F3E33-74D1-4F53-B9FF-9909FDC99B15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Определены меры гос. поддержки и порядок осуществления деятельности</a:t>
          </a:r>
          <a:endParaRPr lang="ru-RU" sz="1600" dirty="0">
            <a:solidFill>
              <a:schemeClr val="bg1"/>
            </a:solidFill>
          </a:endParaRPr>
        </a:p>
      </dgm:t>
    </dgm:pt>
    <dgm:pt modelId="{A3CEFB34-73E9-4BA4-907A-F1DE6F4A6C13}" type="parTrans" cxnId="{AD57741C-00DB-49A6-A1A9-26472C0C378F}">
      <dgm:prSet/>
      <dgm:spPr/>
      <dgm:t>
        <a:bodyPr/>
        <a:lstStyle/>
        <a:p>
          <a:endParaRPr lang="ru-RU"/>
        </a:p>
      </dgm:t>
    </dgm:pt>
    <dgm:pt modelId="{97A23A9B-57AF-4A05-BF7D-B908920B550B}" type="sibTrans" cxnId="{AD57741C-00DB-49A6-A1A9-26472C0C378F}">
      <dgm:prSet/>
      <dgm:spPr/>
      <dgm:t>
        <a:bodyPr/>
        <a:lstStyle/>
        <a:p>
          <a:endParaRPr lang="ru-RU"/>
        </a:p>
      </dgm:t>
    </dgm:pt>
    <dgm:pt modelId="{BFA560FF-7B1B-4926-A816-E36FFFE167A3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30.04.2015 создана Управляющая компания ТОСЭР –                          АО "Корпорация развития Дальнего Востока"</a:t>
          </a:r>
          <a:endParaRPr lang="ru-RU" sz="1600" dirty="0">
            <a:solidFill>
              <a:schemeClr val="bg1"/>
            </a:solidFill>
          </a:endParaRPr>
        </a:p>
      </dgm:t>
    </dgm:pt>
    <dgm:pt modelId="{B1AFCC42-E07A-444B-ABD6-99EE454DA604}" type="parTrans" cxnId="{A16FB65F-CA49-4BDD-891A-721D8DD938F5}">
      <dgm:prSet/>
      <dgm:spPr/>
      <dgm:t>
        <a:bodyPr/>
        <a:lstStyle/>
        <a:p>
          <a:endParaRPr lang="ru-RU"/>
        </a:p>
      </dgm:t>
    </dgm:pt>
    <dgm:pt modelId="{AA164A57-E81C-4E3C-943D-81BDF6057562}" type="sibTrans" cxnId="{A16FB65F-CA49-4BDD-891A-721D8DD938F5}">
      <dgm:prSet/>
      <dgm:spPr/>
      <dgm:t>
        <a:bodyPr/>
        <a:lstStyle/>
        <a:p>
          <a:endParaRPr lang="ru-RU"/>
        </a:p>
      </dgm:t>
    </dgm:pt>
    <dgm:pt modelId="{63F92991-1DFD-4729-9AE7-B743BC9E296B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Общий объем инвестиций по заявкам  – 1,1 млрд. долларов</a:t>
          </a:r>
          <a:endParaRPr lang="ru-RU" sz="1600" b="1" dirty="0">
            <a:solidFill>
              <a:schemeClr val="bg1"/>
            </a:solidFill>
          </a:endParaRPr>
        </a:p>
      </dgm:t>
    </dgm:pt>
    <dgm:pt modelId="{F2959ADF-5D40-4FCE-950F-5D3D828C1E7B}" type="parTrans" cxnId="{54481D92-8FDD-476A-829B-2D0767415E69}">
      <dgm:prSet/>
      <dgm:spPr/>
      <dgm:t>
        <a:bodyPr/>
        <a:lstStyle/>
        <a:p>
          <a:endParaRPr lang="ru-RU"/>
        </a:p>
      </dgm:t>
    </dgm:pt>
    <dgm:pt modelId="{8042E134-92D9-4B4E-9191-56D8ACA54A31}" type="sibTrans" cxnId="{54481D92-8FDD-476A-829B-2D0767415E69}">
      <dgm:prSet/>
      <dgm:spPr/>
      <dgm:t>
        <a:bodyPr/>
        <a:lstStyle/>
        <a:p>
          <a:endParaRPr lang="ru-RU"/>
        </a:p>
      </dgm:t>
    </dgm:pt>
    <dgm:pt modelId="{DBBA769D-AAEE-42C7-8260-8F3D4C203594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Создание более 8 000 рабочих мест</a:t>
          </a:r>
          <a:endParaRPr lang="ru-RU" sz="1600" b="1" dirty="0">
            <a:solidFill>
              <a:schemeClr val="bg1"/>
            </a:solidFill>
          </a:endParaRPr>
        </a:p>
      </dgm:t>
    </dgm:pt>
    <dgm:pt modelId="{431176D1-93C8-4DB6-A078-48CCCF8F869F}" type="parTrans" cxnId="{9C848433-C5E7-4CF4-AA2D-214862DA5A69}">
      <dgm:prSet/>
      <dgm:spPr/>
      <dgm:t>
        <a:bodyPr/>
        <a:lstStyle/>
        <a:p>
          <a:endParaRPr lang="ru-RU"/>
        </a:p>
      </dgm:t>
    </dgm:pt>
    <dgm:pt modelId="{0F39D76C-DB31-4BDC-8BD1-349230688833}" type="sibTrans" cxnId="{9C848433-C5E7-4CF4-AA2D-214862DA5A69}">
      <dgm:prSet/>
      <dgm:spPr/>
      <dgm:t>
        <a:bodyPr/>
        <a:lstStyle/>
        <a:p>
          <a:endParaRPr lang="ru-RU"/>
        </a:p>
      </dgm:t>
    </dgm:pt>
    <dgm:pt modelId="{05710B20-71EB-48A9-B701-511AAB4EE4E2}" type="pres">
      <dgm:prSet presAssocID="{DCB64D20-78D6-40F1-AAAC-AEBD9058DEB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60F9CA-311F-4614-B158-6D49041D75FC}" type="pres">
      <dgm:prSet presAssocID="{96023070-99C3-4C64-80CF-B9A757C85D34}" presName="composite" presStyleCnt="0"/>
      <dgm:spPr/>
    </dgm:pt>
    <dgm:pt modelId="{20A6FAA5-C699-4DD6-8DC1-2AF6451B8999}" type="pres">
      <dgm:prSet presAssocID="{96023070-99C3-4C64-80CF-B9A757C85D34}" presName="parentText" presStyleLbl="alignNode1" presStyleIdx="0" presStyleCnt="3" custLinFactNeighborX="-3840" custLinFactNeighborY="-793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E33C4D-DF07-476A-9292-1A52DAD5D1B9}" type="pres">
      <dgm:prSet presAssocID="{96023070-99C3-4C64-80CF-B9A757C85D34}" presName="descendantText" presStyleLbl="alignAcc1" presStyleIdx="0" presStyleCnt="3" custLinFactNeighborX="3365" custLinFactNeighborY="82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BE66E0-4C4E-4209-86C8-89EDBAB0E69C}" type="pres">
      <dgm:prSet presAssocID="{01AE9289-2C9E-41E2-AB55-DEAA89088352}" presName="sp" presStyleCnt="0"/>
      <dgm:spPr/>
    </dgm:pt>
    <dgm:pt modelId="{257D3CFB-FBB5-4145-9808-6E5B86A5B5D9}" type="pres">
      <dgm:prSet presAssocID="{66009B59-FC2C-4869-AE0B-B3E6D9B51224}" presName="composite" presStyleCnt="0"/>
      <dgm:spPr/>
    </dgm:pt>
    <dgm:pt modelId="{929E25CC-F7E6-412D-9A85-45DD54DF9227}" type="pres">
      <dgm:prSet presAssocID="{66009B59-FC2C-4869-AE0B-B3E6D9B51224}" presName="parentText" presStyleLbl="alignNode1" presStyleIdx="1" presStyleCnt="3" custLinFactNeighborX="1076" custLinFactNeighborY="5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437E9A-C5FF-454F-A1FA-EC1623732BC9}" type="pres">
      <dgm:prSet presAssocID="{66009B59-FC2C-4869-AE0B-B3E6D9B51224}" presName="descendantText" presStyleLbl="alignAcc1" presStyleIdx="1" presStyleCnt="3" custScaleY="100346" custLinFactNeighborX="3365" custLinFactNeighborY="87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D390DC-8893-4424-A8A3-A479A966B84D}" type="pres">
      <dgm:prSet presAssocID="{F6F05764-E09D-4123-A5B8-2CDCF50C66DE}" presName="sp" presStyleCnt="0"/>
      <dgm:spPr/>
    </dgm:pt>
    <dgm:pt modelId="{DB443135-2F93-4151-A1EE-61D15E970DE4}" type="pres">
      <dgm:prSet presAssocID="{9E208748-4132-4805-B92E-E37F9E059AEB}" presName="composite" presStyleCnt="0"/>
      <dgm:spPr/>
    </dgm:pt>
    <dgm:pt modelId="{83EA71D8-EAD6-47FA-B1E3-E17C07A20D95}" type="pres">
      <dgm:prSet presAssocID="{9E208748-4132-4805-B92E-E37F9E059AEB}" presName="parentText" presStyleLbl="alignNode1" presStyleIdx="2" presStyleCnt="3" custLinFactNeighborX="-816" custLinFactNeighborY="-285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74705B-AA47-49D6-91A3-169639452C7C}" type="pres">
      <dgm:prSet presAssocID="{9E208748-4132-4805-B92E-E37F9E059AEB}" presName="descendantText" presStyleLbl="alignAcc1" presStyleIdx="2" presStyleCnt="3" custLinFactNeighborX="3365" custLinFactNeighborY="27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C9FF5EC-3159-4573-9C1A-411D330B8935}" type="presOf" srcId="{6590A828-D749-4F6F-93E3-7B1748C90E39}" destId="{CE74705B-AA47-49D6-91A3-169639452C7C}" srcOrd="0" destOrd="0" presId="urn:microsoft.com/office/officeart/2005/8/layout/chevron2"/>
    <dgm:cxn modelId="{5B8B82DA-145C-4D9C-A87A-DAFDC3C3B670}" type="presOf" srcId="{66009B59-FC2C-4869-AE0B-B3E6D9B51224}" destId="{929E25CC-F7E6-412D-9A85-45DD54DF9227}" srcOrd="0" destOrd="0" presId="urn:microsoft.com/office/officeart/2005/8/layout/chevron2"/>
    <dgm:cxn modelId="{31179E92-FF8F-43B3-A95C-094546CB1199}" type="presOf" srcId="{DCB64D20-78D6-40F1-AAAC-AEBD9058DEB0}" destId="{05710B20-71EB-48A9-B701-511AAB4EE4E2}" srcOrd="0" destOrd="0" presId="urn:microsoft.com/office/officeart/2005/8/layout/chevron2"/>
    <dgm:cxn modelId="{54481D92-8FDD-476A-829B-2D0767415E69}" srcId="{9E208748-4132-4805-B92E-E37F9E059AEB}" destId="{63F92991-1DFD-4729-9AE7-B743BC9E296B}" srcOrd="1" destOrd="0" parTransId="{F2959ADF-5D40-4FCE-950F-5D3D828C1E7B}" sibTransId="{8042E134-92D9-4B4E-9191-56D8ACA54A31}"/>
    <dgm:cxn modelId="{43CEF146-FB07-4F07-89B1-8331822912FD}" srcId="{DCB64D20-78D6-40F1-AAAC-AEBD9058DEB0}" destId="{9E208748-4132-4805-B92E-E37F9E059AEB}" srcOrd="2" destOrd="0" parTransId="{048E4A95-C358-4E62-A8BF-ABBE603B10DF}" sibTransId="{37DC509D-DFDF-41A6-BC83-3AC2EA1D2900}"/>
    <dgm:cxn modelId="{A16FB65F-CA49-4BDD-891A-721D8DD938F5}" srcId="{96023070-99C3-4C64-80CF-B9A757C85D34}" destId="{BFA560FF-7B1B-4926-A816-E36FFFE167A3}" srcOrd="2" destOrd="0" parTransId="{B1AFCC42-E07A-444B-ABD6-99EE454DA604}" sibTransId="{AA164A57-E81C-4E3C-943D-81BDF6057562}"/>
    <dgm:cxn modelId="{260FC52A-F830-40F8-9FD6-D0C62A84C6A9}" type="presOf" srcId="{AD8F3E33-74D1-4F53-B9FF-9909FDC99B15}" destId="{F7E33C4D-DF07-476A-9292-1A52DAD5D1B9}" srcOrd="0" destOrd="1" presId="urn:microsoft.com/office/officeart/2005/8/layout/chevron2"/>
    <dgm:cxn modelId="{AD57741C-00DB-49A6-A1A9-26472C0C378F}" srcId="{96023070-99C3-4C64-80CF-B9A757C85D34}" destId="{AD8F3E33-74D1-4F53-B9FF-9909FDC99B15}" srcOrd="1" destOrd="0" parTransId="{A3CEFB34-73E9-4BA4-907A-F1DE6F4A6C13}" sibTransId="{97A23A9B-57AF-4A05-BF7D-B908920B550B}"/>
    <dgm:cxn modelId="{3002DC31-7D5C-4935-A330-9AE2F82E89E1}" type="presOf" srcId="{96023070-99C3-4C64-80CF-B9A757C85D34}" destId="{20A6FAA5-C699-4DD6-8DC1-2AF6451B8999}" srcOrd="0" destOrd="0" presId="urn:microsoft.com/office/officeart/2005/8/layout/chevron2"/>
    <dgm:cxn modelId="{9C848433-C5E7-4CF4-AA2D-214862DA5A69}" srcId="{9E208748-4132-4805-B92E-E37F9E059AEB}" destId="{DBBA769D-AAEE-42C7-8260-8F3D4C203594}" srcOrd="2" destOrd="0" parTransId="{431176D1-93C8-4DB6-A078-48CCCF8F869F}" sibTransId="{0F39D76C-DB31-4BDC-8BD1-349230688833}"/>
    <dgm:cxn modelId="{C3A044D5-C1D1-4194-8725-9A9638338512}" type="presOf" srcId="{8735306F-C2E6-4BE5-B1B2-5CE35FFBFC9B}" destId="{F7E33C4D-DF07-476A-9292-1A52DAD5D1B9}" srcOrd="0" destOrd="0" presId="urn:microsoft.com/office/officeart/2005/8/layout/chevron2"/>
    <dgm:cxn modelId="{182D9572-8916-4B90-840A-5345F949A8B3}" srcId="{66009B59-FC2C-4869-AE0B-B3E6D9B51224}" destId="{A819CECB-D9F0-4419-99B1-56C399AF3DB4}" srcOrd="0" destOrd="0" parTransId="{63ACC17B-69C5-43AA-9E25-9ED42C425B02}" sibTransId="{673544E6-19E4-4AC8-B4F5-DE9787ED3BD8}"/>
    <dgm:cxn modelId="{6A1C9D52-D8B1-4346-969D-6094CC2626C4}" srcId="{66009B59-FC2C-4869-AE0B-B3E6D9B51224}" destId="{5A3D434B-2CCB-4A2F-96A2-31D994D6AA4F}" srcOrd="1" destOrd="0" parTransId="{BAA83C5B-8B78-4C61-8B78-4084903091E2}" sibTransId="{BA3D1D2E-0FEB-4752-A312-0C6D13FAC116}"/>
    <dgm:cxn modelId="{14D9700A-0AAB-4FAE-811E-0F19B9D96A74}" srcId="{DCB64D20-78D6-40F1-AAAC-AEBD9058DEB0}" destId="{96023070-99C3-4C64-80CF-B9A757C85D34}" srcOrd="0" destOrd="0" parTransId="{DE72360E-63C9-4CFF-AF38-46891519F6E2}" sibTransId="{01AE9289-2C9E-41E2-AB55-DEAA89088352}"/>
    <dgm:cxn modelId="{95A60557-1C7E-47B9-BBA3-EE521AFB164E}" type="presOf" srcId="{5A3D434B-2CCB-4A2F-96A2-31D994D6AA4F}" destId="{F8437E9A-C5FF-454F-A1FA-EC1623732BC9}" srcOrd="0" destOrd="1" presId="urn:microsoft.com/office/officeart/2005/8/layout/chevron2"/>
    <dgm:cxn modelId="{369B03E4-89E8-49B6-929B-C12D3812299E}" type="presOf" srcId="{DBBA769D-AAEE-42C7-8260-8F3D4C203594}" destId="{CE74705B-AA47-49D6-91A3-169639452C7C}" srcOrd="0" destOrd="2" presId="urn:microsoft.com/office/officeart/2005/8/layout/chevron2"/>
    <dgm:cxn modelId="{3386D13A-BFF0-4F8B-B1DC-949C17D08D46}" type="presOf" srcId="{BFA560FF-7B1B-4926-A816-E36FFFE167A3}" destId="{F7E33C4D-DF07-476A-9292-1A52DAD5D1B9}" srcOrd="0" destOrd="2" presId="urn:microsoft.com/office/officeart/2005/8/layout/chevron2"/>
    <dgm:cxn modelId="{152D6355-59C0-4CD3-A1F2-A0F24955D759}" type="presOf" srcId="{A819CECB-D9F0-4419-99B1-56C399AF3DB4}" destId="{F8437E9A-C5FF-454F-A1FA-EC1623732BC9}" srcOrd="0" destOrd="0" presId="urn:microsoft.com/office/officeart/2005/8/layout/chevron2"/>
    <dgm:cxn modelId="{E20F73F4-D22C-4C22-9ED1-751324D295D2}" srcId="{DCB64D20-78D6-40F1-AAAC-AEBD9058DEB0}" destId="{66009B59-FC2C-4869-AE0B-B3E6D9B51224}" srcOrd="1" destOrd="0" parTransId="{60A79A91-A63D-4A15-9138-CD1954A771F8}" sibTransId="{F6F05764-E09D-4123-A5B8-2CDCF50C66DE}"/>
    <dgm:cxn modelId="{2FCD82E8-7441-44CD-AA99-5E14CD623368}" type="presOf" srcId="{9E208748-4132-4805-B92E-E37F9E059AEB}" destId="{83EA71D8-EAD6-47FA-B1E3-E17C07A20D95}" srcOrd="0" destOrd="0" presId="urn:microsoft.com/office/officeart/2005/8/layout/chevron2"/>
    <dgm:cxn modelId="{3C435AFA-6BAE-47AA-85B5-C52F7F03AA17}" srcId="{9E208748-4132-4805-B92E-E37F9E059AEB}" destId="{6590A828-D749-4F6F-93E3-7B1748C90E39}" srcOrd="0" destOrd="0" parTransId="{19C9EFC8-5B91-4217-8E96-AC282BE6A4D3}" sibTransId="{C91341D5-E543-40F8-A9C0-ABDB4F03C816}"/>
    <dgm:cxn modelId="{1A4E2E43-3639-4AA3-9CC0-686C5C1D0CC3}" srcId="{96023070-99C3-4C64-80CF-B9A757C85D34}" destId="{8735306F-C2E6-4BE5-B1B2-5CE35FFBFC9B}" srcOrd="0" destOrd="0" parTransId="{9D6CA035-8599-4CE9-ADDE-771E7C830464}" sibTransId="{0F1A4A45-518A-4236-B21D-27C3C80E8286}"/>
    <dgm:cxn modelId="{6253474C-A970-4927-B2EA-1F885C19041A}" type="presOf" srcId="{63F92991-1DFD-4729-9AE7-B743BC9E296B}" destId="{CE74705B-AA47-49D6-91A3-169639452C7C}" srcOrd="0" destOrd="1" presId="urn:microsoft.com/office/officeart/2005/8/layout/chevron2"/>
    <dgm:cxn modelId="{DAC7050B-1B54-4AA6-8C9F-703666C9CC56}" type="presParOf" srcId="{05710B20-71EB-48A9-B701-511AAB4EE4E2}" destId="{B060F9CA-311F-4614-B158-6D49041D75FC}" srcOrd="0" destOrd="0" presId="urn:microsoft.com/office/officeart/2005/8/layout/chevron2"/>
    <dgm:cxn modelId="{EA20E2C8-0CE9-4BF3-A606-2E66D3150DD7}" type="presParOf" srcId="{B060F9CA-311F-4614-B158-6D49041D75FC}" destId="{20A6FAA5-C699-4DD6-8DC1-2AF6451B8999}" srcOrd="0" destOrd="0" presId="urn:microsoft.com/office/officeart/2005/8/layout/chevron2"/>
    <dgm:cxn modelId="{216C725E-CE92-4CEA-BC99-E772C0E45D3E}" type="presParOf" srcId="{B060F9CA-311F-4614-B158-6D49041D75FC}" destId="{F7E33C4D-DF07-476A-9292-1A52DAD5D1B9}" srcOrd="1" destOrd="0" presId="urn:microsoft.com/office/officeart/2005/8/layout/chevron2"/>
    <dgm:cxn modelId="{504CD4B1-D4EA-4FCD-8CD4-A76A82B07523}" type="presParOf" srcId="{05710B20-71EB-48A9-B701-511AAB4EE4E2}" destId="{2CBE66E0-4C4E-4209-86C8-89EDBAB0E69C}" srcOrd="1" destOrd="0" presId="urn:microsoft.com/office/officeart/2005/8/layout/chevron2"/>
    <dgm:cxn modelId="{7BE99F96-C0C6-4C06-B5ED-885E62AD1C0C}" type="presParOf" srcId="{05710B20-71EB-48A9-B701-511AAB4EE4E2}" destId="{257D3CFB-FBB5-4145-9808-6E5B86A5B5D9}" srcOrd="2" destOrd="0" presId="urn:microsoft.com/office/officeart/2005/8/layout/chevron2"/>
    <dgm:cxn modelId="{F86C54BE-DD97-4CEC-B96E-96139E7B8F9A}" type="presParOf" srcId="{257D3CFB-FBB5-4145-9808-6E5B86A5B5D9}" destId="{929E25CC-F7E6-412D-9A85-45DD54DF9227}" srcOrd="0" destOrd="0" presId="urn:microsoft.com/office/officeart/2005/8/layout/chevron2"/>
    <dgm:cxn modelId="{7A66D60B-B287-427B-ADF2-8721AB9A8244}" type="presParOf" srcId="{257D3CFB-FBB5-4145-9808-6E5B86A5B5D9}" destId="{F8437E9A-C5FF-454F-A1FA-EC1623732BC9}" srcOrd="1" destOrd="0" presId="urn:microsoft.com/office/officeart/2005/8/layout/chevron2"/>
    <dgm:cxn modelId="{830F61F0-39D8-4292-B945-B81ADC0CEDD4}" type="presParOf" srcId="{05710B20-71EB-48A9-B701-511AAB4EE4E2}" destId="{00D390DC-8893-4424-A8A3-A479A966B84D}" srcOrd="3" destOrd="0" presId="urn:microsoft.com/office/officeart/2005/8/layout/chevron2"/>
    <dgm:cxn modelId="{2ED0D702-1FF3-4AAC-907C-4BCD966B2211}" type="presParOf" srcId="{05710B20-71EB-48A9-B701-511AAB4EE4E2}" destId="{DB443135-2F93-4151-A1EE-61D15E970DE4}" srcOrd="4" destOrd="0" presId="urn:microsoft.com/office/officeart/2005/8/layout/chevron2"/>
    <dgm:cxn modelId="{2F2361C2-2757-403B-941D-6BDBAFBA3890}" type="presParOf" srcId="{DB443135-2F93-4151-A1EE-61D15E970DE4}" destId="{83EA71D8-EAD6-47FA-B1E3-E17C07A20D95}" srcOrd="0" destOrd="0" presId="urn:microsoft.com/office/officeart/2005/8/layout/chevron2"/>
    <dgm:cxn modelId="{CB6925C3-1E76-4109-BD11-CA8910AA10D0}" type="presParOf" srcId="{DB443135-2F93-4151-A1EE-61D15E970DE4}" destId="{CE74705B-AA47-49D6-91A3-169639452C7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852AAEF-4034-47FE-81BF-70E8EE5465FE}" type="doc">
      <dgm:prSet loTypeId="urn:microsoft.com/office/officeart/2005/8/layout/chevron1" loCatId="process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ru-RU"/>
        </a:p>
      </dgm:t>
    </dgm:pt>
    <dgm:pt modelId="{299F58B7-4259-4177-84F2-BE64AA416F1B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46F25DC4-9C2B-4862-A102-1FA35834753C}" type="parTrans" cxnId="{6527B9C4-5720-4B2B-9C9F-09D7356299F1}">
      <dgm:prSet/>
      <dgm:spPr/>
      <dgm:t>
        <a:bodyPr/>
        <a:lstStyle/>
        <a:p>
          <a:endParaRPr lang="ru-RU"/>
        </a:p>
      </dgm:t>
    </dgm:pt>
    <dgm:pt modelId="{82F24D82-ABDA-4FAC-8D0A-0990568E8CCE}" type="sibTrans" cxnId="{6527B9C4-5720-4B2B-9C9F-09D7356299F1}">
      <dgm:prSet/>
      <dgm:spPr/>
      <dgm:t>
        <a:bodyPr/>
        <a:lstStyle/>
        <a:p>
          <a:endParaRPr lang="ru-RU"/>
        </a:p>
      </dgm:t>
    </dgm:pt>
    <dgm:pt modelId="{0CF6666A-6A46-45FC-B963-D19B49DB9507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5714E9AA-E6A7-4934-9B17-4C9047680F7B}" type="parTrans" cxnId="{1E54E1CB-2C4E-4C6C-99C1-4C685083A654}">
      <dgm:prSet/>
      <dgm:spPr/>
      <dgm:t>
        <a:bodyPr/>
        <a:lstStyle/>
        <a:p>
          <a:endParaRPr lang="ru-RU"/>
        </a:p>
      </dgm:t>
    </dgm:pt>
    <dgm:pt modelId="{5358A486-B307-4AC5-A489-105E626AFFBA}" type="sibTrans" cxnId="{1E54E1CB-2C4E-4C6C-99C1-4C685083A654}">
      <dgm:prSet/>
      <dgm:spPr/>
      <dgm:t>
        <a:bodyPr/>
        <a:lstStyle/>
        <a:p>
          <a:endParaRPr lang="ru-RU"/>
        </a:p>
      </dgm:t>
    </dgm:pt>
    <dgm:pt modelId="{6C8D956F-B890-4F0C-A605-E6B63E7EFBF6}">
      <dgm:prSet phldrT="[Текст]"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2C7B889C-9F33-4F1D-9DA8-68B3F51CC424}" type="parTrans" cxnId="{0E4CC336-FEC8-4AB8-81C1-7ED7DCE7C9B4}">
      <dgm:prSet/>
      <dgm:spPr/>
      <dgm:t>
        <a:bodyPr/>
        <a:lstStyle/>
        <a:p>
          <a:endParaRPr lang="ru-RU"/>
        </a:p>
      </dgm:t>
    </dgm:pt>
    <dgm:pt modelId="{2C60BCDF-DD37-473D-A2B1-424DBEDA055F}" type="sibTrans" cxnId="{0E4CC336-FEC8-4AB8-81C1-7ED7DCE7C9B4}">
      <dgm:prSet/>
      <dgm:spPr/>
      <dgm:t>
        <a:bodyPr/>
        <a:lstStyle/>
        <a:p>
          <a:endParaRPr lang="ru-RU"/>
        </a:p>
      </dgm:t>
    </dgm:pt>
    <dgm:pt modelId="{8BA9C990-CC9F-4BFE-B8A8-09389E8A9981}">
      <dgm:prSet/>
      <dgm:spPr/>
      <dgm:t>
        <a:bodyPr/>
        <a:lstStyle/>
        <a:p>
          <a:r>
            <a:rPr lang="ru-RU" dirty="0" smtClean="0"/>
            <a:t>5</a:t>
          </a:r>
          <a:endParaRPr lang="ru-RU" dirty="0"/>
        </a:p>
      </dgm:t>
    </dgm:pt>
    <dgm:pt modelId="{13B412B9-81B0-4105-902C-356A401AD062}" type="parTrans" cxnId="{CBCEE341-DA6A-45E0-9C60-51CE15114B39}">
      <dgm:prSet/>
      <dgm:spPr/>
      <dgm:t>
        <a:bodyPr/>
        <a:lstStyle/>
        <a:p>
          <a:endParaRPr lang="ru-RU"/>
        </a:p>
      </dgm:t>
    </dgm:pt>
    <dgm:pt modelId="{70C09A83-122B-4DE2-B020-A62AD3BA3B0B}" type="sibTrans" cxnId="{CBCEE341-DA6A-45E0-9C60-51CE15114B39}">
      <dgm:prSet/>
      <dgm:spPr/>
      <dgm:t>
        <a:bodyPr/>
        <a:lstStyle/>
        <a:p>
          <a:endParaRPr lang="ru-RU"/>
        </a:p>
      </dgm:t>
    </dgm:pt>
    <dgm:pt modelId="{0F68DEC0-A0C9-4F74-90E1-CB0B0BAC8487}">
      <dgm:prSet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401CEAB3-A8F4-44D4-A022-D9B3EBAF7DE8}" type="parTrans" cxnId="{7EA5DB7C-F58A-48F2-9E14-75462573CACB}">
      <dgm:prSet/>
      <dgm:spPr/>
      <dgm:t>
        <a:bodyPr/>
        <a:lstStyle/>
        <a:p>
          <a:endParaRPr lang="ru-RU"/>
        </a:p>
      </dgm:t>
    </dgm:pt>
    <dgm:pt modelId="{3561257C-C432-4C57-BBE4-7387975A3FB2}" type="sibTrans" cxnId="{7EA5DB7C-F58A-48F2-9E14-75462573CACB}">
      <dgm:prSet/>
      <dgm:spPr/>
      <dgm:t>
        <a:bodyPr/>
        <a:lstStyle/>
        <a:p>
          <a:endParaRPr lang="ru-RU"/>
        </a:p>
      </dgm:t>
    </dgm:pt>
    <dgm:pt modelId="{2101343B-C759-4FE3-A8FB-89EAFD54FE63}" type="pres">
      <dgm:prSet presAssocID="{D852AAEF-4034-47FE-81BF-70E8EE5465F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414B593-07C8-495C-94B2-309F0CC2069B}" type="pres">
      <dgm:prSet presAssocID="{299F58B7-4259-4177-84F2-BE64AA416F1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9DDE66-38C5-4B5B-8445-8A72AD533CDC}" type="pres">
      <dgm:prSet presAssocID="{82F24D82-ABDA-4FAC-8D0A-0990568E8CCE}" presName="parTxOnlySpace" presStyleCnt="0"/>
      <dgm:spPr/>
    </dgm:pt>
    <dgm:pt modelId="{F3EF7826-B2D2-45EB-9BE5-6BCC75E1E421}" type="pres">
      <dgm:prSet presAssocID="{0F68DEC0-A0C9-4F74-90E1-CB0B0BAC8487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F4C036-6730-46EF-809C-77A55968E20F}" type="pres">
      <dgm:prSet presAssocID="{3561257C-C432-4C57-BBE4-7387975A3FB2}" presName="parTxOnlySpace" presStyleCnt="0"/>
      <dgm:spPr/>
    </dgm:pt>
    <dgm:pt modelId="{AB5E882D-A866-4295-A3E5-CDB44C22F709}" type="pres">
      <dgm:prSet presAssocID="{0CF6666A-6A46-45FC-B963-D19B49DB9507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099834-D8BA-4E11-B0D3-1C05CE5FBD5A}" type="pres">
      <dgm:prSet presAssocID="{5358A486-B307-4AC5-A489-105E626AFFBA}" presName="parTxOnlySpace" presStyleCnt="0"/>
      <dgm:spPr/>
    </dgm:pt>
    <dgm:pt modelId="{0B94545D-CED2-46BD-9C8F-3071A2FE370D}" type="pres">
      <dgm:prSet presAssocID="{6C8D956F-B890-4F0C-A605-E6B63E7EFBF6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1CBCD4-5DEB-40C4-8FDC-D8E4F1B4FC97}" type="pres">
      <dgm:prSet presAssocID="{2C60BCDF-DD37-473D-A2B1-424DBEDA055F}" presName="parTxOnlySpace" presStyleCnt="0"/>
      <dgm:spPr/>
    </dgm:pt>
    <dgm:pt modelId="{22AB05DB-E984-4DA9-B28E-A55C68044288}" type="pres">
      <dgm:prSet presAssocID="{8BA9C990-CC9F-4BFE-B8A8-09389E8A998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877DEA-F9EC-49DE-B995-C936BEC26F18}" type="presOf" srcId="{299F58B7-4259-4177-84F2-BE64AA416F1B}" destId="{C414B593-07C8-495C-94B2-309F0CC2069B}" srcOrd="0" destOrd="0" presId="urn:microsoft.com/office/officeart/2005/8/layout/chevron1"/>
    <dgm:cxn modelId="{3FB374C3-E5ED-4C65-9158-62ABD5984B5D}" type="presOf" srcId="{6C8D956F-B890-4F0C-A605-E6B63E7EFBF6}" destId="{0B94545D-CED2-46BD-9C8F-3071A2FE370D}" srcOrd="0" destOrd="0" presId="urn:microsoft.com/office/officeart/2005/8/layout/chevron1"/>
    <dgm:cxn modelId="{D74C8184-CE38-4D1C-9A95-01EE71F7CA5E}" type="presOf" srcId="{8BA9C990-CC9F-4BFE-B8A8-09389E8A9981}" destId="{22AB05DB-E984-4DA9-B28E-A55C68044288}" srcOrd="0" destOrd="0" presId="urn:microsoft.com/office/officeart/2005/8/layout/chevron1"/>
    <dgm:cxn modelId="{CBCEE341-DA6A-45E0-9C60-51CE15114B39}" srcId="{D852AAEF-4034-47FE-81BF-70E8EE5465FE}" destId="{8BA9C990-CC9F-4BFE-B8A8-09389E8A9981}" srcOrd="4" destOrd="0" parTransId="{13B412B9-81B0-4105-902C-356A401AD062}" sibTransId="{70C09A83-122B-4DE2-B020-A62AD3BA3B0B}"/>
    <dgm:cxn modelId="{416006D0-3628-4BC1-B5F7-93B3A58E1409}" type="presOf" srcId="{0F68DEC0-A0C9-4F74-90E1-CB0B0BAC8487}" destId="{F3EF7826-B2D2-45EB-9BE5-6BCC75E1E421}" srcOrd="0" destOrd="0" presId="urn:microsoft.com/office/officeart/2005/8/layout/chevron1"/>
    <dgm:cxn modelId="{D0A371B7-2FCA-45D9-A894-E6EAC7119B20}" type="presOf" srcId="{0CF6666A-6A46-45FC-B963-D19B49DB9507}" destId="{AB5E882D-A866-4295-A3E5-CDB44C22F709}" srcOrd="0" destOrd="0" presId="urn:microsoft.com/office/officeart/2005/8/layout/chevron1"/>
    <dgm:cxn modelId="{1E54E1CB-2C4E-4C6C-99C1-4C685083A654}" srcId="{D852AAEF-4034-47FE-81BF-70E8EE5465FE}" destId="{0CF6666A-6A46-45FC-B963-D19B49DB9507}" srcOrd="2" destOrd="0" parTransId="{5714E9AA-E6A7-4934-9B17-4C9047680F7B}" sibTransId="{5358A486-B307-4AC5-A489-105E626AFFBA}"/>
    <dgm:cxn modelId="{73399749-F747-4C18-BF35-5B12CF4141A9}" type="presOf" srcId="{D852AAEF-4034-47FE-81BF-70E8EE5465FE}" destId="{2101343B-C759-4FE3-A8FB-89EAFD54FE63}" srcOrd="0" destOrd="0" presId="urn:microsoft.com/office/officeart/2005/8/layout/chevron1"/>
    <dgm:cxn modelId="{7EA5DB7C-F58A-48F2-9E14-75462573CACB}" srcId="{D852AAEF-4034-47FE-81BF-70E8EE5465FE}" destId="{0F68DEC0-A0C9-4F74-90E1-CB0B0BAC8487}" srcOrd="1" destOrd="0" parTransId="{401CEAB3-A8F4-44D4-A022-D9B3EBAF7DE8}" sibTransId="{3561257C-C432-4C57-BBE4-7387975A3FB2}"/>
    <dgm:cxn modelId="{0E4CC336-FEC8-4AB8-81C1-7ED7DCE7C9B4}" srcId="{D852AAEF-4034-47FE-81BF-70E8EE5465FE}" destId="{6C8D956F-B890-4F0C-A605-E6B63E7EFBF6}" srcOrd="3" destOrd="0" parTransId="{2C7B889C-9F33-4F1D-9DA8-68B3F51CC424}" sibTransId="{2C60BCDF-DD37-473D-A2B1-424DBEDA055F}"/>
    <dgm:cxn modelId="{6527B9C4-5720-4B2B-9C9F-09D7356299F1}" srcId="{D852AAEF-4034-47FE-81BF-70E8EE5465FE}" destId="{299F58B7-4259-4177-84F2-BE64AA416F1B}" srcOrd="0" destOrd="0" parTransId="{46F25DC4-9C2B-4862-A102-1FA35834753C}" sibTransId="{82F24D82-ABDA-4FAC-8D0A-0990568E8CCE}"/>
    <dgm:cxn modelId="{99CB8344-7E23-43E9-8861-FA1AD44A540A}" type="presParOf" srcId="{2101343B-C759-4FE3-A8FB-89EAFD54FE63}" destId="{C414B593-07C8-495C-94B2-309F0CC2069B}" srcOrd="0" destOrd="0" presId="urn:microsoft.com/office/officeart/2005/8/layout/chevron1"/>
    <dgm:cxn modelId="{1F795CC1-7169-4A00-9BC0-952A428D9108}" type="presParOf" srcId="{2101343B-C759-4FE3-A8FB-89EAFD54FE63}" destId="{C09DDE66-38C5-4B5B-8445-8A72AD533CDC}" srcOrd="1" destOrd="0" presId="urn:microsoft.com/office/officeart/2005/8/layout/chevron1"/>
    <dgm:cxn modelId="{0A181AEB-6B95-4FFA-B2E7-B34F2D9D83D7}" type="presParOf" srcId="{2101343B-C759-4FE3-A8FB-89EAFD54FE63}" destId="{F3EF7826-B2D2-45EB-9BE5-6BCC75E1E421}" srcOrd="2" destOrd="0" presId="urn:microsoft.com/office/officeart/2005/8/layout/chevron1"/>
    <dgm:cxn modelId="{F4A54DF6-A0FE-4138-A703-4B4DD7607A09}" type="presParOf" srcId="{2101343B-C759-4FE3-A8FB-89EAFD54FE63}" destId="{90F4C036-6730-46EF-809C-77A55968E20F}" srcOrd="3" destOrd="0" presId="urn:microsoft.com/office/officeart/2005/8/layout/chevron1"/>
    <dgm:cxn modelId="{C7CC7608-5BE3-4F1A-BA1B-0C109C67E400}" type="presParOf" srcId="{2101343B-C759-4FE3-A8FB-89EAFD54FE63}" destId="{AB5E882D-A866-4295-A3E5-CDB44C22F709}" srcOrd="4" destOrd="0" presId="urn:microsoft.com/office/officeart/2005/8/layout/chevron1"/>
    <dgm:cxn modelId="{5700E333-1A7C-4C17-8540-9EE4E30DDDFC}" type="presParOf" srcId="{2101343B-C759-4FE3-A8FB-89EAFD54FE63}" destId="{18099834-D8BA-4E11-B0D3-1C05CE5FBD5A}" srcOrd="5" destOrd="0" presId="urn:microsoft.com/office/officeart/2005/8/layout/chevron1"/>
    <dgm:cxn modelId="{BD5137D9-037D-4797-9477-C43C84AE625F}" type="presParOf" srcId="{2101343B-C759-4FE3-A8FB-89EAFD54FE63}" destId="{0B94545D-CED2-46BD-9C8F-3071A2FE370D}" srcOrd="6" destOrd="0" presId="urn:microsoft.com/office/officeart/2005/8/layout/chevron1"/>
    <dgm:cxn modelId="{A4A1D856-5582-496C-A852-73C996AE1500}" type="presParOf" srcId="{2101343B-C759-4FE3-A8FB-89EAFD54FE63}" destId="{9E1CBCD4-5DEB-40C4-8FDC-D8E4F1B4FC97}" srcOrd="7" destOrd="0" presId="urn:microsoft.com/office/officeart/2005/8/layout/chevron1"/>
    <dgm:cxn modelId="{CF0446D7-8024-4BDD-8440-A526047BFFCD}" type="presParOf" srcId="{2101343B-C759-4FE3-A8FB-89EAFD54FE63}" destId="{22AB05DB-E984-4DA9-B28E-A55C68044288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DF1D3E6-1301-44AC-8F84-4B85AA144339}" type="doc">
      <dgm:prSet loTypeId="urn:microsoft.com/office/officeart/2005/8/layout/pList2#2" loCatId="picture" qsTypeId="urn:microsoft.com/office/officeart/2005/8/quickstyle/simple1" qsCatId="simple" csTypeId="urn:microsoft.com/office/officeart/2005/8/colors/accent2_4" csCatId="accent2" phldr="1"/>
      <dgm:spPr/>
    </dgm:pt>
    <dgm:pt modelId="{D26354F1-CB57-4631-9745-6047A2490215}">
      <dgm:prSet phldrT="[Текст]" custT="1"/>
      <dgm:spPr/>
      <dgm:t>
        <a:bodyPr/>
        <a:lstStyle/>
        <a:p>
          <a:r>
            <a:rPr lang="ru-RU" sz="1600" b="1" spc="-50" baseline="0" dirty="0" smtClean="0"/>
            <a:t>Заполнить заявку</a:t>
          </a:r>
        </a:p>
        <a:p>
          <a:r>
            <a:rPr lang="ru-RU" sz="1600" b="1" spc="-50" baseline="0" dirty="0" smtClean="0"/>
            <a:t>Рассмотрение заявки –</a:t>
          </a:r>
        </a:p>
        <a:p>
          <a:r>
            <a:rPr lang="ru-RU" sz="1600" b="1" spc="-50" baseline="0" dirty="0" smtClean="0"/>
            <a:t>15 дней </a:t>
          </a:r>
          <a:endParaRPr lang="ru-RU" sz="1600" b="1" spc="-50" baseline="0" dirty="0"/>
        </a:p>
      </dgm:t>
    </dgm:pt>
    <dgm:pt modelId="{2624CE84-B64D-4019-A9BF-B57C904FE195}" type="parTrans" cxnId="{746C3C09-612F-4FD3-9AD8-5ED38E415F1C}">
      <dgm:prSet/>
      <dgm:spPr/>
      <dgm:t>
        <a:bodyPr/>
        <a:lstStyle/>
        <a:p>
          <a:endParaRPr lang="ru-RU"/>
        </a:p>
      </dgm:t>
    </dgm:pt>
    <dgm:pt modelId="{6B35B887-363D-40FB-976F-F018419F940E}" type="sibTrans" cxnId="{746C3C09-612F-4FD3-9AD8-5ED38E415F1C}">
      <dgm:prSet/>
      <dgm:spPr/>
      <dgm:t>
        <a:bodyPr/>
        <a:lstStyle/>
        <a:p>
          <a:endParaRPr lang="ru-RU"/>
        </a:p>
      </dgm:t>
    </dgm:pt>
    <dgm:pt modelId="{CC6F5E24-A8BA-4FA9-9307-0FCD3C612535}">
      <dgm:prSet phldrT="[Текст]" custT="1"/>
      <dgm:spPr/>
      <dgm:t>
        <a:bodyPr/>
        <a:lstStyle/>
        <a:p>
          <a:r>
            <a:rPr lang="ru-RU" sz="1400" b="1" spc="-50" baseline="0" dirty="0" smtClean="0"/>
            <a:t>Арендовать у управляю-щей компании земли или производственные площади</a:t>
          </a:r>
          <a:endParaRPr lang="ru-RU" sz="1400" b="1" spc="-50" baseline="0" dirty="0"/>
        </a:p>
      </dgm:t>
    </dgm:pt>
    <dgm:pt modelId="{2A72AF2E-63E4-46B0-A571-ABEE6B63B656}" type="parTrans" cxnId="{B1F4F4D4-1EE1-4E3D-ACF9-4AA22F35F846}">
      <dgm:prSet/>
      <dgm:spPr/>
      <dgm:t>
        <a:bodyPr/>
        <a:lstStyle/>
        <a:p>
          <a:endParaRPr lang="ru-RU"/>
        </a:p>
      </dgm:t>
    </dgm:pt>
    <dgm:pt modelId="{00467CD7-90E0-418C-9AF9-85F9266B896E}" type="sibTrans" cxnId="{B1F4F4D4-1EE1-4E3D-ACF9-4AA22F35F846}">
      <dgm:prSet/>
      <dgm:spPr/>
      <dgm:t>
        <a:bodyPr/>
        <a:lstStyle/>
        <a:p>
          <a:endParaRPr lang="ru-RU"/>
        </a:p>
      </dgm:t>
    </dgm:pt>
    <dgm:pt modelId="{947E3DF3-64BA-4D2A-B1F7-BEBEA6C271B9}">
      <dgm:prSet phldrT="[Текст]" custT="1"/>
      <dgm:spPr/>
      <dgm:t>
        <a:bodyPr/>
        <a:lstStyle/>
        <a:p>
          <a:r>
            <a:rPr lang="ru-RU" sz="1500" b="1" spc="-150" baseline="0" dirty="0" smtClean="0"/>
            <a:t>Управляю-</a:t>
          </a:r>
          <a:r>
            <a:rPr lang="ru-RU" sz="1500" b="1" spc="-150" baseline="0" dirty="0" err="1" smtClean="0"/>
            <a:t>щая</a:t>
          </a:r>
          <a:r>
            <a:rPr lang="ru-RU" sz="1500" b="1" spc="-150" baseline="0" dirty="0" smtClean="0"/>
            <a:t> компания </a:t>
          </a:r>
          <a:r>
            <a:rPr lang="ru-RU" sz="1500" b="1" spc="-150" baseline="0" smtClean="0"/>
            <a:t>обеспечивает подключение  </a:t>
          </a:r>
          <a:r>
            <a:rPr lang="ru-RU" sz="1500" b="1" spc="-150" baseline="0" dirty="0" smtClean="0"/>
            <a:t>объекта к инфраструктуре</a:t>
          </a:r>
        </a:p>
      </dgm:t>
    </dgm:pt>
    <dgm:pt modelId="{D9949EF9-AB33-411F-8607-3550F4EE4183}" type="parTrans" cxnId="{856E7F46-3C12-4281-A8E2-35B6A8B4801E}">
      <dgm:prSet/>
      <dgm:spPr/>
      <dgm:t>
        <a:bodyPr/>
        <a:lstStyle/>
        <a:p>
          <a:endParaRPr lang="ru-RU"/>
        </a:p>
      </dgm:t>
    </dgm:pt>
    <dgm:pt modelId="{31C6D554-97A6-4650-BC57-466640A658D8}" type="sibTrans" cxnId="{856E7F46-3C12-4281-A8E2-35B6A8B4801E}">
      <dgm:prSet/>
      <dgm:spPr/>
      <dgm:t>
        <a:bodyPr/>
        <a:lstStyle/>
        <a:p>
          <a:endParaRPr lang="ru-RU"/>
        </a:p>
      </dgm:t>
    </dgm:pt>
    <dgm:pt modelId="{711BF066-38B1-4D1F-9798-0BCE54AF85D1}">
      <dgm:prSet custT="1"/>
      <dgm:spPr/>
      <dgm:t>
        <a:bodyPr/>
        <a:lstStyle/>
        <a:p>
          <a:r>
            <a:rPr lang="ru-RU" sz="1500" b="1" spc="-50" baseline="0" dirty="0" smtClean="0"/>
            <a:t>Заключить </a:t>
          </a:r>
          <a:r>
            <a:rPr lang="ru-RU" sz="1500" b="1" spc="-50" baseline="0" dirty="0" err="1" smtClean="0"/>
            <a:t>соглаше-ние</a:t>
          </a:r>
          <a:r>
            <a:rPr lang="ru-RU" sz="1500" b="1" spc="-50" baseline="0" dirty="0" smtClean="0"/>
            <a:t> об осуществлении деятельности в ТОСЭР </a:t>
          </a:r>
        </a:p>
        <a:p>
          <a:r>
            <a:rPr lang="ru-RU" sz="1500" b="1" spc="-50" baseline="0" dirty="0" smtClean="0"/>
            <a:t>(15 дней)</a:t>
          </a:r>
          <a:endParaRPr lang="ru-RU" sz="1500" b="1" spc="-50" baseline="0" dirty="0"/>
        </a:p>
      </dgm:t>
    </dgm:pt>
    <dgm:pt modelId="{F92A0732-49A1-4E5C-A475-BE0F9C228DF2}" type="parTrans" cxnId="{942F8805-4204-4710-8B1D-24129259E803}">
      <dgm:prSet/>
      <dgm:spPr/>
      <dgm:t>
        <a:bodyPr/>
        <a:lstStyle/>
        <a:p>
          <a:endParaRPr lang="ru-RU"/>
        </a:p>
      </dgm:t>
    </dgm:pt>
    <dgm:pt modelId="{536F6E1A-52AF-4C75-B394-F3BCAF5CF4B6}" type="sibTrans" cxnId="{942F8805-4204-4710-8B1D-24129259E803}">
      <dgm:prSet/>
      <dgm:spPr/>
      <dgm:t>
        <a:bodyPr/>
        <a:lstStyle/>
        <a:p>
          <a:endParaRPr lang="ru-RU"/>
        </a:p>
      </dgm:t>
    </dgm:pt>
    <dgm:pt modelId="{057E2869-8AA2-4126-BB48-EDA8266CD10A}">
      <dgm:prSet custT="1"/>
      <dgm:spPr/>
      <dgm:t>
        <a:bodyPr/>
        <a:lstStyle/>
        <a:p>
          <a:r>
            <a:rPr lang="ru-RU" sz="1600" b="1" spc="-50" baseline="0" dirty="0" smtClean="0"/>
            <a:t>Получить сертификат  у управляющей компании </a:t>
          </a:r>
        </a:p>
        <a:p>
          <a:r>
            <a:rPr lang="ru-RU" sz="1600" b="1" spc="-50" baseline="0" dirty="0" smtClean="0"/>
            <a:t>(5 дней)</a:t>
          </a:r>
          <a:endParaRPr lang="ru-RU" sz="1600" b="1" spc="-50" baseline="0" dirty="0"/>
        </a:p>
      </dgm:t>
    </dgm:pt>
    <dgm:pt modelId="{029B775B-DFB6-4BE7-828D-9E1536F59521}" type="parTrans" cxnId="{A1BA2951-9042-4220-B00F-5A49D5345742}">
      <dgm:prSet/>
      <dgm:spPr/>
      <dgm:t>
        <a:bodyPr/>
        <a:lstStyle/>
        <a:p>
          <a:endParaRPr lang="ru-RU"/>
        </a:p>
      </dgm:t>
    </dgm:pt>
    <dgm:pt modelId="{013D32BB-791A-45A6-A737-BF476B77201B}" type="sibTrans" cxnId="{A1BA2951-9042-4220-B00F-5A49D5345742}">
      <dgm:prSet/>
      <dgm:spPr/>
      <dgm:t>
        <a:bodyPr/>
        <a:lstStyle/>
        <a:p>
          <a:endParaRPr lang="ru-RU"/>
        </a:p>
      </dgm:t>
    </dgm:pt>
    <dgm:pt modelId="{13709E9B-4E20-4962-BA79-6C12D5EF370C}" type="pres">
      <dgm:prSet presAssocID="{0DF1D3E6-1301-44AC-8F84-4B85AA144339}" presName="Name0" presStyleCnt="0">
        <dgm:presLayoutVars>
          <dgm:dir/>
          <dgm:resizeHandles val="exact"/>
        </dgm:presLayoutVars>
      </dgm:prSet>
      <dgm:spPr/>
    </dgm:pt>
    <dgm:pt modelId="{05F0A87F-0072-442B-9E32-04C3B961E712}" type="pres">
      <dgm:prSet presAssocID="{0DF1D3E6-1301-44AC-8F84-4B85AA144339}" presName="bkgdShp" presStyleLbl="alignAccFollowNode1" presStyleIdx="0" presStyleCnt="1"/>
      <dgm:spPr/>
    </dgm:pt>
    <dgm:pt modelId="{85CA5132-C1BD-4C7F-B34E-3F298BD3E068}" type="pres">
      <dgm:prSet presAssocID="{0DF1D3E6-1301-44AC-8F84-4B85AA144339}" presName="linComp" presStyleCnt="0"/>
      <dgm:spPr/>
    </dgm:pt>
    <dgm:pt modelId="{A60C2932-6820-4A40-A3BF-CA9DDF57B521}" type="pres">
      <dgm:prSet presAssocID="{D26354F1-CB57-4631-9745-6047A2490215}" presName="compNode" presStyleCnt="0"/>
      <dgm:spPr/>
    </dgm:pt>
    <dgm:pt modelId="{CC4161A8-A0C1-4336-9405-90E03698DC0D}" type="pres">
      <dgm:prSet presAssocID="{D26354F1-CB57-4631-9745-6047A2490215}" presName="node" presStyleLbl="node1" presStyleIdx="0" presStyleCnt="5" custLinFactNeighborX="3172" custLinFactNeighborY="90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0B4AE0-AF5E-4FE9-9294-9A5DD88A2C83}" type="pres">
      <dgm:prSet presAssocID="{D26354F1-CB57-4631-9745-6047A2490215}" presName="invisiNode" presStyleLbl="node1" presStyleIdx="0" presStyleCnt="5"/>
      <dgm:spPr/>
    </dgm:pt>
    <dgm:pt modelId="{8980B6E9-A0CF-4253-AD75-1D6D443A4DB4}" type="pres">
      <dgm:prSet presAssocID="{D26354F1-CB57-4631-9745-6047A2490215}" presName="imagNode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E6B585E5-4E5C-462E-BD2E-E3021B00219B}" type="pres">
      <dgm:prSet presAssocID="{6B35B887-363D-40FB-976F-F018419F940E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6A5F3AA-1D7F-4B6C-B5E7-8375D6181300}" type="pres">
      <dgm:prSet presAssocID="{711BF066-38B1-4D1F-9798-0BCE54AF85D1}" presName="compNode" presStyleCnt="0"/>
      <dgm:spPr/>
    </dgm:pt>
    <dgm:pt modelId="{3CB04B11-96EB-4794-8641-BCF3DBB56437}" type="pres">
      <dgm:prSet presAssocID="{711BF066-38B1-4D1F-9798-0BCE54AF85D1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F1470C-72A4-4BBC-B586-F1B3C625547C}" type="pres">
      <dgm:prSet presAssocID="{711BF066-38B1-4D1F-9798-0BCE54AF85D1}" presName="invisiNode" presStyleLbl="node1" presStyleIdx="1" presStyleCnt="5"/>
      <dgm:spPr/>
    </dgm:pt>
    <dgm:pt modelId="{335FAB4B-88BB-48D4-BC9F-26E6E37670C7}" type="pres">
      <dgm:prSet presAssocID="{711BF066-38B1-4D1F-9798-0BCE54AF85D1}" presName="imagNode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6B3B05F5-80E7-4D82-A987-F4ACD1CE6ACB}" type="pres">
      <dgm:prSet presAssocID="{536F6E1A-52AF-4C75-B394-F3BCAF5CF4B6}" presName="sibTrans" presStyleLbl="sibTrans2D1" presStyleIdx="0" presStyleCnt="0"/>
      <dgm:spPr/>
      <dgm:t>
        <a:bodyPr/>
        <a:lstStyle/>
        <a:p>
          <a:endParaRPr lang="ru-RU"/>
        </a:p>
      </dgm:t>
    </dgm:pt>
    <dgm:pt modelId="{7753B977-9F2A-426A-A5FC-1AFD225AB1E5}" type="pres">
      <dgm:prSet presAssocID="{057E2869-8AA2-4126-BB48-EDA8266CD10A}" presName="compNode" presStyleCnt="0"/>
      <dgm:spPr/>
    </dgm:pt>
    <dgm:pt modelId="{7BB8FB9A-F99F-4442-B731-4D354672D564}" type="pres">
      <dgm:prSet presAssocID="{057E2869-8AA2-4126-BB48-EDA8266CD10A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636D35-94C7-4489-B992-EED67150D1E7}" type="pres">
      <dgm:prSet presAssocID="{057E2869-8AA2-4126-BB48-EDA8266CD10A}" presName="invisiNode" presStyleLbl="node1" presStyleIdx="2" presStyleCnt="5"/>
      <dgm:spPr/>
    </dgm:pt>
    <dgm:pt modelId="{501602C8-E7C6-4363-9C4B-D803F31E4FEF}" type="pres">
      <dgm:prSet presAssocID="{057E2869-8AA2-4126-BB48-EDA8266CD10A}" presName="imagNode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6EC63692-962B-4CF0-BE99-1F7BD1D509CF}" type="pres">
      <dgm:prSet presAssocID="{013D32BB-791A-45A6-A737-BF476B77201B}" presName="sibTrans" presStyleLbl="sibTrans2D1" presStyleIdx="0" presStyleCnt="0"/>
      <dgm:spPr/>
      <dgm:t>
        <a:bodyPr/>
        <a:lstStyle/>
        <a:p>
          <a:endParaRPr lang="ru-RU"/>
        </a:p>
      </dgm:t>
    </dgm:pt>
    <dgm:pt modelId="{37602060-DD21-4CBA-A54E-614A621ED9C4}" type="pres">
      <dgm:prSet presAssocID="{CC6F5E24-A8BA-4FA9-9307-0FCD3C612535}" presName="compNode" presStyleCnt="0"/>
      <dgm:spPr/>
    </dgm:pt>
    <dgm:pt modelId="{F3772DB7-A4D6-4FFB-9C68-30B84244D57D}" type="pres">
      <dgm:prSet presAssocID="{CC6F5E24-A8BA-4FA9-9307-0FCD3C61253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1F35B6-0CC8-4E8E-A5F8-1979DF33E5B5}" type="pres">
      <dgm:prSet presAssocID="{CC6F5E24-A8BA-4FA9-9307-0FCD3C612535}" presName="invisiNode" presStyleLbl="node1" presStyleIdx="3" presStyleCnt="5"/>
      <dgm:spPr/>
    </dgm:pt>
    <dgm:pt modelId="{FF8CAC45-A628-48FF-9020-66BF45352FE1}" type="pres">
      <dgm:prSet presAssocID="{CC6F5E24-A8BA-4FA9-9307-0FCD3C612535}" presName="imagNode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B411516A-CFEF-431A-8B8C-26A3523D106F}" type="pres">
      <dgm:prSet presAssocID="{00467CD7-90E0-418C-9AF9-85F9266B896E}" presName="sibTrans" presStyleLbl="sibTrans2D1" presStyleIdx="0" presStyleCnt="0"/>
      <dgm:spPr/>
      <dgm:t>
        <a:bodyPr/>
        <a:lstStyle/>
        <a:p>
          <a:endParaRPr lang="ru-RU"/>
        </a:p>
      </dgm:t>
    </dgm:pt>
    <dgm:pt modelId="{BBCE3426-314E-4761-AB3C-412F508C5CF5}" type="pres">
      <dgm:prSet presAssocID="{947E3DF3-64BA-4D2A-B1F7-BEBEA6C271B9}" presName="compNode" presStyleCnt="0"/>
      <dgm:spPr/>
    </dgm:pt>
    <dgm:pt modelId="{4BA0A007-CBCB-405A-BEA4-AF75ED20793C}" type="pres">
      <dgm:prSet presAssocID="{947E3DF3-64BA-4D2A-B1F7-BEBEA6C271B9}" presName="node" presStyleLbl="node1" presStyleIdx="4" presStyleCnt="5" custScaleX="109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44CF13-9881-442A-BBEA-CF13D1E47BD2}" type="pres">
      <dgm:prSet presAssocID="{947E3DF3-64BA-4D2A-B1F7-BEBEA6C271B9}" presName="invisiNode" presStyleLbl="node1" presStyleIdx="4" presStyleCnt="5"/>
      <dgm:spPr/>
    </dgm:pt>
    <dgm:pt modelId="{7B774A82-0FF2-4ECA-941A-3C933F2F74CA}" type="pres">
      <dgm:prSet presAssocID="{947E3DF3-64BA-4D2A-B1F7-BEBEA6C271B9}" presName="imagNode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</dgm:ptLst>
  <dgm:cxnLst>
    <dgm:cxn modelId="{335E21AA-AF34-4360-A91B-512EF8745AD4}" type="presOf" srcId="{947E3DF3-64BA-4D2A-B1F7-BEBEA6C271B9}" destId="{4BA0A007-CBCB-405A-BEA4-AF75ED20793C}" srcOrd="0" destOrd="0" presId="urn:microsoft.com/office/officeart/2005/8/layout/pList2#2"/>
    <dgm:cxn modelId="{1BB5B108-9DBF-48F7-A54A-6F46B9423136}" type="presOf" srcId="{CC6F5E24-A8BA-4FA9-9307-0FCD3C612535}" destId="{F3772DB7-A4D6-4FFB-9C68-30B84244D57D}" srcOrd="0" destOrd="0" presId="urn:microsoft.com/office/officeart/2005/8/layout/pList2#2"/>
    <dgm:cxn modelId="{B1CE513B-2BCE-4B2E-B8F5-B7C46FCBDD59}" type="presOf" srcId="{536F6E1A-52AF-4C75-B394-F3BCAF5CF4B6}" destId="{6B3B05F5-80E7-4D82-A987-F4ACD1CE6ACB}" srcOrd="0" destOrd="0" presId="urn:microsoft.com/office/officeart/2005/8/layout/pList2#2"/>
    <dgm:cxn modelId="{856E7F46-3C12-4281-A8E2-35B6A8B4801E}" srcId="{0DF1D3E6-1301-44AC-8F84-4B85AA144339}" destId="{947E3DF3-64BA-4D2A-B1F7-BEBEA6C271B9}" srcOrd="4" destOrd="0" parTransId="{D9949EF9-AB33-411F-8607-3550F4EE4183}" sibTransId="{31C6D554-97A6-4650-BC57-466640A658D8}"/>
    <dgm:cxn modelId="{2C7D9344-B7C0-42AF-876A-E62560C38465}" type="presOf" srcId="{00467CD7-90E0-418C-9AF9-85F9266B896E}" destId="{B411516A-CFEF-431A-8B8C-26A3523D106F}" srcOrd="0" destOrd="0" presId="urn:microsoft.com/office/officeart/2005/8/layout/pList2#2"/>
    <dgm:cxn modelId="{942F8805-4204-4710-8B1D-24129259E803}" srcId="{0DF1D3E6-1301-44AC-8F84-4B85AA144339}" destId="{711BF066-38B1-4D1F-9798-0BCE54AF85D1}" srcOrd="1" destOrd="0" parTransId="{F92A0732-49A1-4E5C-A475-BE0F9C228DF2}" sibTransId="{536F6E1A-52AF-4C75-B394-F3BCAF5CF4B6}"/>
    <dgm:cxn modelId="{A1BA2951-9042-4220-B00F-5A49D5345742}" srcId="{0DF1D3E6-1301-44AC-8F84-4B85AA144339}" destId="{057E2869-8AA2-4126-BB48-EDA8266CD10A}" srcOrd="2" destOrd="0" parTransId="{029B775B-DFB6-4BE7-828D-9E1536F59521}" sibTransId="{013D32BB-791A-45A6-A737-BF476B77201B}"/>
    <dgm:cxn modelId="{A77C154A-4DB4-4807-AFB9-C3FFFF3A1419}" type="presOf" srcId="{711BF066-38B1-4D1F-9798-0BCE54AF85D1}" destId="{3CB04B11-96EB-4794-8641-BCF3DBB56437}" srcOrd="0" destOrd="0" presId="urn:microsoft.com/office/officeart/2005/8/layout/pList2#2"/>
    <dgm:cxn modelId="{02C7C1B6-B9BA-4051-80B4-1B62AA8F185D}" type="presOf" srcId="{D26354F1-CB57-4631-9745-6047A2490215}" destId="{CC4161A8-A0C1-4336-9405-90E03698DC0D}" srcOrd="0" destOrd="0" presId="urn:microsoft.com/office/officeart/2005/8/layout/pList2#2"/>
    <dgm:cxn modelId="{7E105C9C-4525-488B-9983-94DF72CDE12A}" type="presOf" srcId="{057E2869-8AA2-4126-BB48-EDA8266CD10A}" destId="{7BB8FB9A-F99F-4442-B731-4D354672D564}" srcOrd="0" destOrd="0" presId="urn:microsoft.com/office/officeart/2005/8/layout/pList2#2"/>
    <dgm:cxn modelId="{DC651DD4-1F88-4682-8D00-180774FE9CBC}" type="presOf" srcId="{013D32BB-791A-45A6-A737-BF476B77201B}" destId="{6EC63692-962B-4CF0-BE99-1F7BD1D509CF}" srcOrd="0" destOrd="0" presId="urn:microsoft.com/office/officeart/2005/8/layout/pList2#2"/>
    <dgm:cxn modelId="{F2BA69AB-8DB6-4793-B891-1E608758495E}" type="presOf" srcId="{6B35B887-363D-40FB-976F-F018419F940E}" destId="{E6B585E5-4E5C-462E-BD2E-E3021B00219B}" srcOrd="0" destOrd="0" presId="urn:microsoft.com/office/officeart/2005/8/layout/pList2#2"/>
    <dgm:cxn modelId="{B1F4F4D4-1EE1-4E3D-ACF9-4AA22F35F846}" srcId="{0DF1D3E6-1301-44AC-8F84-4B85AA144339}" destId="{CC6F5E24-A8BA-4FA9-9307-0FCD3C612535}" srcOrd="3" destOrd="0" parTransId="{2A72AF2E-63E4-46B0-A571-ABEE6B63B656}" sibTransId="{00467CD7-90E0-418C-9AF9-85F9266B896E}"/>
    <dgm:cxn modelId="{746C3C09-612F-4FD3-9AD8-5ED38E415F1C}" srcId="{0DF1D3E6-1301-44AC-8F84-4B85AA144339}" destId="{D26354F1-CB57-4631-9745-6047A2490215}" srcOrd="0" destOrd="0" parTransId="{2624CE84-B64D-4019-A9BF-B57C904FE195}" sibTransId="{6B35B887-363D-40FB-976F-F018419F940E}"/>
    <dgm:cxn modelId="{AA1AEB6F-AEFE-4701-9808-A9504A4B8A44}" type="presOf" srcId="{0DF1D3E6-1301-44AC-8F84-4B85AA144339}" destId="{13709E9B-4E20-4962-BA79-6C12D5EF370C}" srcOrd="0" destOrd="0" presId="urn:microsoft.com/office/officeart/2005/8/layout/pList2#2"/>
    <dgm:cxn modelId="{1207470B-7584-4CB2-B626-F58D237B5066}" type="presParOf" srcId="{13709E9B-4E20-4962-BA79-6C12D5EF370C}" destId="{05F0A87F-0072-442B-9E32-04C3B961E712}" srcOrd="0" destOrd="0" presId="urn:microsoft.com/office/officeart/2005/8/layout/pList2#2"/>
    <dgm:cxn modelId="{E6BDDE44-7A85-4918-94DB-46941D269F32}" type="presParOf" srcId="{13709E9B-4E20-4962-BA79-6C12D5EF370C}" destId="{85CA5132-C1BD-4C7F-B34E-3F298BD3E068}" srcOrd="1" destOrd="0" presId="urn:microsoft.com/office/officeart/2005/8/layout/pList2#2"/>
    <dgm:cxn modelId="{4455F551-B248-4DF4-B5F4-59CEFC11C35A}" type="presParOf" srcId="{85CA5132-C1BD-4C7F-B34E-3F298BD3E068}" destId="{A60C2932-6820-4A40-A3BF-CA9DDF57B521}" srcOrd="0" destOrd="0" presId="urn:microsoft.com/office/officeart/2005/8/layout/pList2#2"/>
    <dgm:cxn modelId="{27BF1FAF-5026-4B72-8D7D-701195D61FDD}" type="presParOf" srcId="{A60C2932-6820-4A40-A3BF-CA9DDF57B521}" destId="{CC4161A8-A0C1-4336-9405-90E03698DC0D}" srcOrd="0" destOrd="0" presId="urn:microsoft.com/office/officeart/2005/8/layout/pList2#2"/>
    <dgm:cxn modelId="{E30169CA-B84B-4FC0-9C6B-545859C05855}" type="presParOf" srcId="{A60C2932-6820-4A40-A3BF-CA9DDF57B521}" destId="{0C0B4AE0-AF5E-4FE9-9294-9A5DD88A2C83}" srcOrd="1" destOrd="0" presId="urn:microsoft.com/office/officeart/2005/8/layout/pList2#2"/>
    <dgm:cxn modelId="{AE73839A-B082-4691-B3C4-E0B82A24BB05}" type="presParOf" srcId="{A60C2932-6820-4A40-A3BF-CA9DDF57B521}" destId="{8980B6E9-A0CF-4253-AD75-1D6D443A4DB4}" srcOrd="2" destOrd="0" presId="urn:microsoft.com/office/officeart/2005/8/layout/pList2#2"/>
    <dgm:cxn modelId="{1CFA4E1B-CD75-41E4-B2DD-300478C821BF}" type="presParOf" srcId="{85CA5132-C1BD-4C7F-B34E-3F298BD3E068}" destId="{E6B585E5-4E5C-462E-BD2E-E3021B00219B}" srcOrd="1" destOrd="0" presId="urn:microsoft.com/office/officeart/2005/8/layout/pList2#2"/>
    <dgm:cxn modelId="{C83887EE-9683-4AA0-BE3C-75B0F4AC08FF}" type="presParOf" srcId="{85CA5132-C1BD-4C7F-B34E-3F298BD3E068}" destId="{46A5F3AA-1D7F-4B6C-B5E7-8375D6181300}" srcOrd="2" destOrd="0" presId="urn:microsoft.com/office/officeart/2005/8/layout/pList2#2"/>
    <dgm:cxn modelId="{82E5694E-C11D-4722-B05F-797A4AB5A11C}" type="presParOf" srcId="{46A5F3AA-1D7F-4B6C-B5E7-8375D6181300}" destId="{3CB04B11-96EB-4794-8641-BCF3DBB56437}" srcOrd="0" destOrd="0" presId="urn:microsoft.com/office/officeart/2005/8/layout/pList2#2"/>
    <dgm:cxn modelId="{3D267D65-C4A0-49C2-B14D-F108751C7D8D}" type="presParOf" srcId="{46A5F3AA-1D7F-4B6C-B5E7-8375D6181300}" destId="{C2F1470C-72A4-4BBC-B586-F1B3C625547C}" srcOrd="1" destOrd="0" presId="urn:microsoft.com/office/officeart/2005/8/layout/pList2#2"/>
    <dgm:cxn modelId="{532C2AC8-3C72-4122-8E7E-70D5B4D8AC80}" type="presParOf" srcId="{46A5F3AA-1D7F-4B6C-B5E7-8375D6181300}" destId="{335FAB4B-88BB-48D4-BC9F-26E6E37670C7}" srcOrd="2" destOrd="0" presId="urn:microsoft.com/office/officeart/2005/8/layout/pList2#2"/>
    <dgm:cxn modelId="{2C3FE76E-519A-4C07-9BD2-D90F9DC5E1D4}" type="presParOf" srcId="{85CA5132-C1BD-4C7F-B34E-3F298BD3E068}" destId="{6B3B05F5-80E7-4D82-A987-F4ACD1CE6ACB}" srcOrd="3" destOrd="0" presId="urn:microsoft.com/office/officeart/2005/8/layout/pList2#2"/>
    <dgm:cxn modelId="{599085A8-9AF1-45C1-9D90-A21709F80FA2}" type="presParOf" srcId="{85CA5132-C1BD-4C7F-B34E-3F298BD3E068}" destId="{7753B977-9F2A-426A-A5FC-1AFD225AB1E5}" srcOrd="4" destOrd="0" presId="urn:microsoft.com/office/officeart/2005/8/layout/pList2#2"/>
    <dgm:cxn modelId="{52DD061B-10DB-434D-BC5D-F3B2E2478485}" type="presParOf" srcId="{7753B977-9F2A-426A-A5FC-1AFD225AB1E5}" destId="{7BB8FB9A-F99F-4442-B731-4D354672D564}" srcOrd="0" destOrd="0" presId="urn:microsoft.com/office/officeart/2005/8/layout/pList2#2"/>
    <dgm:cxn modelId="{D170A44F-110E-403D-8CC8-335530B32974}" type="presParOf" srcId="{7753B977-9F2A-426A-A5FC-1AFD225AB1E5}" destId="{82636D35-94C7-4489-B992-EED67150D1E7}" srcOrd="1" destOrd="0" presId="urn:microsoft.com/office/officeart/2005/8/layout/pList2#2"/>
    <dgm:cxn modelId="{40D192DA-BDA9-4E1F-A850-30C8E8356B5F}" type="presParOf" srcId="{7753B977-9F2A-426A-A5FC-1AFD225AB1E5}" destId="{501602C8-E7C6-4363-9C4B-D803F31E4FEF}" srcOrd="2" destOrd="0" presId="urn:microsoft.com/office/officeart/2005/8/layout/pList2#2"/>
    <dgm:cxn modelId="{B7368787-4FAD-4C60-802E-0D1604DAE834}" type="presParOf" srcId="{85CA5132-C1BD-4C7F-B34E-3F298BD3E068}" destId="{6EC63692-962B-4CF0-BE99-1F7BD1D509CF}" srcOrd="5" destOrd="0" presId="urn:microsoft.com/office/officeart/2005/8/layout/pList2#2"/>
    <dgm:cxn modelId="{C3EC1644-B643-4B2D-BFC8-DF695541CE31}" type="presParOf" srcId="{85CA5132-C1BD-4C7F-B34E-3F298BD3E068}" destId="{37602060-DD21-4CBA-A54E-614A621ED9C4}" srcOrd="6" destOrd="0" presId="urn:microsoft.com/office/officeart/2005/8/layout/pList2#2"/>
    <dgm:cxn modelId="{441AECAA-CDE9-472E-B4FC-57860D40849F}" type="presParOf" srcId="{37602060-DD21-4CBA-A54E-614A621ED9C4}" destId="{F3772DB7-A4D6-4FFB-9C68-30B84244D57D}" srcOrd="0" destOrd="0" presId="urn:microsoft.com/office/officeart/2005/8/layout/pList2#2"/>
    <dgm:cxn modelId="{BFF8B83B-7C5C-4DD2-9BF2-BE764047DBA0}" type="presParOf" srcId="{37602060-DD21-4CBA-A54E-614A621ED9C4}" destId="{DE1F35B6-0CC8-4E8E-A5F8-1979DF33E5B5}" srcOrd="1" destOrd="0" presId="urn:microsoft.com/office/officeart/2005/8/layout/pList2#2"/>
    <dgm:cxn modelId="{87C55768-49A6-45A4-9D67-7A5B7842A5D5}" type="presParOf" srcId="{37602060-DD21-4CBA-A54E-614A621ED9C4}" destId="{FF8CAC45-A628-48FF-9020-66BF45352FE1}" srcOrd="2" destOrd="0" presId="urn:microsoft.com/office/officeart/2005/8/layout/pList2#2"/>
    <dgm:cxn modelId="{CEE4994B-DB9C-4792-98EB-39D0F6710935}" type="presParOf" srcId="{85CA5132-C1BD-4C7F-B34E-3F298BD3E068}" destId="{B411516A-CFEF-431A-8B8C-26A3523D106F}" srcOrd="7" destOrd="0" presId="urn:microsoft.com/office/officeart/2005/8/layout/pList2#2"/>
    <dgm:cxn modelId="{4CD0B81A-DEAF-4AD0-8142-836161C418A1}" type="presParOf" srcId="{85CA5132-C1BD-4C7F-B34E-3F298BD3E068}" destId="{BBCE3426-314E-4761-AB3C-412F508C5CF5}" srcOrd="8" destOrd="0" presId="urn:microsoft.com/office/officeart/2005/8/layout/pList2#2"/>
    <dgm:cxn modelId="{DE902A6F-308D-4C6A-82D2-09685EA53F90}" type="presParOf" srcId="{BBCE3426-314E-4761-AB3C-412F508C5CF5}" destId="{4BA0A007-CBCB-405A-BEA4-AF75ED20793C}" srcOrd="0" destOrd="0" presId="urn:microsoft.com/office/officeart/2005/8/layout/pList2#2"/>
    <dgm:cxn modelId="{43C4E3AF-06EA-4A8D-800D-321CDF1032A8}" type="presParOf" srcId="{BBCE3426-314E-4761-AB3C-412F508C5CF5}" destId="{3644CF13-9881-442A-BBEA-CF13D1E47BD2}" srcOrd="1" destOrd="0" presId="urn:microsoft.com/office/officeart/2005/8/layout/pList2#2"/>
    <dgm:cxn modelId="{82524A8B-8FC6-4BB0-B382-25F347209DBA}" type="presParOf" srcId="{BBCE3426-314E-4761-AB3C-412F508C5CF5}" destId="{7B774A82-0FF2-4ECA-941A-3C933F2F74CA}" srcOrd="2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A6AE317-2CFB-499D-AE61-6D0E5B865A57}" type="doc">
      <dgm:prSet loTypeId="urn:microsoft.com/office/officeart/2005/8/layout/pList2#1" loCatId="picture" qsTypeId="urn:microsoft.com/office/officeart/2005/8/quickstyle/simple1" qsCatId="simple" csTypeId="urn:microsoft.com/office/officeart/2005/8/colors/accent3_2" csCatId="accent3" phldr="1"/>
      <dgm:spPr/>
    </dgm:pt>
    <dgm:pt modelId="{BFA03E2D-5054-47A9-8C41-6D7B0FC30DE0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gradFill flip="none" rotWithShape="0">
          <a:gsLst>
            <a:gs pos="0">
              <a:srgbClr val="003399">
                <a:shade val="30000"/>
                <a:satMod val="115000"/>
              </a:srgbClr>
            </a:gs>
            <a:gs pos="50000">
              <a:srgbClr val="003399">
                <a:shade val="67500"/>
                <a:satMod val="115000"/>
              </a:srgbClr>
            </a:gs>
            <a:gs pos="100000">
              <a:srgbClr val="003399">
                <a:shade val="100000"/>
                <a:satMod val="115000"/>
              </a:srgbClr>
            </a:gs>
          </a:gsLst>
          <a:lin ang="5400000" scaled="1"/>
          <a:tileRect/>
        </a:gradFill>
        <a:effectLst>
          <a:glow rad="2286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pPr rtl="0">
            <a:lnSpc>
              <a:spcPts val="1400"/>
            </a:lnSpc>
            <a:spcAft>
              <a:spcPts val="0"/>
            </a:spcAft>
          </a:pPr>
          <a:r>
            <a:rPr lang="ru-RU" sz="1600" b="1" i="0" u="none" dirty="0" err="1" smtClean="0"/>
            <a:t>Электричес</a:t>
          </a:r>
          <a:r>
            <a:rPr lang="ru-RU" sz="1600" b="1" i="0" u="none" dirty="0" smtClean="0"/>
            <a:t>-кая энергия </a:t>
          </a:r>
        </a:p>
        <a:p>
          <a:pPr rtl="0">
            <a:lnSpc>
              <a:spcPts val="1400"/>
            </a:lnSpc>
            <a:spcAft>
              <a:spcPts val="0"/>
            </a:spcAft>
          </a:pPr>
          <a:r>
            <a:rPr lang="ru-RU" sz="1600" b="1" i="0" u="none" dirty="0" smtClean="0">
              <a:solidFill>
                <a:srgbClr val="FCFCFC"/>
              </a:solidFill>
            </a:rPr>
            <a:t>(</a:t>
          </a:r>
          <a:r>
            <a:rPr lang="en-US" sz="1600" b="1" i="0" u="none" dirty="0" smtClean="0">
              <a:solidFill>
                <a:srgbClr val="FCFCFC"/>
              </a:solidFill>
            </a:rPr>
            <a:t>$</a:t>
          </a:r>
          <a:r>
            <a:rPr lang="ru-RU" sz="1600" b="1" i="0" u="none" dirty="0" smtClean="0">
              <a:solidFill>
                <a:srgbClr val="FCFCFC"/>
              </a:solidFill>
            </a:rPr>
            <a:t>/кВт. час) : </a:t>
          </a:r>
          <a:endParaRPr lang="ru-RU" sz="1500" b="1" i="0" u="none" dirty="0" smtClean="0">
            <a:solidFill>
              <a:srgbClr val="FCFCFC"/>
            </a:solidFill>
          </a:endParaRPr>
        </a:p>
        <a:p>
          <a:pPr rtl="0">
            <a:lnSpc>
              <a:spcPts val="1400"/>
            </a:lnSpc>
            <a:spcAft>
              <a:spcPts val="0"/>
            </a:spcAft>
          </a:pPr>
          <a:r>
            <a:rPr lang="ru-RU" sz="2000" b="1" i="0" u="none" dirty="0" smtClean="0">
              <a:solidFill>
                <a:srgbClr val="FFFF00"/>
              </a:solidFill>
            </a:rPr>
            <a:t>от 0,03</a:t>
          </a:r>
          <a:endParaRPr lang="ru-RU" sz="2000" b="1" dirty="0">
            <a:solidFill>
              <a:srgbClr val="FFFF00"/>
            </a:solidFill>
          </a:endParaRPr>
        </a:p>
      </dgm:t>
    </dgm:pt>
    <dgm:pt modelId="{6054A280-062E-4C0C-AC24-E0AF85A3A2B3}" type="parTrans" cxnId="{EB19C92D-A84E-47AA-9A51-CB92C430E0FE}">
      <dgm:prSet/>
      <dgm:spPr/>
      <dgm:t>
        <a:bodyPr/>
        <a:lstStyle/>
        <a:p>
          <a:endParaRPr lang="ru-RU"/>
        </a:p>
      </dgm:t>
    </dgm:pt>
    <dgm:pt modelId="{215F23E3-2C49-45B3-ACB6-3EA994049456}" type="sibTrans" cxnId="{EB19C92D-A84E-47AA-9A51-CB92C430E0FE}">
      <dgm:prSet/>
      <dgm:spPr/>
      <dgm:t>
        <a:bodyPr/>
        <a:lstStyle/>
        <a:p>
          <a:endParaRPr lang="ru-RU"/>
        </a:p>
      </dgm:t>
    </dgm:pt>
    <dgm:pt modelId="{AC85EEF0-3A93-4FE9-8E48-D7B80A72EAAA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gradFill flip="none" rotWithShape="0">
          <a:gsLst>
            <a:gs pos="0">
              <a:srgbClr val="003399">
                <a:shade val="30000"/>
                <a:satMod val="115000"/>
              </a:srgbClr>
            </a:gs>
            <a:gs pos="50000">
              <a:srgbClr val="003399">
                <a:shade val="67500"/>
                <a:satMod val="115000"/>
              </a:srgbClr>
            </a:gs>
            <a:gs pos="100000">
              <a:srgbClr val="003399">
                <a:shade val="100000"/>
                <a:satMod val="115000"/>
              </a:srgbClr>
            </a:gs>
          </a:gsLst>
          <a:lin ang="5400000" scaled="1"/>
          <a:tileRect/>
        </a:gradFill>
        <a:effectLst>
          <a:glow rad="2286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Арендная плата за земли сельхоз назначения в год (</a:t>
          </a:r>
          <a:r>
            <a:rPr lang="en-US" sz="1600" b="1" dirty="0" smtClean="0">
              <a:solidFill>
                <a:schemeClr val="bg1"/>
              </a:solidFill>
            </a:rPr>
            <a:t>$</a:t>
          </a:r>
          <a:r>
            <a:rPr lang="ru-RU" sz="1600" b="1" dirty="0" smtClean="0">
              <a:solidFill>
                <a:schemeClr val="bg1"/>
              </a:solidFill>
            </a:rPr>
            <a:t>/Га):</a:t>
          </a:r>
        </a:p>
        <a:p>
          <a:pPr>
            <a:lnSpc>
              <a:spcPts val="1400"/>
            </a:lnSpc>
            <a:spcAft>
              <a:spcPct val="35000"/>
            </a:spcAft>
          </a:pPr>
          <a:r>
            <a:rPr lang="ru-RU" sz="2000" b="1" dirty="0" smtClean="0">
              <a:solidFill>
                <a:srgbClr val="FFFF00"/>
              </a:solidFill>
            </a:rPr>
            <a:t>от 4 до 18,6</a:t>
          </a:r>
          <a:endParaRPr lang="ru-RU" sz="2000" b="1" dirty="0">
            <a:solidFill>
              <a:srgbClr val="FFFF00"/>
            </a:solidFill>
          </a:endParaRPr>
        </a:p>
      </dgm:t>
    </dgm:pt>
    <dgm:pt modelId="{43240398-F05F-4154-B336-2D8AD0B42B84}" type="parTrans" cxnId="{9A94D6C9-BC4A-4007-91F7-16C1F1684DEC}">
      <dgm:prSet/>
      <dgm:spPr/>
      <dgm:t>
        <a:bodyPr/>
        <a:lstStyle/>
        <a:p>
          <a:endParaRPr lang="ru-RU"/>
        </a:p>
      </dgm:t>
    </dgm:pt>
    <dgm:pt modelId="{93662502-075F-4277-BCF5-1E89AE87486A}" type="sibTrans" cxnId="{9A94D6C9-BC4A-4007-91F7-16C1F1684DEC}">
      <dgm:prSet/>
      <dgm:spPr/>
      <dgm:t>
        <a:bodyPr/>
        <a:lstStyle/>
        <a:p>
          <a:endParaRPr lang="ru-RU"/>
        </a:p>
      </dgm:t>
    </dgm:pt>
    <dgm:pt modelId="{924F5639-8DE2-4470-B903-BE144A25BC45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gradFill flip="none" rotWithShape="0">
          <a:gsLst>
            <a:gs pos="0">
              <a:srgbClr val="003399">
                <a:shade val="30000"/>
                <a:satMod val="115000"/>
              </a:srgbClr>
            </a:gs>
            <a:gs pos="50000">
              <a:srgbClr val="003399">
                <a:shade val="67500"/>
                <a:satMod val="115000"/>
              </a:srgbClr>
            </a:gs>
            <a:gs pos="100000">
              <a:srgbClr val="003399">
                <a:shade val="100000"/>
                <a:satMod val="115000"/>
              </a:srgbClr>
            </a:gs>
          </a:gsLst>
          <a:lin ang="5400000" scaled="1"/>
          <a:tileRect/>
        </a:gradFill>
        <a:effectLst>
          <a:glow rad="2286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pPr>
            <a:lnSpc>
              <a:spcPts val="1400"/>
            </a:lnSpc>
            <a:spcAft>
              <a:spcPts val="0"/>
            </a:spcAft>
          </a:pPr>
          <a:r>
            <a:rPr lang="ru-RU" sz="1600" b="1" dirty="0" smtClean="0"/>
            <a:t>Арендная плата за земли для </a:t>
          </a:r>
          <a:r>
            <a:rPr lang="ru-RU" sz="1600" b="1" spc="-50" baseline="0" dirty="0" err="1" smtClean="0"/>
            <a:t>производ-ственной</a:t>
          </a:r>
          <a:r>
            <a:rPr lang="ru-RU" sz="1600" b="1" dirty="0" smtClean="0"/>
            <a:t> </a:t>
          </a:r>
          <a:r>
            <a:rPr lang="ru-RU" sz="1600" b="1" dirty="0" err="1" smtClean="0"/>
            <a:t>деятельнос-ти</a:t>
          </a:r>
          <a:r>
            <a:rPr lang="ru-RU" sz="1600" b="1" dirty="0" smtClean="0"/>
            <a:t> в год </a:t>
          </a:r>
        </a:p>
        <a:p>
          <a:pPr>
            <a:lnSpc>
              <a:spcPts val="1400"/>
            </a:lnSpc>
            <a:spcAft>
              <a:spcPts val="0"/>
            </a:spcAft>
          </a:pPr>
          <a:r>
            <a:rPr lang="ru-RU" sz="1600" b="1" dirty="0" smtClean="0">
              <a:solidFill>
                <a:schemeClr val="bg1"/>
              </a:solidFill>
            </a:rPr>
            <a:t>(</a:t>
          </a:r>
          <a:r>
            <a:rPr lang="en-US" sz="1600" b="1" dirty="0" smtClean="0">
              <a:solidFill>
                <a:schemeClr val="bg1"/>
              </a:solidFill>
            </a:rPr>
            <a:t>$</a:t>
          </a:r>
          <a:r>
            <a:rPr lang="ru-RU" sz="1600" b="1" dirty="0" smtClean="0">
              <a:solidFill>
                <a:schemeClr val="bg1"/>
              </a:solidFill>
            </a:rPr>
            <a:t>/Га):</a:t>
          </a:r>
          <a:endParaRPr lang="ru-RU" sz="2000" b="1" dirty="0" smtClean="0">
            <a:solidFill>
              <a:srgbClr val="FFFF00"/>
            </a:solidFill>
          </a:endParaRPr>
        </a:p>
        <a:p>
          <a:pPr>
            <a:lnSpc>
              <a:spcPts val="1400"/>
            </a:lnSpc>
            <a:spcAft>
              <a:spcPts val="0"/>
            </a:spcAft>
          </a:pPr>
          <a:r>
            <a:rPr lang="ru-RU" sz="2000" b="1" dirty="0" smtClean="0">
              <a:solidFill>
                <a:srgbClr val="FFFF00"/>
              </a:solidFill>
            </a:rPr>
            <a:t>от 5 до</a:t>
          </a:r>
          <a:r>
            <a:rPr lang="ru-RU" sz="2000" dirty="0" smtClean="0"/>
            <a:t> </a:t>
          </a:r>
          <a:r>
            <a:rPr lang="ru-RU" sz="2000" b="1" dirty="0" smtClean="0">
              <a:solidFill>
                <a:srgbClr val="FFFF00"/>
              </a:solidFill>
            </a:rPr>
            <a:t>100</a:t>
          </a:r>
          <a:r>
            <a:rPr lang="ru-RU" sz="2000" dirty="0" smtClean="0"/>
            <a:t>     </a:t>
          </a:r>
          <a:endParaRPr lang="ru-RU" sz="2000" dirty="0"/>
        </a:p>
      </dgm:t>
    </dgm:pt>
    <dgm:pt modelId="{038B869A-5F07-4067-A9B9-E664D4270CAE}" type="parTrans" cxnId="{2B179C2E-A5D8-4886-92AC-803B9E22ABD3}">
      <dgm:prSet/>
      <dgm:spPr/>
      <dgm:t>
        <a:bodyPr/>
        <a:lstStyle/>
        <a:p>
          <a:endParaRPr lang="ru-RU"/>
        </a:p>
      </dgm:t>
    </dgm:pt>
    <dgm:pt modelId="{5DCAC791-7D16-4309-8BCA-F8982EC26B44}" type="sibTrans" cxnId="{2B179C2E-A5D8-4886-92AC-803B9E22ABD3}">
      <dgm:prSet/>
      <dgm:spPr/>
      <dgm:t>
        <a:bodyPr/>
        <a:lstStyle/>
        <a:p>
          <a:endParaRPr lang="ru-RU"/>
        </a:p>
      </dgm:t>
    </dgm:pt>
    <dgm:pt modelId="{B3744111-642B-4C8E-AD6A-B3BDA99F7C90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gradFill flip="none" rotWithShape="0">
          <a:gsLst>
            <a:gs pos="0">
              <a:srgbClr val="003399">
                <a:shade val="30000"/>
                <a:satMod val="115000"/>
              </a:srgbClr>
            </a:gs>
            <a:gs pos="50000">
              <a:srgbClr val="003399">
                <a:shade val="67500"/>
                <a:satMod val="115000"/>
              </a:srgbClr>
            </a:gs>
            <a:gs pos="100000">
              <a:srgbClr val="003399">
                <a:shade val="100000"/>
                <a:satMod val="115000"/>
              </a:srgbClr>
            </a:gs>
          </a:gsLst>
          <a:lin ang="5400000" scaled="1"/>
          <a:tileRect/>
        </a:gradFill>
        <a:effectLst>
          <a:glow rad="2286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pPr marL="0" marR="0" indent="0" defTabSz="914400" eaLnBrk="1" fontAlgn="auto" latinLnBrk="0" hangingPunct="1">
            <a:lnSpc>
              <a:spcPts val="14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bg1"/>
              </a:solidFill>
            </a:rPr>
            <a:t>Тепловая энергия (</a:t>
          </a:r>
          <a:r>
            <a:rPr lang="en-US" sz="1600" b="1" dirty="0" smtClean="0">
              <a:solidFill>
                <a:schemeClr val="bg1"/>
              </a:solidFill>
            </a:rPr>
            <a:t>$/</a:t>
          </a:r>
          <a:r>
            <a:rPr lang="ru-RU" sz="1600" b="1" dirty="0" smtClean="0">
              <a:solidFill>
                <a:schemeClr val="bg1"/>
              </a:solidFill>
            </a:rPr>
            <a:t>Гкал): </a:t>
          </a:r>
        </a:p>
        <a:p>
          <a:pPr marL="0" marR="0" indent="0" defTabSz="914400" eaLnBrk="1" fontAlgn="auto" latinLnBrk="0" hangingPunct="1">
            <a:lnSpc>
              <a:spcPts val="14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dirty="0" smtClean="0">
              <a:solidFill>
                <a:srgbClr val="FFFF00"/>
              </a:solidFill>
            </a:rPr>
            <a:t>от 23,9</a:t>
          </a:r>
        </a:p>
      </dgm:t>
    </dgm:pt>
    <dgm:pt modelId="{C6BE96D3-F36E-4908-8D7D-4D3C5B16707E}" type="sibTrans" cxnId="{3400612A-93DD-4CA9-9144-FBE088BDC9F7}">
      <dgm:prSet/>
      <dgm:spPr/>
      <dgm:t>
        <a:bodyPr/>
        <a:lstStyle/>
        <a:p>
          <a:endParaRPr lang="ru-RU"/>
        </a:p>
      </dgm:t>
    </dgm:pt>
    <dgm:pt modelId="{B87D7157-9233-406B-B4F0-13036A967B9E}" type="parTrans" cxnId="{3400612A-93DD-4CA9-9144-FBE088BDC9F7}">
      <dgm:prSet/>
      <dgm:spPr/>
      <dgm:t>
        <a:bodyPr/>
        <a:lstStyle/>
        <a:p>
          <a:endParaRPr lang="ru-RU"/>
        </a:p>
      </dgm:t>
    </dgm:pt>
    <dgm:pt modelId="{9802B3B7-DB55-495A-8E52-082413B816A0}" type="pres">
      <dgm:prSet presAssocID="{0A6AE317-2CFB-499D-AE61-6D0E5B865A57}" presName="Name0" presStyleCnt="0">
        <dgm:presLayoutVars>
          <dgm:dir/>
          <dgm:resizeHandles val="exact"/>
        </dgm:presLayoutVars>
      </dgm:prSet>
      <dgm:spPr/>
    </dgm:pt>
    <dgm:pt modelId="{70B50C13-901E-4936-A141-8CA580CCC876}" type="pres">
      <dgm:prSet presAssocID="{0A6AE317-2CFB-499D-AE61-6D0E5B865A57}" presName="bkgdShp" presStyleLbl="alignAccFollowNode1" presStyleIdx="0" presStyleCnt="1" custLinFactNeighborY="-27778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</dgm:pt>
    <dgm:pt modelId="{7426BE77-098B-4CCD-9E16-B36CF38C602F}" type="pres">
      <dgm:prSet presAssocID="{0A6AE317-2CFB-499D-AE61-6D0E5B865A57}" presName="linComp" presStyleCnt="0"/>
      <dgm:spPr/>
    </dgm:pt>
    <dgm:pt modelId="{BDDD6841-9DEF-45D2-A22E-3378A710B7A8}" type="pres">
      <dgm:prSet presAssocID="{BFA03E2D-5054-47A9-8C41-6D7B0FC30DE0}" presName="compNode" presStyleCnt="0"/>
      <dgm:spPr/>
    </dgm:pt>
    <dgm:pt modelId="{C8EB45F8-3829-4633-9CE8-AE70B8EE3F94}" type="pres">
      <dgm:prSet presAssocID="{BFA03E2D-5054-47A9-8C41-6D7B0FC30DE0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F525C5-A456-4C13-83E4-CCC678423EBF}" type="pres">
      <dgm:prSet presAssocID="{BFA03E2D-5054-47A9-8C41-6D7B0FC30DE0}" presName="invisiNode" presStyleLbl="node1" presStyleIdx="0" presStyleCnt="4"/>
      <dgm:spPr/>
    </dgm:pt>
    <dgm:pt modelId="{0FA6D29E-FE50-4B01-8639-9836FEF3D985}" type="pres">
      <dgm:prSet presAssocID="{BFA03E2D-5054-47A9-8C41-6D7B0FC30DE0}" presName="imagNode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  <dgm:pt modelId="{12D2D088-C41D-45EF-9E2E-73D49A37D703}" type="pres">
      <dgm:prSet presAssocID="{215F23E3-2C49-45B3-ACB6-3EA994049456}" presName="sibTrans" presStyleLbl="sibTrans2D1" presStyleIdx="0" presStyleCnt="0"/>
      <dgm:spPr/>
      <dgm:t>
        <a:bodyPr/>
        <a:lstStyle/>
        <a:p>
          <a:endParaRPr lang="ru-RU"/>
        </a:p>
      </dgm:t>
    </dgm:pt>
    <dgm:pt modelId="{F6D24753-812F-4679-885E-3F7F0538FDCC}" type="pres">
      <dgm:prSet presAssocID="{B3744111-642B-4C8E-AD6A-B3BDA99F7C90}" presName="compNode" presStyleCnt="0"/>
      <dgm:spPr/>
    </dgm:pt>
    <dgm:pt modelId="{0DFDA295-DE78-45B4-B809-275099205FFB}" type="pres">
      <dgm:prSet presAssocID="{B3744111-642B-4C8E-AD6A-B3BDA99F7C9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FB87D7-D8D7-434E-BA16-96343CD2A986}" type="pres">
      <dgm:prSet presAssocID="{B3744111-642B-4C8E-AD6A-B3BDA99F7C90}" presName="invisiNode" presStyleLbl="node1" presStyleIdx="1" presStyleCnt="4"/>
      <dgm:spPr/>
    </dgm:pt>
    <dgm:pt modelId="{6E9B0756-91C8-4E80-825D-39AAA19837C9}" type="pres">
      <dgm:prSet presAssocID="{B3744111-642B-4C8E-AD6A-B3BDA99F7C90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</dgm:spPr>
    </dgm:pt>
    <dgm:pt modelId="{B36988A6-A9F3-4AD2-BA13-7DA4C7239E17}" type="pres">
      <dgm:prSet presAssocID="{C6BE96D3-F36E-4908-8D7D-4D3C5B16707E}" presName="sibTrans" presStyleLbl="sibTrans2D1" presStyleIdx="0" presStyleCnt="0"/>
      <dgm:spPr/>
      <dgm:t>
        <a:bodyPr/>
        <a:lstStyle/>
        <a:p>
          <a:endParaRPr lang="ru-RU"/>
        </a:p>
      </dgm:t>
    </dgm:pt>
    <dgm:pt modelId="{6CD797B0-00A1-4F1C-9984-1A6CF99C9806}" type="pres">
      <dgm:prSet presAssocID="{AC85EEF0-3A93-4FE9-8E48-D7B80A72EAAA}" presName="compNode" presStyleCnt="0"/>
      <dgm:spPr/>
    </dgm:pt>
    <dgm:pt modelId="{AB343ECB-7180-43BC-BF6E-98BDF15D66AB}" type="pres">
      <dgm:prSet presAssocID="{AC85EEF0-3A93-4FE9-8E48-D7B80A72EAA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85707F-4770-4C42-9BAC-0061B709D7ED}" type="pres">
      <dgm:prSet presAssocID="{AC85EEF0-3A93-4FE9-8E48-D7B80A72EAAA}" presName="invisiNode" presStyleLbl="node1" presStyleIdx="2" presStyleCnt="4"/>
      <dgm:spPr/>
    </dgm:pt>
    <dgm:pt modelId="{328AFC5E-983D-4C29-A59D-74D90F14E122}" type="pres">
      <dgm:prSet presAssocID="{AC85EEF0-3A93-4FE9-8E48-D7B80A72EAAA}" presName="imagNode" presStyleLbl="f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1917C4B4-51B6-4F3C-AAA4-56B5FB25F22A}" type="pres">
      <dgm:prSet presAssocID="{93662502-075F-4277-BCF5-1E89AE87486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2EE3FC6A-7FE5-4A12-8B38-98A61280B09E}" type="pres">
      <dgm:prSet presAssocID="{924F5639-8DE2-4470-B903-BE144A25BC45}" presName="compNode" presStyleCnt="0"/>
      <dgm:spPr/>
    </dgm:pt>
    <dgm:pt modelId="{5A4A9746-0EBF-4DC3-A706-FA01B6FC62EF}" type="pres">
      <dgm:prSet presAssocID="{924F5639-8DE2-4470-B903-BE144A25BC4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8EF629-DC33-44D6-AFF8-17E45458D88F}" type="pres">
      <dgm:prSet presAssocID="{924F5639-8DE2-4470-B903-BE144A25BC45}" presName="invisiNode" presStyleLbl="node1" presStyleIdx="3" presStyleCnt="4"/>
      <dgm:spPr/>
    </dgm:pt>
    <dgm:pt modelId="{57271D9E-0A16-4166-9BA5-2DAD907573ED}" type="pres">
      <dgm:prSet presAssocID="{924F5639-8DE2-4470-B903-BE144A25BC45}" presName="imagNode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</dgm:ptLst>
  <dgm:cxnLst>
    <dgm:cxn modelId="{2B179C2E-A5D8-4886-92AC-803B9E22ABD3}" srcId="{0A6AE317-2CFB-499D-AE61-6D0E5B865A57}" destId="{924F5639-8DE2-4470-B903-BE144A25BC45}" srcOrd="3" destOrd="0" parTransId="{038B869A-5F07-4067-A9B9-E664D4270CAE}" sibTransId="{5DCAC791-7D16-4309-8BCA-F8982EC26B44}"/>
    <dgm:cxn modelId="{3400612A-93DD-4CA9-9144-FBE088BDC9F7}" srcId="{0A6AE317-2CFB-499D-AE61-6D0E5B865A57}" destId="{B3744111-642B-4C8E-AD6A-B3BDA99F7C90}" srcOrd="1" destOrd="0" parTransId="{B87D7157-9233-406B-B4F0-13036A967B9E}" sibTransId="{C6BE96D3-F36E-4908-8D7D-4D3C5B16707E}"/>
    <dgm:cxn modelId="{DBC783B8-23EE-4536-B892-2767672BDE79}" type="presOf" srcId="{93662502-075F-4277-BCF5-1E89AE87486A}" destId="{1917C4B4-51B6-4F3C-AAA4-56B5FB25F22A}" srcOrd="0" destOrd="0" presId="urn:microsoft.com/office/officeart/2005/8/layout/pList2#1"/>
    <dgm:cxn modelId="{95DE3F33-B7CA-44A4-8F74-9405A0CC2E27}" type="presOf" srcId="{924F5639-8DE2-4470-B903-BE144A25BC45}" destId="{5A4A9746-0EBF-4DC3-A706-FA01B6FC62EF}" srcOrd="0" destOrd="0" presId="urn:microsoft.com/office/officeart/2005/8/layout/pList2#1"/>
    <dgm:cxn modelId="{65128E9F-FA67-4374-B0E4-D1829E32E260}" type="presOf" srcId="{B3744111-642B-4C8E-AD6A-B3BDA99F7C90}" destId="{0DFDA295-DE78-45B4-B809-275099205FFB}" srcOrd="0" destOrd="0" presId="urn:microsoft.com/office/officeart/2005/8/layout/pList2#1"/>
    <dgm:cxn modelId="{35603971-381E-43E1-8489-86F2CD023505}" type="presOf" srcId="{C6BE96D3-F36E-4908-8D7D-4D3C5B16707E}" destId="{B36988A6-A9F3-4AD2-BA13-7DA4C7239E17}" srcOrd="0" destOrd="0" presId="urn:microsoft.com/office/officeart/2005/8/layout/pList2#1"/>
    <dgm:cxn modelId="{D30B2EBD-715D-4B5B-83AC-EB714A879E94}" type="presOf" srcId="{0A6AE317-2CFB-499D-AE61-6D0E5B865A57}" destId="{9802B3B7-DB55-495A-8E52-082413B816A0}" srcOrd="0" destOrd="0" presId="urn:microsoft.com/office/officeart/2005/8/layout/pList2#1"/>
    <dgm:cxn modelId="{9A94D6C9-BC4A-4007-91F7-16C1F1684DEC}" srcId="{0A6AE317-2CFB-499D-AE61-6D0E5B865A57}" destId="{AC85EEF0-3A93-4FE9-8E48-D7B80A72EAAA}" srcOrd="2" destOrd="0" parTransId="{43240398-F05F-4154-B336-2D8AD0B42B84}" sibTransId="{93662502-075F-4277-BCF5-1E89AE87486A}"/>
    <dgm:cxn modelId="{EB19C92D-A84E-47AA-9A51-CB92C430E0FE}" srcId="{0A6AE317-2CFB-499D-AE61-6D0E5B865A57}" destId="{BFA03E2D-5054-47A9-8C41-6D7B0FC30DE0}" srcOrd="0" destOrd="0" parTransId="{6054A280-062E-4C0C-AC24-E0AF85A3A2B3}" sibTransId="{215F23E3-2C49-45B3-ACB6-3EA994049456}"/>
    <dgm:cxn modelId="{A76FCE36-0132-460F-96AA-627D2A4FCA7D}" type="presOf" srcId="{BFA03E2D-5054-47A9-8C41-6D7B0FC30DE0}" destId="{C8EB45F8-3829-4633-9CE8-AE70B8EE3F94}" srcOrd="0" destOrd="0" presId="urn:microsoft.com/office/officeart/2005/8/layout/pList2#1"/>
    <dgm:cxn modelId="{16B6728A-BBBE-4B4E-BF7B-B75231A99391}" type="presOf" srcId="{AC85EEF0-3A93-4FE9-8E48-D7B80A72EAAA}" destId="{AB343ECB-7180-43BC-BF6E-98BDF15D66AB}" srcOrd="0" destOrd="0" presId="urn:microsoft.com/office/officeart/2005/8/layout/pList2#1"/>
    <dgm:cxn modelId="{D4B789B3-39CC-4ED7-8B22-A57DB8830FF5}" type="presOf" srcId="{215F23E3-2C49-45B3-ACB6-3EA994049456}" destId="{12D2D088-C41D-45EF-9E2E-73D49A37D703}" srcOrd="0" destOrd="0" presId="urn:microsoft.com/office/officeart/2005/8/layout/pList2#1"/>
    <dgm:cxn modelId="{960170E8-3FEE-4808-9444-5E700374073A}" type="presParOf" srcId="{9802B3B7-DB55-495A-8E52-082413B816A0}" destId="{70B50C13-901E-4936-A141-8CA580CCC876}" srcOrd="0" destOrd="0" presId="urn:microsoft.com/office/officeart/2005/8/layout/pList2#1"/>
    <dgm:cxn modelId="{B332AB8C-793E-4749-BD7A-5FEFA3B57C49}" type="presParOf" srcId="{9802B3B7-DB55-495A-8E52-082413B816A0}" destId="{7426BE77-098B-4CCD-9E16-B36CF38C602F}" srcOrd="1" destOrd="0" presId="urn:microsoft.com/office/officeart/2005/8/layout/pList2#1"/>
    <dgm:cxn modelId="{7CA65192-6C7E-4609-B336-B8E47EF8E14C}" type="presParOf" srcId="{7426BE77-098B-4CCD-9E16-B36CF38C602F}" destId="{BDDD6841-9DEF-45D2-A22E-3378A710B7A8}" srcOrd="0" destOrd="0" presId="urn:microsoft.com/office/officeart/2005/8/layout/pList2#1"/>
    <dgm:cxn modelId="{B55FC8E5-4843-45E8-A822-1BDBF0F3A47D}" type="presParOf" srcId="{BDDD6841-9DEF-45D2-A22E-3378A710B7A8}" destId="{C8EB45F8-3829-4633-9CE8-AE70B8EE3F94}" srcOrd="0" destOrd="0" presId="urn:microsoft.com/office/officeart/2005/8/layout/pList2#1"/>
    <dgm:cxn modelId="{0E9EA386-D0D6-4D73-9FBA-8296F809F249}" type="presParOf" srcId="{BDDD6841-9DEF-45D2-A22E-3378A710B7A8}" destId="{20F525C5-A456-4C13-83E4-CCC678423EBF}" srcOrd="1" destOrd="0" presId="urn:microsoft.com/office/officeart/2005/8/layout/pList2#1"/>
    <dgm:cxn modelId="{823E9B90-B6D5-4A1F-A6D1-781BB7AD7535}" type="presParOf" srcId="{BDDD6841-9DEF-45D2-A22E-3378A710B7A8}" destId="{0FA6D29E-FE50-4B01-8639-9836FEF3D985}" srcOrd="2" destOrd="0" presId="urn:microsoft.com/office/officeart/2005/8/layout/pList2#1"/>
    <dgm:cxn modelId="{B797D38F-F392-48C5-AD43-AEECF82462AC}" type="presParOf" srcId="{7426BE77-098B-4CCD-9E16-B36CF38C602F}" destId="{12D2D088-C41D-45EF-9E2E-73D49A37D703}" srcOrd="1" destOrd="0" presId="urn:microsoft.com/office/officeart/2005/8/layout/pList2#1"/>
    <dgm:cxn modelId="{CDAD8456-6A03-4C1A-9AAB-BB3F851B650F}" type="presParOf" srcId="{7426BE77-098B-4CCD-9E16-B36CF38C602F}" destId="{F6D24753-812F-4679-885E-3F7F0538FDCC}" srcOrd="2" destOrd="0" presId="urn:microsoft.com/office/officeart/2005/8/layout/pList2#1"/>
    <dgm:cxn modelId="{DB84233C-1FD7-4F08-8F7A-B10FB97E2154}" type="presParOf" srcId="{F6D24753-812F-4679-885E-3F7F0538FDCC}" destId="{0DFDA295-DE78-45B4-B809-275099205FFB}" srcOrd="0" destOrd="0" presId="urn:microsoft.com/office/officeart/2005/8/layout/pList2#1"/>
    <dgm:cxn modelId="{5E1C4CB7-101A-45D2-867A-CE936A5BED8E}" type="presParOf" srcId="{F6D24753-812F-4679-885E-3F7F0538FDCC}" destId="{E6FB87D7-D8D7-434E-BA16-96343CD2A986}" srcOrd="1" destOrd="0" presId="urn:microsoft.com/office/officeart/2005/8/layout/pList2#1"/>
    <dgm:cxn modelId="{AF7F7D0E-1411-43CF-957B-71C58ABC3408}" type="presParOf" srcId="{F6D24753-812F-4679-885E-3F7F0538FDCC}" destId="{6E9B0756-91C8-4E80-825D-39AAA19837C9}" srcOrd="2" destOrd="0" presId="urn:microsoft.com/office/officeart/2005/8/layout/pList2#1"/>
    <dgm:cxn modelId="{840100BB-38CB-4E07-ADF0-651B8480486B}" type="presParOf" srcId="{7426BE77-098B-4CCD-9E16-B36CF38C602F}" destId="{B36988A6-A9F3-4AD2-BA13-7DA4C7239E17}" srcOrd="3" destOrd="0" presId="urn:microsoft.com/office/officeart/2005/8/layout/pList2#1"/>
    <dgm:cxn modelId="{85EC1813-4E40-4668-AFAA-2073C20E9E79}" type="presParOf" srcId="{7426BE77-098B-4CCD-9E16-B36CF38C602F}" destId="{6CD797B0-00A1-4F1C-9984-1A6CF99C9806}" srcOrd="4" destOrd="0" presId="urn:microsoft.com/office/officeart/2005/8/layout/pList2#1"/>
    <dgm:cxn modelId="{525E78C5-82C1-44DF-B928-64D2240552AE}" type="presParOf" srcId="{6CD797B0-00A1-4F1C-9984-1A6CF99C9806}" destId="{AB343ECB-7180-43BC-BF6E-98BDF15D66AB}" srcOrd="0" destOrd="0" presId="urn:microsoft.com/office/officeart/2005/8/layout/pList2#1"/>
    <dgm:cxn modelId="{8D0E6E1D-7D19-4D36-AB1E-EFA63877EE1C}" type="presParOf" srcId="{6CD797B0-00A1-4F1C-9984-1A6CF99C9806}" destId="{DB85707F-4770-4C42-9BAC-0061B709D7ED}" srcOrd="1" destOrd="0" presId="urn:microsoft.com/office/officeart/2005/8/layout/pList2#1"/>
    <dgm:cxn modelId="{484DE0A7-BEEA-4D1D-8EAB-89EC5D46E88B}" type="presParOf" srcId="{6CD797B0-00A1-4F1C-9984-1A6CF99C9806}" destId="{328AFC5E-983D-4C29-A59D-74D90F14E122}" srcOrd="2" destOrd="0" presId="urn:microsoft.com/office/officeart/2005/8/layout/pList2#1"/>
    <dgm:cxn modelId="{01D43C7E-2A0B-4A29-A981-6B13B68A42D1}" type="presParOf" srcId="{7426BE77-098B-4CCD-9E16-B36CF38C602F}" destId="{1917C4B4-51B6-4F3C-AAA4-56B5FB25F22A}" srcOrd="5" destOrd="0" presId="urn:microsoft.com/office/officeart/2005/8/layout/pList2#1"/>
    <dgm:cxn modelId="{F951B52F-3B7D-44D7-BF1F-9B78B94A29C0}" type="presParOf" srcId="{7426BE77-098B-4CCD-9E16-B36CF38C602F}" destId="{2EE3FC6A-7FE5-4A12-8B38-98A61280B09E}" srcOrd="6" destOrd="0" presId="urn:microsoft.com/office/officeart/2005/8/layout/pList2#1"/>
    <dgm:cxn modelId="{015C2CA6-47E2-48DF-9DC1-91F67998689A}" type="presParOf" srcId="{2EE3FC6A-7FE5-4A12-8B38-98A61280B09E}" destId="{5A4A9746-0EBF-4DC3-A706-FA01B6FC62EF}" srcOrd="0" destOrd="0" presId="urn:microsoft.com/office/officeart/2005/8/layout/pList2#1"/>
    <dgm:cxn modelId="{1832D6BD-BBAB-4C72-89F5-B9D07368ACCB}" type="presParOf" srcId="{2EE3FC6A-7FE5-4A12-8B38-98A61280B09E}" destId="{DC8EF629-DC33-44D6-AFF8-17E45458D88F}" srcOrd="1" destOrd="0" presId="urn:microsoft.com/office/officeart/2005/8/layout/pList2#1"/>
    <dgm:cxn modelId="{809AEE57-9980-467E-B288-B766B8D2B53B}" type="presParOf" srcId="{2EE3FC6A-7FE5-4A12-8B38-98A61280B09E}" destId="{57271D9E-0A16-4166-9BA5-2DAD907573ED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7920C2-46F7-422C-AE79-8174DEF54864}">
      <dsp:nvSpPr>
        <dsp:cNvPr id="0" name=""/>
        <dsp:cNvSpPr/>
      </dsp:nvSpPr>
      <dsp:spPr>
        <a:xfrm>
          <a:off x="-1897943" y="-294485"/>
          <a:ext cx="2269697" cy="2269697"/>
        </a:xfrm>
        <a:prstGeom prst="blockArc">
          <a:avLst>
            <a:gd name="adj1" fmla="val 18900000"/>
            <a:gd name="adj2" fmla="val 2700000"/>
            <a:gd name="adj3" fmla="val 952"/>
          </a:avLst>
        </a:prstGeom>
        <a:noFill/>
        <a:ln w="635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6A81C0-9150-4C1A-831C-281D3BB63A0F}">
      <dsp:nvSpPr>
        <dsp:cNvPr id="0" name=""/>
        <dsp:cNvSpPr/>
      </dsp:nvSpPr>
      <dsp:spPr>
        <a:xfrm>
          <a:off x="164309" y="105011"/>
          <a:ext cx="4338406" cy="2101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681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  Площадь – 787,6 тыс. кв. км</a:t>
          </a:r>
          <a:endParaRPr lang="ru-RU" sz="1600" b="1" kern="1200" dirty="0"/>
        </a:p>
      </dsp:txBody>
      <dsp:txXfrm>
        <a:off x="164309" y="105011"/>
        <a:ext cx="4338406" cy="210158"/>
      </dsp:txXfrm>
    </dsp:sp>
    <dsp:sp modelId="{E22D78F8-AEE1-4474-8C3D-FA74D8DA555B}">
      <dsp:nvSpPr>
        <dsp:cNvPr id="0" name=""/>
        <dsp:cNvSpPr/>
      </dsp:nvSpPr>
      <dsp:spPr>
        <a:xfrm>
          <a:off x="32960" y="78742"/>
          <a:ext cx="262697" cy="26269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3DF8B2-2AF9-4954-BA17-C9CCD8BDCCB5}">
      <dsp:nvSpPr>
        <dsp:cNvPr id="0" name=""/>
        <dsp:cNvSpPr/>
      </dsp:nvSpPr>
      <dsp:spPr>
        <a:xfrm>
          <a:off x="314902" y="420148"/>
          <a:ext cx="4187813" cy="2101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681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 Население – 1,3 млн. человек</a:t>
          </a:r>
          <a:endParaRPr lang="ru-RU" sz="1600" b="1" kern="1200" dirty="0"/>
        </a:p>
      </dsp:txBody>
      <dsp:txXfrm>
        <a:off x="314902" y="420148"/>
        <a:ext cx="4187813" cy="210158"/>
      </dsp:txXfrm>
    </dsp:sp>
    <dsp:sp modelId="{554C5C04-497F-434B-BBA2-67A8303C3839}">
      <dsp:nvSpPr>
        <dsp:cNvPr id="0" name=""/>
        <dsp:cNvSpPr/>
      </dsp:nvSpPr>
      <dsp:spPr>
        <a:xfrm>
          <a:off x="183553" y="393878"/>
          <a:ext cx="262697" cy="26269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787B31-0994-41DE-A9EE-06FB6755511D}">
      <dsp:nvSpPr>
        <dsp:cNvPr id="0" name=""/>
        <dsp:cNvSpPr/>
      </dsp:nvSpPr>
      <dsp:spPr>
        <a:xfrm>
          <a:off x="361122" y="735284"/>
          <a:ext cx="4141593" cy="2101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6813" tIns="40640" rIns="40640" bIns="406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  ВРП – 11 млрд. долларов</a:t>
          </a:r>
        </a:p>
      </dsp:txBody>
      <dsp:txXfrm>
        <a:off x="361122" y="735284"/>
        <a:ext cx="4141593" cy="210158"/>
      </dsp:txXfrm>
    </dsp:sp>
    <dsp:sp modelId="{CF28C662-97E3-4026-9141-F4D0D0455389}">
      <dsp:nvSpPr>
        <dsp:cNvPr id="0" name=""/>
        <dsp:cNvSpPr/>
      </dsp:nvSpPr>
      <dsp:spPr>
        <a:xfrm>
          <a:off x="229773" y="709014"/>
          <a:ext cx="262697" cy="26269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E6FC89-00A5-46C1-B8E7-033ACB7D20C2}">
      <dsp:nvSpPr>
        <dsp:cNvPr id="0" name=""/>
        <dsp:cNvSpPr/>
      </dsp:nvSpPr>
      <dsp:spPr>
        <a:xfrm>
          <a:off x="314902" y="1050420"/>
          <a:ext cx="4187813" cy="2101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681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 Внешнеторговый оборот – 4 млрд. долл.</a:t>
          </a:r>
        </a:p>
      </dsp:txBody>
      <dsp:txXfrm>
        <a:off x="314902" y="1050420"/>
        <a:ext cx="4187813" cy="210158"/>
      </dsp:txXfrm>
    </dsp:sp>
    <dsp:sp modelId="{60611E50-48D1-496B-909D-8578F7880DA2}">
      <dsp:nvSpPr>
        <dsp:cNvPr id="0" name=""/>
        <dsp:cNvSpPr/>
      </dsp:nvSpPr>
      <dsp:spPr>
        <a:xfrm>
          <a:off x="183553" y="1024150"/>
          <a:ext cx="262697" cy="26269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650085-3CBE-4816-AAB0-55C6F5F7F8AE}">
      <dsp:nvSpPr>
        <dsp:cNvPr id="0" name=""/>
        <dsp:cNvSpPr/>
      </dsp:nvSpPr>
      <dsp:spPr>
        <a:xfrm>
          <a:off x="164309" y="1365557"/>
          <a:ext cx="4338406" cy="2101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681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  Объем инвестиций – 2 млрд. долл.</a:t>
          </a:r>
        </a:p>
      </dsp:txBody>
      <dsp:txXfrm>
        <a:off x="164309" y="1365557"/>
        <a:ext cx="4338406" cy="210158"/>
      </dsp:txXfrm>
    </dsp:sp>
    <dsp:sp modelId="{2BA0170D-B60E-4838-B4A7-844310EE8587}">
      <dsp:nvSpPr>
        <dsp:cNvPr id="0" name=""/>
        <dsp:cNvSpPr/>
      </dsp:nvSpPr>
      <dsp:spPr>
        <a:xfrm>
          <a:off x="32960" y="1339287"/>
          <a:ext cx="262697" cy="26269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AE394-AD90-41D7-AFB2-3FC72AACDEBC}">
      <dsp:nvSpPr>
        <dsp:cNvPr id="0" name=""/>
        <dsp:cNvSpPr/>
      </dsp:nvSpPr>
      <dsp:spPr>
        <a:xfrm>
          <a:off x="187339" y="522"/>
          <a:ext cx="2765075" cy="5939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atMod val="103000"/>
                <a:lumMod val="102000"/>
                <a:tint val="94000"/>
              </a:schemeClr>
            </a:gs>
            <a:gs pos="50000">
              <a:schemeClr val="accent3">
                <a:satMod val="110000"/>
                <a:lumMod val="100000"/>
                <a:shade val="100000"/>
              </a:schemeClr>
            </a:gs>
            <a:gs pos="100000">
              <a:schemeClr val="accent3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glow rad="228600">
            <a:schemeClr val="accent1">
              <a:satMod val="175000"/>
              <a:alpha val="40000"/>
            </a:schemeClr>
          </a:glow>
        </a:effectLst>
        <a:scene3d>
          <a:camera prst="orthographicFront"/>
          <a:lightRig rig="flat" dir="t"/>
        </a:scene3d>
        <a:sp3d/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68580" tIns="45720" rIns="6858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Лидер в ДФО</a:t>
          </a:r>
          <a:endParaRPr lang="ru-RU" sz="3600" kern="1200" dirty="0"/>
        </a:p>
      </dsp:txBody>
      <dsp:txXfrm>
        <a:off x="204735" y="17918"/>
        <a:ext cx="2730283" cy="559135"/>
      </dsp:txXfrm>
    </dsp:sp>
    <dsp:sp modelId="{CE3F624B-D872-492D-AC1F-932212666C43}">
      <dsp:nvSpPr>
        <dsp:cNvPr id="0" name=""/>
        <dsp:cNvSpPr/>
      </dsp:nvSpPr>
      <dsp:spPr>
        <a:xfrm>
          <a:off x="0" y="703681"/>
          <a:ext cx="593927" cy="5939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88162DA-ABBE-4B9D-A3E7-8D3EFEAD0C6D}">
      <dsp:nvSpPr>
        <dsp:cNvPr id="0" name=""/>
        <dsp:cNvSpPr/>
      </dsp:nvSpPr>
      <dsp:spPr>
        <a:xfrm>
          <a:off x="605432" y="707990"/>
          <a:ext cx="2534322" cy="60183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Авиастроение</a:t>
          </a:r>
          <a:endParaRPr lang="ru-RU" sz="2000" b="1" kern="1200" dirty="0"/>
        </a:p>
      </dsp:txBody>
      <dsp:txXfrm>
        <a:off x="634816" y="737374"/>
        <a:ext cx="2475554" cy="543064"/>
      </dsp:txXfrm>
    </dsp:sp>
    <dsp:sp modelId="{BDDC524C-D039-4B58-B08F-5BC1F1D083F4}">
      <dsp:nvSpPr>
        <dsp:cNvPr id="0" name=""/>
        <dsp:cNvSpPr/>
      </dsp:nvSpPr>
      <dsp:spPr>
        <a:xfrm>
          <a:off x="0" y="1327795"/>
          <a:ext cx="593927" cy="5939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DF4845-A4C1-4568-B850-F6EF91811BA8}">
      <dsp:nvSpPr>
        <dsp:cNvPr id="0" name=""/>
        <dsp:cNvSpPr/>
      </dsp:nvSpPr>
      <dsp:spPr>
        <a:xfrm>
          <a:off x="605427" y="1345238"/>
          <a:ext cx="2534322" cy="602776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Черная металлургия</a:t>
          </a:r>
          <a:endParaRPr lang="ru-RU" sz="2000" b="1" kern="1200" dirty="0"/>
        </a:p>
      </dsp:txBody>
      <dsp:txXfrm>
        <a:off x="634857" y="1374668"/>
        <a:ext cx="2475462" cy="543916"/>
      </dsp:txXfrm>
    </dsp:sp>
    <dsp:sp modelId="{636493F0-C5F6-4FCC-B039-06B8E69FDEB4}">
      <dsp:nvSpPr>
        <dsp:cNvPr id="0" name=""/>
        <dsp:cNvSpPr/>
      </dsp:nvSpPr>
      <dsp:spPr>
        <a:xfrm>
          <a:off x="0" y="1995185"/>
          <a:ext cx="593927" cy="5939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84A587-162B-4E97-AE0B-D565111548AD}">
      <dsp:nvSpPr>
        <dsp:cNvPr id="0" name=""/>
        <dsp:cNvSpPr/>
      </dsp:nvSpPr>
      <dsp:spPr>
        <a:xfrm>
          <a:off x="579589" y="1982457"/>
          <a:ext cx="2560159" cy="635466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Нефтепереработка</a:t>
          </a:r>
          <a:endParaRPr lang="ru-RU" sz="2000" b="1" kern="1200" dirty="0"/>
        </a:p>
      </dsp:txBody>
      <dsp:txXfrm>
        <a:off x="610615" y="2013483"/>
        <a:ext cx="2498107" cy="573414"/>
      </dsp:txXfrm>
    </dsp:sp>
    <dsp:sp modelId="{4D754AC9-AFD6-4D78-8B0F-0BBA6D42833D}">
      <dsp:nvSpPr>
        <dsp:cNvPr id="0" name=""/>
        <dsp:cNvSpPr/>
      </dsp:nvSpPr>
      <dsp:spPr>
        <a:xfrm>
          <a:off x="0" y="2694377"/>
          <a:ext cx="593927" cy="5939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259D095-D23A-406A-8C8A-76087548FA21}">
      <dsp:nvSpPr>
        <dsp:cNvPr id="0" name=""/>
        <dsp:cNvSpPr/>
      </dsp:nvSpPr>
      <dsp:spPr>
        <a:xfrm>
          <a:off x="578168" y="2663448"/>
          <a:ext cx="2560147" cy="647137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Ядерная медицина</a:t>
          </a:r>
          <a:endParaRPr lang="ru-RU" sz="2000" b="1" kern="1200" dirty="0"/>
        </a:p>
      </dsp:txBody>
      <dsp:txXfrm>
        <a:off x="609764" y="2695044"/>
        <a:ext cx="2496955" cy="583945"/>
      </dsp:txXfrm>
    </dsp:sp>
    <dsp:sp modelId="{43A2852A-EEAA-45F4-A607-3E2FB2A79448}">
      <dsp:nvSpPr>
        <dsp:cNvPr id="0" name=""/>
        <dsp:cNvSpPr/>
      </dsp:nvSpPr>
      <dsp:spPr>
        <a:xfrm>
          <a:off x="0" y="3353241"/>
          <a:ext cx="593927" cy="5939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9EBFBEF-99E4-48CE-B10A-AFA81B10ED83}">
      <dsp:nvSpPr>
        <dsp:cNvPr id="0" name=""/>
        <dsp:cNvSpPr/>
      </dsp:nvSpPr>
      <dsp:spPr>
        <a:xfrm>
          <a:off x="587704" y="3353241"/>
          <a:ext cx="2529518" cy="593927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Деревообработка</a:t>
          </a:r>
          <a:endParaRPr lang="ru-RU" sz="2000" b="1" kern="1200" dirty="0"/>
        </a:p>
      </dsp:txBody>
      <dsp:txXfrm>
        <a:off x="616702" y="3382239"/>
        <a:ext cx="2471522" cy="5359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958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98" y="1"/>
            <a:ext cx="2944958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0D83CD-8196-422E-A744-2ECA9F13EA02}" type="datetimeFigureOut">
              <a:rPr lang="ru-RU" smtClean="0"/>
              <a:t>27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43"/>
            <a:ext cx="2944958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98" y="9428243"/>
            <a:ext cx="2944958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D03EE1-1C67-42C1-9B30-038E920CFB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717083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8AC1C9-339C-4079-9CC6-B4832C78C1EC}" type="datetimeFigureOut">
              <a:rPr lang="ru-RU" smtClean="0"/>
              <a:t>27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9509C3-D20D-42E6-BB81-335CC96B3E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31230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-233363" y="795338"/>
            <a:ext cx="7077076" cy="3981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318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33363" y="795338"/>
            <a:ext cx="7077076" cy="3981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68858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33363" y="795338"/>
            <a:ext cx="7077076" cy="3981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2722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33363" y="795338"/>
            <a:ext cx="7077076" cy="3981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882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3DF4DC-AF3F-4BC4-A9C0-483D974E0FC2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574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36E750-EF87-45EB-AF49-8373DA9B9466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205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273843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59ECE-C0B1-4196-B1D5-74D781A65D28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9420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3B04B7-46E4-4A16-A2CB-5CB892ACE25C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6736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F456A-2C2E-439F-A571-0F1CF8DE096C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0024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5DEC3-F30F-42E5-84D5-05211B5DE416}" type="datetime1">
              <a:rPr lang="ru-RU" smtClean="0"/>
              <a:t>27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719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4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4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2354CA-3BAF-4328-99DF-CA2178772C68}" type="datetime1">
              <a:rPr lang="ru-RU" smtClean="0"/>
              <a:t>27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4805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C911F-AC75-4F2F-BAC5-B8C56B6D53C0}" type="datetime1">
              <a:rPr lang="ru-RU" smtClean="0"/>
              <a:t>27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7787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A21A4-0EB8-4AB8-A739-2D6E5A9D8E51}" type="datetime1">
              <a:rPr lang="ru-RU" smtClean="0"/>
              <a:t>27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127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6365F-59DF-4993-9AA7-EF98AECA699F}" type="datetime1">
              <a:rPr lang="ru-RU" smtClean="0"/>
              <a:t>27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396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9180D-C297-47A3-B052-0FEF0B76E316}" type="datetime1">
              <a:rPr lang="ru-RU" smtClean="0"/>
              <a:t>27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42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FBC071-A7A5-403D-B53C-B8FBB6E2CE0F}" type="datetime1">
              <a:rPr lang="ru-RU" smtClean="0"/>
              <a:t>27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7942F9-6432-41A3-A183-19A7B8AC26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419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22.png"/><Relationship Id="rId18" Type="http://schemas.openxmlformats.org/officeDocument/2006/relationships/diagramColors" Target="../diagrams/colors2.xml"/><Relationship Id="rId3" Type="http://schemas.openxmlformats.org/officeDocument/2006/relationships/image" Target="../media/image17.jpeg"/><Relationship Id="rId7" Type="http://schemas.openxmlformats.org/officeDocument/2006/relationships/diagramColors" Target="../diagrams/colors1.xml"/><Relationship Id="rId12" Type="http://schemas.openxmlformats.org/officeDocument/2006/relationships/image" Target="../media/image21.png"/><Relationship Id="rId17" Type="http://schemas.openxmlformats.org/officeDocument/2006/relationships/diagramQuickStyle" Target="../diagrams/quickStyle2.xml"/><Relationship Id="rId2" Type="http://schemas.openxmlformats.org/officeDocument/2006/relationships/image" Target="../media/image16.jpeg"/><Relationship Id="rId16" Type="http://schemas.openxmlformats.org/officeDocument/2006/relationships/diagramLayout" Target="../diagrams/layout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20.png"/><Relationship Id="rId5" Type="http://schemas.openxmlformats.org/officeDocument/2006/relationships/diagramLayout" Target="../diagrams/layout1.xml"/><Relationship Id="rId15" Type="http://schemas.openxmlformats.org/officeDocument/2006/relationships/diagramData" Target="../diagrams/data2.xml"/><Relationship Id="rId10" Type="http://schemas.openxmlformats.org/officeDocument/2006/relationships/image" Target="../media/image19.png"/><Relationship Id="rId19" Type="http://schemas.microsoft.com/office/2007/relationships/diagramDrawing" Target="../diagrams/drawing2.xml"/><Relationship Id="rId4" Type="http://schemas.openxmlformats.org/officeDocument/2006/relationships/diagramData" Target="../diagrams/data1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3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16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6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gif"/><Relationship Id="rId13" Type="http://schemas.openxmlformats.org/officeDocument/2006/relationships/image" Target="../media/image68.pn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12" Type="http://schemas.openxmlformats.org/officeDocument/2006/relationships/image" Target="../media/image6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eg"/><Relationship Id="rId11" Type="http://schemas.openxmlformats.org/officeDocument/2006/relationships/image" Target="../media/image66.jpeg"/><Relationship Id="rId5" Type="http://schemas.openxmlformats.org/officeDocument/2006/relationships/image" Target="../media/image60.png"/><Relationship Id="rId15" Type="http://schemas.openxmlformats.org/officeDocument/2006/relationships/image" Target="../media/image70.jpeg"/><Relationship Id="rId10" Type="http://schemas.openxmlformats.org/officeDocument/2006/relationships/image" Target="../media/image65.jpeg"/><Relationship Id="rId4" Type="http://schemas.openxmlformats.org/officeDocument/2006/relationships/image" Target="../media/image59.jpeg"/><Relationship Id="rId9" Type="http://schemas.openxmlformats.org/officeDocument/2006/relationships/image" Target="../media/image64.jpeg"/><Relationship Id="rId1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12.pn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4" y="2"/>
            <a:ext cx="6856809" cy="910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14"/>
          <p:cNvSpPr>
            <a:spLocks noChangeArrowheads="1"/>
          </p:cNvSpPr>
          <p:nvPr/>
        </p:nvSpPr>
        <p:spPr bwMode="auto">
          <a:xfrm>
            <a:off x="1493660" y="529409"/>
            <a:ext cx="5643563" cy="392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4" tIns="34288" rIns="68564" bIns="342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DFKai-SB" panose="03000509000000000000" pitchFamily="65" charset="-120"/>
              </a:rPr>
              <a:t>ПРАВИТЕЛЬСТВО </a:t>
            </a:r>
            <a:r>
              <a:rPr lang="en-US" alt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DFKai-SB" panose="03000509000000000000" pitchFamily="65" charset="-120"/>
              </a:rPr>
              <a:t> </a:t>
            </a:r>
            <a:r>
              <a:rPr lang="ru-RU" alt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DFKai-SB" panose="03000509000000000000" pitchFamily="65" charset="-120"/>
              </a:rPr>
              <a:t>ХАБАРОВСКОГО КРАЯ</a:t>
            </a:r>
            <a:endParaRPr lang="ru-RU" altLang="ru-RU" sz="2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78734" y="1869673"/>
            <a:ext cx="6587729" cy="2593014"/>
          </a:xfrm>
          <a:prstGeom prst="rect">
            <a:avLst/>
          </a:prstGeom>
        </p:spPr>
        <p:txBody>
          <a:bodyPr lIns="68564" tIns="34288" rIns="68564" bIns="34288">
            <a:spAutoFit/>
          </a:bodyPr>
          <a:lstStyle/>
          <a:p>
            <a:pPr algn="ctr">
              <a:defRPr/>
            </a:pPr>
            <a:r>
              <a:rPr lang="ru-RU" sz="4100" b="1" dirty="0">
                <a:solidFill>
                  <a:srgbClr val="081E7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Экономический </a:t>
            </a:r>
            <a:r>
              <a:rPr lang="ru-RU" sz="4100" b="1" dirty="0" smtClean="0">
                <a:solidFill>
                  <a:srgbClr val="081E7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                           и </a:t>
            </a:r>
            <a:r>
              <a:rPr lang="ru-RU" sz="4100" b="1" dirty="0">
                <a:solidFill>
                  <a:srgbClr val="081E7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инвестиционный потенциал Хабаровского края</a:t>
            </a:r>
            <a:endParaRPr lang="en-US" sz="4100" b="1" dirty="0">
              <a:solidFill>
                <a:srgbClr val="081E7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39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745891"/>
              </p:ext>
            </p:extLst>
          </p:nvPr>
        </p:nvGraphicFramePr>
        <p:xfrm>
          <a:off x="1470366" y="3691736"/>
          <a:ext cx="6589337" cy="1366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8055"/>
                <a:gridCol w="789092"/>
                <a:gridCol w="464219"/>
                <a:gridCol w="464219"/>
                <a:gridCol w="464219"/>
                <a:gridCol w="464219"/>
                <a:gridCol w="464219"/>
                <a:gridCol w="464219"/>
                <a:gridCol w="464219"/>
                <a:gridCol w="464219"/>
                <a:gridCol w="464219"/>
                <a:gridCol w="464219"/>
              </a:tblGrid>
              <a:tr h="207788"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/>
                        <a:t>НАЛОГ НА ПРИБЫЛЬ</a:t>
                      </a:r>
                      <a:endParaRPr lang="ru-RU" sz="1200" dirty="0"/>
                    </a:p>
                  </a:txBody>
                  <a:tcPr marL="61724" marR="61724" marT="30862" marB="30862" anchor="ctr">
                    <a:solidFill>
                      <a:srgbClr val="013A8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Без льгот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60018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u="none" dirty="0" smtClean="0"/>
                        <a:t>Льготный период для инвесторов,</a:t>
                      </a:r>
                      <a:r>
                        <a:rPr lang="ru-RU" sz="1200" u="none" baseline="0" dirty="0" smtClean="0"/>
                        <a:t> годы</a:t>
                      </a:r>
                      <a:endParaRPr lang="ru-RU" sz="1200" i="1" u="none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>
                    <a:solidFill>
                      <a:srgbClr val="013A8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874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2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3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4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5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6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7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8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9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0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</a:tr>
              <a:tr h="407007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ru-RU" sz="1100" dirty="0" smtClean="0"/>
                        <a:t>- федеральный</a:t>
                      </a:r>
                      <a:endParaRPr lang="ru-RU" sz="1100" dirty="0"/>
                    </a:p>
                  </a:txBody>
                  <a:tcPr marL="61724" marR="61724" marT="30862" marB="30862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D60018"/>
                          </a:solidFill>
                        </a:rPr>
                        <a:t>20 %</a:t>
                      </a:r>
                    </a:p>
                  </a:txBody>
                  <a:tcPr marL="61724" marR="61724" marT="30862" marB="30862" anchor="ctr"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0%</a:t>
                      </a:r>
                      <a:endParaRPr lang="ru-RU" sz="1200" b="1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%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070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- региональный</a:t>
                      </a:r>
                      <a:endParaRPr lang="ru-RU" sz="1100" dirty="0"/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rgbClr val="013A87"/>
                          </a:solidFill>
                          <a:effectLst/>
                        </a:rPr>
                        <a:t>0%</a:t>
                      </a:r>
                      <a:endParaRPr lang="ru-RU" sz="1200" b="1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10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TextBox 21"/>
          <p:cNvSpPr txBox="1">
            <a:spLocks noChangeArrowheads="1"/>
          </p:cNvSpPr>
          <p:nvPr/>
        </p:nvSpPr>
        <p:spPr bwMode="auto">
          <a:xfrm>
            <a:off x="1485810" y="703078"/>
            <a:ext cx="6172382" cy="3513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1143"/>
              </a:lnSpc>
            </a:pP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оритетный инвестиционный проект </a:t>
            </a:r>
          </a:p>
          <a:p>
            <a:pPr algn="ctr">
              <a:lnSpc>
                <a:spcPts val="1143"/>
              </a:lnSpc>
            </a:pPr>
            <a:r>
              <a:rPr 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статус присваивается Инвестиционным советом при Правительстве края) 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090891"/>
              </p:ext>
            </p:extLst>
          </p:nvPr>
        </p:nvGraphicFramePr>
        <p:xfrm>
          <a:off x="1485810" y="1054455"/>
          <a:ext cx="6552720" cy="2501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199"/>
                <a:gridCol w="838313"/>
                <a:gridCol w="629047"/>
                <a:gridCol w="629047"/>
                <a:gridCol w="629047"/>
                <a:gridCol w="629047"/>
                <a:gridCol w="629047"/>
                <a:gridCol w="768973"/>
              </a:tblGrid>
              <a:tr h="348478"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/>
                        <a:t>Вид льгот</a:t>
                      </a:r>
                      <a:endParaRPr lang="ru-RU" sz="1200" dirty="0"/>
                    </a:p>
                  </a:txBody>
                  <a:tcPr marL="61724" marR="61724" marT="30862" marB="30862" anchor="ctr">
                    <a:solidFill>
                      <a:srgbClr val="013A8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Без льгот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60018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u="none" dirty="0" smtClean="0"/>
                        <a:t>Льготный период для инвесторов,</a:t>
                      </a:r>
                      <a:r>
                        <a:rPr lang="ru-RU" sz="1200" u="none" baseline="0" dirty="0" smtClean="0"/>
                        <a:t> годы</a:t>
                      </a:r>
                      <a:endParaRPr lang="ru-RU" sz="1200" i="1" u="none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>
                    <a:solidFill>
                      <a:srgbClr val="013A8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484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2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3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4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5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лее</a:t>
                      </a: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</a:tr>
              <a:tr h="2971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dirty="0" smtClean="0"/>
                        <a:t>Налог на прибыль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/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D60018"/>
                          </a:solidFill>
                        </a:rPr>
                        <a:t>20 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D60018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D60018"/>
                          </a:solidFill>
                        </a:rPr>
                        <a:t>(2%;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D60018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D60018"/>
                          </a:solidFill>
                        </a:rPr>
                        <a:t>18%)</a:t>
                      </a:r>
                      <a:endParaRPr lang="ru-RU" sz="1600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75406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ru-RU" sz="1100" dirty="0" smtClean="0"/>
                        <a:t>- федеральный</a:t>
                      </a:r>
                      <a:endParaRPr lang="ru-RU" sz="1100" dirty="0"/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</a:tr>
              <a:tr h="7831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- региональный</a:t>
                      </a:r>
                      <a:endParaRPr lang="ru-RU" sz="1100" dirty="0"/>
                    </a:p>
                  </a:txBody>
                  <a:tcPr marL="61724" marR="61724" marT="30862" marB="30862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13,5% -  </a:t>
                      </a:r>
                      <a:r>
                        <a:rPr lang="ru-RU" sz="12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с начала финансирования до конца срока окупаемости, но не более </a:t>
                      </a:r>
                      <a:endParaRPr lang="en-US" sz="1200" b="1" kern="1200" dirty="0" smtClean="0">
                        <a:solidFill>
                          <a:srgbClr val="013A87"/>
                        </a:solidFill>
                        <a:effectLst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5</a:t>
                      </a:r>
                      <a:r>
                        <a:rPr lang="ru-RU" sz="1200" b="1" kern="1200" baseline="0" dirty="0" smtClean="0">
                          <a:solidFill>
                            <a:srgbClr val="013A87"/>
                          </a:solidFill>
                          <a:effectLst/>
                        </a:rPr>
                        <a:t> лет</a:t>
                      </a:r>
                      <a:endParaRPr lang="ru-RU" sz="1200" b="1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%</a:t>
                      </a: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</a:tr>
              <a:tr h="3484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лог на имущество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D60018"/>
                          </a:solidFill>
                        </a:rPr>
                        <a:t>2,2%</a:t>
                      </a:r>
                      <a:endParaRPr lang="ru-RU" sz="1600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1,1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%</a:t>
                      </a:r>
                      <a:endParaRPr lang="ru-RU" sz="1600" b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13" name="TextBox 21"/>
          <p:cNvSpPr txBox="1">
            <a:spLocks noChangeArrowheads="1"/>
          </p:cNvSpPr>
          <p:nvPr/>
        </p:nvSpPr>
        <p:spPr bwMode="auto">
          <a:xfrm>
            <a:off x="1485809" y="3436001"/>
            <a:ext cx="6675552" cy="30008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algn="ctr">
              <a:lnSpc>
                <a:spcPts val="1800"/>
              </a:lnSpc>
              <a:defRPr sz="2000" b="1">
                <a:solidFill>
                  <a:srgbClr val="0096C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100" dirty="0">
                <a:solidFill>
                  <a:srgbClr val="002060"/>
                </a:solidFill>
                <a:latin typeface="+mn-lt"/>
              </a:rPr>
              <a:t>Проекты, направленные на производство новых товаров, реализуемых на Дальнем Востоке (№ 267-ФЗ</a:t>
            </a:r>
            <a:r>
              <a:rPr lang="en-US" sz="1100" dirty="0">
                <a:solidFill>
                  <a:srgbClr val="002060"/>
                </a:solidFill>
                <a:latin typeface="+mn-lt"/>
              </a:rPr>
              <a:t>)</a:t>
            </a:r>
            <a:endParaRPr lang="ru-RU" sz="1100" dirty="0">
              <a:solidFill>
                <a:srgbClr val="002060"/>
              </a:solidFill>
              <a:latin typeface="+mn-lt"/>
            </a:endParaRPr>
          </a:p>
        </p:txBody>
      </p:sp>
      <p:grpSp>
        <p:nvGrpSpPr>
          <p:cNvPr id="8" name="Группа 11"/>
          <p:cNvGrpSpPr/>
          <p:nvPr/>
        </p:nvGrpSpPr>
        <p:grpSpPr>
          <a:xfrm>
            <a:off x="1485809" y="3"/>
            <a:ext cx="6172382" cy="719789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10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1570932" y="-12503"/>
            <a:ext cx="6172382" cy="715581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1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Налоговые льготы для приоритетных и региональных инвестиционных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442355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1"/>
          <p:cNvGrpSpPr/>
          <p:nvPr/>
        </p:nvGrpSpPr>
        <p:grpSpPr>
          <a:xfrm>
            <a:off x="1143000" y="3"/>
            <a:ext cx="6858000" cy="750094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14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1957305" y="113438"/>
            <a:ext cx="5693039" cy="3257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>
              <a:lnSpc>
                <a:spcPts val="2000"/>
              </a:lnSpc>
              <a:defRPr sz="2800" b="1">
                <a:solidFill>
                  <a:srgbClr val="0070C0"/>
                </a:solidFill>
              </a:defRPr>
            </a:lvl1pPr>
          </a:lstStyle>
          <a:p>
            <a:pPr algn="ctr"/>
            <a:r>
              <a:rPr lang="ru-RU" sz="2400" dirty="0">
                <a:latin typeface="Calibri"/>
              </a:rPr>
              <a:t>Инструменты поддержки инвестиций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143000" y="5122177"/>
            <a:ext cx="6561348" cy="21326"/>
          </a:xfrm>
          <a:prstGeom prst="line">
            <a:avLst/>
          </a:prstGeom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979713" y="465516"/>
            <a:ext cx="5542459" cy="300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400" b="1" dirty="0">
                <a:solidFill>
                  <a:prstClr val="white"/>
                </a:solidFill>
                <a:latin typeface="Calibri"/>
              </a:rPr>
              <a:t>на территории Хабаровского края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1777010" y="842115"/>
            <a:ext cx="4037128" cy="396262"/>
            <a:chOff x="427424" y="228427"/>
            <a:chExt cx="8776718" cy="613276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427424" y="228427"/>
              <a:ext cx="8776718" cy="613276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Прямоугольник 16"/>
            <p:cNvSpPr/>
            <p:nvPr/>
          </p:nvSpPr>
          <p:spPr>
            <a:xfrm>
              <a:off x="427424" y="228427"/>
              <a:ext cx="8776718" cy="6132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55880" rIns="55880" bIns="55880" numCol="1" spcCol="1270" anchor="ctr" anchorCtr="0">
              <a:noAutofit/>
            </a:bodyPr>
            <a:lstStyle/>
            <a:p>
              <a:pPr algn="ctr" defTabSz="733425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>
                  <a:solidFill>
                    <a:prstClr val="white"/>
                  </a:solidFill>
                </a:rPr>
                <a:t>Финансовая поддержка инвестиционной деятельности</a:t>
              </a: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777008" y="1275606"/>
            <a:ext cx="4037129" cy="297000"/>
            <a:chOff x="1044734" y="834071"/>
            <a:chExt cx="7820698" cy="478042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044734" y="834071"/>
              <a:ext cx="7820698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Прямоугольник 21"/>
            <p:cNvSpPr/>
            <p:nvPr/>
          </p:nvSpPr>
          <p:spPr>
            <a:xfrm>
              <a:off x="1044734" y="834071"/>
              <a:ext cx="7820698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b="1" dirty="0">
                  <a:solidFill>
                    <a:prstClr val="black"/>
                  </a:solidFill>
                </a:rPr>
                <a:t>Налоговые льготы приоритетным </a:t>
              </a:r>
              <a:r>
                <a:rPr lang="ru-RU" sz="1100" b="1" dirty="0" smtClean="0">
                  <a:solidFill>
                    <a:prstClr val="black"/>
                  </a:solidFill>
                </a:rPr>
                <a:t>                       инвестиционным </a:t>
              </a:r>
              <a:r>
                <a:rPr lang="ru-RU" sz="1100" b="1" dirty="0">
                  <a:solidFill>
                    <a:prstClr val="black"/>
                  </a:solidFill>
                </a:rPr>
                <a:t>проектам края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1676423" y="1599642"/>
            <a:ext cx="1491422" cy="216000"/>
            <a:chOff x="1044731" y="834071"/>
            <a:chExt cx="8350124" cy="478042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1574159" y="834071"/>
              <a:ext cx="7820696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Прямоугольник 24"/>
            <p:cNvSpPr/>
            <p:nvPr/>
          </p:nvSpPr>
          <p:spPr>
            <a:xfrm>
              <a:off x="1044731" y="834071"/>
              <a:ext cx="782070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17 </a:t>
              </a:r>
              <a:r>
                <a:rPr lang="ru-RU" sz="1100" b="1" dirty="0">
                  <a:solidFill>
                    <a:prstClr val="black"/>
                  </a:solidFill>
                </a:rPr>
                <a:t>проектов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1217959" y="1404498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1.1</a:t>
            </a:r>
          </a:p>
        </p:txBody>
      </p:sp>
      <p:sp>
        <p:nvSpPr>
          <p:cNvPr id="27" name="TextBox 19"/>
          <p:cNvSpPr txBox="1">
            <a:spLocks noChangeArrowheads="1"/>
          </p:cNvSpPr>
          <p:nvPr/>
        </p:nvSpPr>
        <p:spPr bwMode="auto">
          <a:xfrm>
            <a:off x="5868148" y="838908"/>
            <a:ext cx="2061795" cy="4026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dist="38100" sx="1000" sy="1000" algn="tl" rotWithShape="0">
              <a:srgbClr val="000000"/>
            </a:outerShdw>
          </a:effectLst>
        </p:spPr>
        <p:txBody>
          <a:bodyPr wrap="square" lIns="13500" tIns="34290" rIns="13500" bIns="3429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r>
              <a:rPr lang="ru-RU" sz="11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Объем поддержки</a:t>
            </a:r>
          </a:p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r>
              <a:rPr lang="ru-RU" sz="11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 в год</a:t>
            </a:r>
            <a:endParaRPr lang="ru-RU" sz="1100" b="1" dirty="0">
              <a:solidFill>
                <a:prstClr val="black"/>
              </a:solidFill>
              <a:latin typeface="Arial"/>
              <a:cs typeface="Times New Roman" pitchFamily="18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3073966" y="1599642"/>
            <a:ext cx="2740172" cy="216000"/>
            <a:chOff x="1251427" y="834071"/>
            <a:chExt cx="8312172" cy="478042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1742904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рямоугольник 29"/>
            <p:cNvSpPr/>
            <p:nvPr/>
          </p:nvSpPr>
          <p:spPr>
            <a:xfrm>
              <a:off x="1251427" y="834071"/>
              <a:ext cx="782070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440 </a:t>
              </a:r>
              <a:r>
                <a:rPr lang="ru-RU" sz="1100" b="1" dirty="0">
                  <a:solidFill>
                    <a:prstClr val="black"/>
                  </a:solidFill>
                </a:rPr>
                <a:t>млрд. рублей инвестиций</a:t>
              </a:r>
            </a:p>
          </p:txBody>
        </p:sp>
      </p:grpSp>
      <p:sp>
        <p:nvSpPr>
          <p:cNvPr id="31" name="TextBox 19"/>
          <p:cNvSpPr txBox="1">
            <a:spLocks noChangeArrowheads="1"/>
          </p:cNvSpPr>
          <p:nvPr/>
        </p:nvSpPr>
        <p:spPr bwMode="auto">
          <a:xfrm>
            <a:off x="5868148" y="1427625"/>
            <a:ext cx="2061795" cy="2359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dist="38100" sx="1000" sy="1000" algn="tl" rotWithShape="0">
              <a:srgbClr val="000000"/>
            </a:outerShdw>
          </a:effectLst>
        </p:spPr>
        <p:txBody>
          <a:bodyPr wrap="square" lIns="13500" tIns="34290" rIns="13500" bIns="3429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720 млн. рублей</a:t>
            </a:r>
            <a:endParaRPr lang="ru-RU" sz="1400" b="1" dirty="0">
              <a:solidFill>
                <a:prstClr val="black"/>
              </a:solidFill>
              <a:latin typeface="Arial"/>
              <a:cs typeface="Times New Roman" pitchFamily="18" charset="0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1777008" y="1869672"/>
            <a:ext cx="4037129" cy="297000"/>
            <a:chOff x="1044734" y="834071"/>
            <a:chExt cx="7820698" cy="478042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044734" y="834071"/>
              <a:ext cx="7820698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рямоугольник 33"/>
            <p:cNvSpPr/>
            <p:nvPr/>
          </p:nvSpPr>
          <p:spPr>
            <a:xfrm>
              <a:off x="1044734" y="834071"/>
              <a:ext cx="7820698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defTabSz="500063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b="1" dirty="0">
                  <a:solidFill>
                    <a:prstClr val="black"/>
                  </a:solidFill>
                </a:rPr>
                <a:t>Налоговые льготы резидентам ТОСЭР</a:t>
              </a: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1601671" y="2193708"/>
            <a:ext cx="1566174" cy="216000"/>
            <a:chOff x="626214" y="834071"/>
            <a:chExt cx="8768641" cy="478042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1574159" y="834071"/>
              <a:ext cx="7820696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Прямоугольник 36"/>
            <p:cNvSpPr/>
            <p:nvPr/>
          </p:nvSpPr>
          <p:spPr>
            <a:xfrm>
              <a:off x="626214" y="834071"/>
              <a:ext cx="876864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25 </a:t>
              </a:r>
              <a:r>
                <a:rPr lang="ru-RU" sz="1100" b="1" dirty="0">
                  <a:solidFill>
                    <a:prstClr val="black"/>
                  </a:solidFill>
                </a:rPr>
                <a:t>резидентов</a:t>
              </a: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3073967" y="2193708"/>
            <a:ext cx="2740172" cy="216000"/>
            <a:chOff x="1251427" y="834071"/>
            <a:chExt cx="8312172" cy="47804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1742904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Прямоугольник 39"/>
            <p:cNvSpPr/>
            <p:nvPr/>
          </p:nvSpPr>
          <p:spPr>
            <a:xfrm>
              <a:off x="1251427" y="834071"/>
              <a:ext cx="782070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37,9 </a:t>
              </a:r>
              <a:r>
                <a:rPr lang="ru-RU" sz="1100" b="1" dirty="0">
                  <a:solidFill>
                    <a:prstClr val="black"/>
                  </a:solidFill>
                </a:rPr>
                <a:t>млрд. рублей инвестиций</a:t>
              </a:r>
            </a:p>
          </p:txBody>
        </p:sp>
      </p:grpSp>
      <p:sp>
        <p:nvSpPr>
          <p:cNvPr id="41" name="TextBox 19"/>
          <p:cNvSpPr txBox="1">
            <a:spLocks noChangeArrowheads="1"/>
          </p:cNvSpPr>
          <p:nvPr/>
        </p:nvSpPr>
        <p:spPr bwMode="auto">
          <a:xfrm>
            <a:off x="5868149" y="1854981"/>
            <a:ext cx="2061795" cy="56938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dist="38100" sx="1000" sy="1000" algn="tl" rotWithShape="0">
              <a:srgbClr val="000000"/>
            </a:outerShdw>
          </a:effectLst>
        </p:spPr>
        <p:txBody>
          <a:bodyPr wrap="square" lIns="13500" tIns="34290" rIns="13500" bIns="3429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endParaRPr lang="ru-RU" sz="1400" b="1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1 000 млн. рублей</a:t>
            </a:r>
          </a:p>
          <a:p>
            <a:pPr algn="ctr">
              <a:lnSpc>
                <a:spcPts val="1275"/>
              </a:lnSpc>
              <a:spcBef>
                <a:spcPts val="0"/>
              </a:spcBef>
              <a:buNone/>
            </a:pPr>
            <a:endParaRPr lang="ru-RU" sz="1400" b="1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206452" y="881073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206452" y="1989632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1.2</a:t>
            </a:r>
          </a:p>
        </p:txBody>
      </p:sp>
      <p:grpSp>
        <p:nvGrpSpPr>
          <p:cNvPr id="44" name="Группа 43"/>
          <p:cNvGrpSpPr/>
          <p:nvPr/>
        </p:nvGrpSpPr>
        <p:grpSpPr>
          <a:xfrm>
            <a:off x="1767443" y="2466939"/>
            <a:ext cx="6152930" cy="405000"/>
            <a:chOff x="427424" y="228427"/>
            <a:chExt cx="8776718" cy="613276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427424" y="228427"/>
              <a:ext cx="8776718" cy="613276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Прямоугольник 45"/>
            <p:cNvSpPr/>
            <p:nvPr/>
          </p:nvSpPr>
          <p:spPr>
            <a:xfrm>
              <a:off x="427424" y="228427"/>
              <a:ext cx="8776718" cy="6132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55880" rIns="55880" bIns="55880" numCol="1" spcCol="1270" anchor="ctr" anchorCtr="0">
              <a:noAutofit/>
            </a:bodyPr>
            <a:lstStyle/>
            <a:p>
              <a:pPr algn="ctr" defTabSz="733425">
                <a:lnSpc>
                  <a:spcPts val="1620"/>
                </a:lnSpc>
              </a:pPr>
              <a:r>
                <a:rPr lang="ru-RU" sz="1100" dirty="0">
                  <a:solidFill>
                    <a:prstClr val="white"/>
                  </a:solidFill>
                </a:rPr>
                <a:t>Предоставление земельных участков в аренду без торгов</a:t>
              </a:r>
            </a:p>
            <a:p>
              <a:pPr algn="ctr" defTabSz="733425">
                <a:lnSpc>
                  <a:spcPts val="1050"/>
                </a:lnSpc>
              </a:pPr>
              <a:r>
                <a:rPr lang="ru-RU" sz="1100" dirty="0">
                  <a:solidFill>
                    <a:prstClr val="white"/>
                  </a:solidFill>
                </a:rPr>
                <a:t>под реализацию инвестиционных проектов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1601674" y="2922816"/>
            <a:ext cx="2691111" cy="189000"/>
            <a:chOff x="1044731" y="834071"/>
            <a:chExt cx="8321707" cy="478042"/>
          </a:xfrm>
        </p:grpSpPr>
        <p:sp>
          <p:nvSpPr>
            <p:cNvPr id="48" name="Прямоугольник 47"/>
            <p:cNvSpPr/>
            <p:nvPr/>
          </p:nvSpPr>
          <p:spPr>
            <a:xfrm>
              <a:off x="1545741" y="834071"/>
              <a:ext cx="7820697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Прямоугольник 48"/>
            <p:cNvSpPr/>
            <p:nvPr/>
          </p:nvSpPr>
          <p:spPr>
            <a:xfrm>
              <a:off x="1044731" y="834071"/>
              <a:ext cx="782070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16 </a:t>
              </a:r>
              <a:r>
                <a:rPr lang="ru-RU" sz="1100" b="1" dirty="0">
                  <a:solidFill>
                    <a:prstClr val="black"/>
                  </a:solidFill>
                </a:rPr>
                <a:t>инвестиционных проектов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4139953" y="2922864"/>
            <a:ext cx="3780420" cy="189000"/>
            <a:chOff x="1251427" y="834071"/>
            <a:chExt cx="8312172" cy="478042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1742904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Прямоугольник 51"/>
            <p:cNvSpPr/>
            <p:nvPr/>
          </p:nvSpPr>
          <p:spPr>
            <a:xfrm>
              <a:off x="1251427" y="834071"/>
              <a:ext cx="7820701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75,4 </a:t>
              </a:r>
              <a:r>
                <a:rPr lang="ru-RU" sz="1100" b="1" dirty="0">
                  <a:solidFill>
                    <a:prstClr val="black"/>
                  </a:solidFill>
                </a:rPr>
                <a:t>млрд рублей инвестиций</a:t>
              </a: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1196887" y="2637698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767442" y="3175530"/>
            <a:ext cx="6152930" cy="395258"/>
            <a:chOff x="427424" y="135913"/>
            <a:chExt cx="8776718" cy="1086457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427424" y="135913"/>
              <a:ext cx="8776718" cy="10864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Прямоугольник 55"/>
            <p:cNvSpPr/>
            <p:nvPr/>
          </p:nvSpPr>
          <p:spPr>
            <a:xfrm>
              <a:off x="427424" y="228427"/>
              <a:ext cx="8776718" cy="92115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55880" rIns="55880" bIns="55880" numCol="1" spcCol="1270" anchor="ctr" anchorCtr="0">
              <a:noAutofit/>
            </a:bodyPr>
            <a:lstStyle/>
            <a:p>
              <a:pPr algn="ctr"/>
              <a:r>
                <a:rPr lang="ru-RU" sz="1100" dirty="0" err="1">
                  <a:solidFill>
                    <a:prstClr val="white"/>
                  </a:solidFill>
                </a:rPr>
                <a:t>Софинансирование</a:t>
              </a:r>
              <a:r>
                <a:rPr lang="ru-RU" sz="1100" dirty="0">
                  <a:solidFill>
                    <a:prstClr val="white"/>
                  </a:solidFill>
                </a:rPr>
                <a:t> инвестиционных проектов в рамках госпрограммы «Социально-экономическое развитие Дальнего Востока и Байкальского региона»</a:t>
              </a: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526063" y="3624852"/>
            <a:ext cx="1917297" cy="540000"/>
            <a:chOff x="505753" y="834071"/>
            <a:chExt cx="8886099" cy="478042"/>
          </a:xfrm>
        </p:grpSpPr>
        <p:sp>
          <p:nvSpPr>
            <p:cNvPr id="58" name="Прямоугольник 57"/>
            <p:cNvSpPr/>
            <p:nvPr/>
          </p:nvSpPr>
          <p:spPr>
            <a:xfrm>
              <a:off x="1545741" y="834071"/>
              <a:ext cx="7820697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Прямоугольник 58"/>
            <p:cNvSpPr/>
            <p:nvPr/>
          </p:nvSpPr>
          <p:spPr>
            <a:xfrm>
              <a:off x="505753" y="834071"/>
              <a:ext cx="8886099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ts val="9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4 </a:t>
              </a:r>
              <a:r>
                <a:rPr lang="ru-RU" sz="1100" b="1" dirty="0">
                  <a:solidFill>
                    <a:prstClr val="black"/>
                  </a:solidFill>
                </a:rPr>
                <a:t>инвестиционных проекта</a:t>
              </a:r>
            </a:p>
            <a:p>
              <a:pPr algn="ctr" defTabSz="500063">
                <a:lnSpc>
                  <a:spcPts val="900"/>
                </a:lnSpc>
              </a:pPr>
              <a:r>
                <a:rPr lang="ru-RU" sz="900" b="1" dirty="0">
                  <a:solidFill>
                    <a:prstClr val="black"/>
                  </a:solidFill>
                </a:rPr>
                <a:t>(ОАО «</a:t>
              </a:r>
              <a:r>
                <a:rPr lang="ru-RU" sz="900" b="1" dirty="0" err="1">
                  <a:solidFill>
                    <a:prstClr val="black"/>
                  </a:solidFill>
                </a:rPr>
                <a:t>Ургалуголь</a:t>
              </a:r>
              <a:r>
                <a:rPr lang="ru-RU" sz="900" b="1" dirty="0">
                  <a:solidFill>
                    <a:prstClr val="black"/>
                  </a:solidFill>
                </a:rPr>
                <a:t>», ООО «</a:t>
              </a:r>
              <a:r>
                <a:rPr lang="ru-RU" sz="900" b="1" dirty="0" err="1">
                  <a:solidFill>
                    <a:prstClr val="black"/>
                  </a:solidFill>
                </a:rPr>
                <a:t>Сахатранс</a:t>
              </a:r>
              <a:r>
                <a:rPr lang="ru-RU" sz="900" b="1" dirty="0">
                  <a:solidFill>
                    <a:prstClr val="black"/>
                  </a:solidFill>
                </a:rPr>
                <a:t>», ООО «Азия лес</a:t>
              </a:r>
              <a:r>
                <a:rPr lang="ru-RU" sz="900" b="1" dirty="0" smtClean="0">
                  <a:solidFill>
                    <a:prstClr val="black"/>
                  </a:solidFill>
                </a:rPr>
                <a:t>», ООО «</a:t>
              </a:r>
              <a:r>
                <a:rPr lang="ru-RU" sz="900" b="1" dirty="0" err="1" smtClean="0">
                  <a:solidFill>
                    <a:prstClr val="black"/>
                  </a:solidFill>
                </a:rPr>
                <a:t>Скифагро</a:t>
              </a:r>
              <a:r>
                <a:rPr lang="ru-RU" sz="900" b="1" dirty="0" smtClean="0">
                  <a:solidFill>
                    <a:prstClr val="black"/>
                  </a:solidFill>
                </a:rPr>
                <a:t>-ДВ»)</a:t>
              </a:r>
              <a:endParaRPr lang="ru-RU" sz="11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3167848" y="3624852"/>
            <a:ext cx="2251379" cy="540000"/>
            <a:chOff x="477390" y="834071"/>
            <a:chExt cx="9263064" cy="478042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1742904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Прямоугольник 61"/>
            <p:cNvSpPr/>
            <p:nvPr/>
          </p:nvSpPr>
          <p:spPr>
            <a:xfrm>
              <a:off x="477390" y="834071"/>
              <a:ext cx="9263064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66 </a:t>
              </a:r>
              <a:r>
                <a:rPr lang="ru-RU" sz="1100" b="1" dirty="0">
                  <a:solidFill>
                    <a:prstClr val="black"/>
                  </a:solidFill>
                </a:rPr>
                <a:t>млрд. рублей</a:t>
              </a:r>
              <a:br>
                <a:rPr lang="ru-RU" sz="1100" b="1" dirty="0">
                  <a:solidFill>
                    <a:prstClr val="black"/>
                  </a:solidFill>
                </a:rPr>
              </a:br>
              <a:r>
                <a:rPr lang="ru-RU" sz="1100" b="1" dirty="0">
                  <a:solidFill>
                    <a:prstClr val="black"/>
                  </a:solidFill>
                </a:rPr>
                <a:t>частных инвестиций</a:t>
              </a: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1206452" y="3515276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grpSp>
        <p:nvGrpSpPr>
          <p:cNvPr id="64" name="Группа 63"/>
          <p:cNvGrpSpPr/>
          <p:nvPr/>
        </p:nvGrpSpPr>
        <p:grpSpPr>
          <a:xfrm>
            <a:off x="5058054" y="3624852"/>
            <a:ext cx="2878344" cy="540000"/>
            <a:chOff x="477390" y="834071"/>
            <a:chExt cx="9263064" cy="478042"/>
          </a:xfrm>
        </p:grpSpPr>
        <p:sp>
          <p:nvSpPr>
            <p:cNvPr id="65" name="Прямоугольник 64"/>
            <p:cNvSpPr/>
            <p:nvPr/>
          </p:nvSpPr>
          <p:spPr>
            <a:xfrm>
              <a:off x="1742903" y="834071"/>
              <a:ext cx="7820694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Прямоугольник 65"/>
            <p:cNvSpPr/>
            <p:nvPr/>
          </p:nvSpPr>
          <p:spPr>
            <a:xfrm>
              <a:off x="477390" y="834071"/>
              <a:ext cx="9263064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5,72 </a:t>
              </a:r>
              <a:r>
                <a:rPr lang="ru-RU" sz="1100" b="1" dirty="0">
                  <a:solidFill>
                    <a:prstClr val="black"/>
                  </a:solidFill>
                </a:rPr>
                <a:t>млрд рублей </a:t>
              </a:r>
              <a:r>
                <a:rPr lang="ru-RU" sz="1100" b="1" smtClean="0">
                  <a:solidFill>
                    <a:prstClr val="black"/>
                  </a:solidFill>
                </a:rPr>
                <a:t>поддержки                       (</a:t>
              </a:r>
              <a:r>
                <a:rPr lang="ru-RU" sz="1100" b="1" dirty="0" smtClean="0">
                  <a:solidFill>
                    <a:prstClr val="black"/>
                  </a:solidFill>
                </a:rPr>
                <a:t>из них освоено 2,6 млрд. рублей)</a:t>
              </a:r>
              <a:endParaRPr lang="ru-RU" sz="11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1767443" y="4164852"/>
            <a:ext cx="6125384" cy="351126"/>
            <a:chOff x="427424" y="116662"/>
            <a:chExt cx="8776718" cy="725041"/>
          </a:xfrm>
        </p:grpSpPr>
        <p:sp>
          <p:nvSpPr>
            <p:cNvPr id="68" name="Прямоугольник 67"/>
            <p:cNvSpPr/>
            <p:nvPr/>
          </p:nvSpPr>
          <p:spPr>
            <a:xfrm>
              <a:off x="427424" y="228427"/>
              <a:ext cx="8776718" cy="613276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Прямоугольник 68"/>
            <p:cNvSpPr/>
            <p:nvPr/>
          </p:nvSpPr>
          <p:spPr>
            <a:xfrm>
              <a:off x="427424" y="116662"/>
              <a:ext cx="8776718" cy="7250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55880" rIns="55880" bIns="55880" numCol="1" spcCol="1270" anchor="ctr" anchorCtr="0">
              <a:noAutofit/>
            </a:bodyPr>
            <a:lstStyle/>
            <a:p>
              <a:pPr algn="ctr" eaLnBrk="1" hangingPunct="1"/>
              <a:r>
                <a:rPr lang="ru-RU" sz="1100" dirty="0">
                  <a:solidFill>
                    <a:prstClr val="white"/>
                  </a:solidFill>
                </a:rPr>
                <a:t>Сопровождение инвестиционных проектов АНО «Агентство инвестиций и развития Хабаровского края»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1196887" y="4433438"/>
            <a:ext cx="483595" cy="300082"/>
          </a:xfrm>
          <a:prstGeom prst="rect">
            <a:avLst/>
          </a:prstGeom>
          <a:solidFill>
            <a:schemeClr val="accent1"/>
          </a:solidFill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ru-RU" sz="150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grpSp>
        <p:nvGrpSpPr>
          <p:cNvPr id="71" name="Группа 70"/>
          <p:cNvGrpSpPr/>
          <p:nvPr/>
        </p:nvGrpSpPr>
        <p:grpSpPr>
          <a:xfrm>
            <a:off x="1459752" y="4556478"/>
            <a:ext cx="2251379" cy="378000"/>
            <a:chOff x="477390" y="834071"/>
            <a:chExt cx="9263064" cy="478042"/>
          </a:xfrm>
        </p:grpSpPr>
        <p:sp>
          <p:nvSpPr>
            <p:cNvPr id="72" name="Прямоугольник 71"/>
            <p:cNvSpPr/>
            <p:nvPr/>
          </p:nvSpPr>
          <p:spPr>
            <a:xfrm>
              <a:off x="1742904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Прямоугольник 72"/>
            <p:cNvSpPr/>
            <p:nvPr/>
          </p:nvSpPr>
          <p:spPr>
            <a:xfrm>
              <a:off x="477390" y="834071"/>
              <a:ext cx="9263064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81 </a:t>
              </a:r>
              <a:r>
                <a:rPr lang="ru-RU" sz="1100" b="1" dirty="0">
                  <a:solidFill>
                    <a:prstClr val="black"/>
                  </a:solidFill>
                </a:rPr>
                <a:t>проект и предложений на сопровождении</a:t>
              </a: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3005826" y="4556478"/>
            <a:ext cx="4887000" cy="378000"/>
            <a:chOff x="477390" y="834071"/>
            <a:chExt cx="9263064" cy="478042"/>
          </a:xfrm>
        </p:grpSpPr>
        <p:sp>
          <p:nvSpPr>
            <p:cNvPr id="75" name="Прямоугольник 74"/>
            <p:cNvSpPr/>
            <p:nvPr/>
          </p:nvSpPr>
          <p:spPr>
            <a:xfrm>
              <a:off x="1898753" y="834071"/>
              <a:ext cx="7820695" cy="47804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6" name="Прямоугольник 75"/>
            <p:cNvSpPr/>
            <p:nvPr/>
          </p:nvSpPr>
          <p:spPr>
            <a:xfrm>
              <a:off x="477390" y="834071"/>
              <a:ext cx="9263064" cy="47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6788" tIns="38100" rIns="38100" bIns="38100" numCol="1" spcCol="1270" anchor="ctr" anchorCtr="0">
              <a:noAutofit/>
            </a:bodyPr>
            <a:lstStyle/>
            <a:p>
              <a:pPr algn="ctr" defTabSz="500063">
                <a:lnSpc>
                  <a:spcPct val="90000"/>
                </a:lnSpc>
              </a:pPr>
              <a:r>
                <a:rPr lang="ru-RU" sz="1100" b="1" dirty="0" smtClean="0">
                  <a:solidFill>
                    <a:prstClr val="black"/>
                  </a:solidFill>
                </a:rPr>
                <a:t>125 </a:t>
              </a:r>
              <a:r>
                <a:rPr lang="ru-RU" sz="1100" b="1" dirty="0">
                  <a:solidFill>
                    <a:prstClr val="black"/>
                  </a:solidFill>
                </a:rPr>
                <a:t>млрд. рублей</a:t>
              </a:r>
              <a:br>
                <a:rPr lang="ru-RU" sz="1100" b="1" dirty="0">
                  <a:solidFill>
                    <a:prstClr val="black"/>
                  </a:solidFill>
                </a:rPr>
              </a:br>
              <a:r>
                <a:rPr lang="ru-RU" sz="1100" b="1" dirty="0">
                  <a:solidFill>
                    <a:prstClr val="black"/>
                  </a:solidFill>
                </a:rPr>
                <a:t>частных инвестици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432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143004" y="3"/>
            <a:ext cx="695325" cy="3798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8" rIns="68564" bIns="34288" anchor="ctr"/>
          <a:lstStyle/>
          <a:p>
            <a:pPr eaLnBrk="1" hangingPunct="1">
              <a:defRPr/>
            </a:pPr>
            <a:r>
              <a:rPr lang="ru-RU" sz="800" dirty="0">
                <a:solidFill>
                  <a:prstClr val="white"/>
                </a:solidFill>
                <a:cs typeface="Times New Roman" pitchFamily="18" charset="0"/>
              </a:rPr>
              <a:t>Строительные матер</a:t>
            </a: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  <a:p>
            <a:pPr eaLnBrk="1" hangingPunct="1">
              <a:defRPr/>
            </a:pP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</p:txBody>
      </p:sp>
      <p:pic>
        <p:nvPicPr>
          <p:cNvPr id="12292" name="Рисунок 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5966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534934" y="408569"/>
            <a:ext cx="6178154" cy="401644"/>
          </a:xfrm>
          <a:prstGeom prst="rect">
            <a:avLst/>
          </a:prstGeom>
        </p:spPr>
        <p:txBody>
          <a:bodyPr wrap="square" lIns="68564" tIns="34288" rIns="68564" bIns="34288">
            <a:spAutoFit/>
          </a:bodyPr>
          <a:lstStyle/>
          <a:p>
            <a:pPr algn="ctr" eaLnBrk="1" hangingPunct="1">
              <a:lnSpc>
                <a:spcPct val="80000"/>
              </a:lnSpc>
              <a:buClr>
                <a:srgbClr val="000000"/>
              </a:buClr>
              <a:buSzPct val="100000"/>
              <a:defRPr/>
            </a:pPr>
            <a:r>
              <a:rPr lang="ru-RU" altLang="ru-RU" sz="2700" b="1" spc="-75" dirty="0">
                <a:ln w="12700">
                  <a:noFill/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ea typeface="DFKai-SB"/>
                <a:cs typeface="Arial" panose="020B0604020202020204" pitchFamily="34" charset="0"/>
              </a:rPr>
              <a:t>Основные отрасли специализации</a:t>
            </a:r>
          </a:p>
        </p:txBody>
      </p:sp>
      <p:sp>
        <p:nvSpPr>
          <p:cNvPr id="4" name="AutoShape 4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259681" y="-10833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6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373981" y="596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8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488281" y="120269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10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602581" y="234571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6087567" y="1456826"/>
            <a:ext cx="2916325" cy="418592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22860" tIns="22860" rIns="22860" bIns="22860" numCol="1" spcCol="953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2100" b="1" i="1" dirty="0">
                <a:latin typeface="Calibri"/>
              </a:rPr>
              <a:t>Промышленность</a:t>
            </a: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832237"/>
              </p:ext>
            </p:extLst>
          </p:nvPr>
        </p:nvGraphicFramePr>
        <p:xfrm>
          <a:off x="6181409" y="2072289"/>
          <a:ext cx="2728640" cy="1763227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463937"/>
                <a:gridCol w="2264703"/>
              </a:tblGrid>
              <a:tr h="18929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шиностроение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18929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пливно-энергетический комплекс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231607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быча полезных ископаемых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18929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тепереработка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18929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щевая промышленность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18929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ие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  <a:tr h="167485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%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ургия</a:t>
                      </a:r>
                      <a:endParaRPr lang="ru-RU" sz="105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49" name="Прямоугольник 48"/>
          <p:cNvSpPr/>
          <p:nvPr/>
        </p:nvSpPr>
        <p:spPr>
          <a:xfrm>
            <a:off x="1602581" y="805135"/>
            <a:ext cx="3293107" cy="418592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0" vert="horz" wrap="square" lIns="22860" tIns="22860" rIns="22860" bIns="22860" numCol="1" spcCol="953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2100" b="1" i="1" dirty="0">
                <a:latin typeface="Calibri"/>
              </a:rPr>
              <a:t>Структура </a:t>
            </a:r>
            <a:r>
              <a:rPr lang="ru-RU" sz="2100" b="1" i="1" dirty="0" smtClean="0">
                <a:latin typeface="Calibri"/>
              </a:rPr>
              <a:t>ВРП, 2016, %</a:t>
            </a:r>
            <a:endParaRPr lang="ru-RU" sz="2100" b="1" i="1" dirty="0">
              <a:latin typeface="Calibri"/>
            </a:endParaRPr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2102585541"/>
              </p:ext>
            </p:extLst>
          </p:nvPr>
        </p:nvGraphicFramePr>
        <p:xfrm>
          <a:off x="77593" y="878925"/>
          <a:ext cx="6222365" cy="4526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74131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143004" y="3"/>
            <a:ext cx="695325" cy="3798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8" rIns="68564" bIns="34288" anchor="ctr"/>
          <a:lstStyle/>
          <a:p>
            <a:pPr eaLnBrk="1" hangingPunct="1">
              <a:defRPr/>
            </a:pPr>
            <a:r>
              <a:rPr lang="ru-RU" sz="800" dirty="0">
                <a:solidFill>
                  <a:prstClr val="white"/>
                </a:solidFill>
                <a:cs typeface="Times New Roman" pitchFamily="18" charset="0"/>
              </a:rPr>
              <a:t>Строительные матер</a:t>
            </a: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  <a:p>
            <a:pPr eaLnBrk="1" hangingPunct="1">
              <a:defRPr/>
            </a:pP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</p:txBody>
      </p:sp>
      <p:pic>
        <p:nvPicPr>
          <p:cNvPr id="12292" name="Рисунок 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867634" y="476337"/>
            <a:ext cx="6162675" cy="586310"/>
          </a:xfrm>
          <a:prstGeom prst="rect">
            <a:avLst/>
          </a:prstGeom>
        </p:spPr>
        <p:txBody>
          <a:bodyPr wrap="square" lIns="68564" tIns="34288" rIns="68564" bIns="34288">
            <a:spAutoFit/>
          </a:bodyPr>
          <a:lstStyle/>
          <a:p>
            <a:pPr algn="ctr" eaLnBrk="1" hangingPunct="1">
              <a:lnSpc>
                <a:spcPct val="80000"/>
              </a:lnSpc>
              <a:buClr>
                <a:srgbClr val="000000"/>
              </a:buClr>
              <a:buSzPct val="100000"/>
              <a:defRPr/>
            </a:pPr>
            <a:r>
              <a:rPr lang="ru-RU" altLang="ru-RU" sz="2100" b="1" dirty="0">
                <a:ln w="12700">
                  <a:noFill/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DFKai-SB"/>
                <a:cs typeface="Arial" panose="020B0604020202020204" pitchFamily="34" charset="0"/>
              </a:rPr>
              <a:t>Хабаровский край – индустриальный центр </a:t>
            </a:r>
          </a:p>
          <a:p>
            <a:pPr algn="ctr" eaLnBrk="1" hangingPunct="1">
              <a:lnSpc>
                <a:spcPct val="80000"/>
              </a:lnSpc>
              <a:buClr>
                <a:srgbClr val="000000"/>
              </a:buClr>
              <a:buSzPct val="100000"/>
              <a:defRPr/>
            </a:pPr>
            <a:r>
              <a:rPr lang="ru-RU" altLang="ru-RU" sz="2100" b="1" dirty="0">
                <a:ln w="12700">
                  <a:noFill/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DFKai-SB"/>
                <a:cs typeface="Arial" panose="020B0604020202020204" pitchFamily="34" charset="0"/>
              </a:rPr>
              <a:t>Дальнего востока</a:t>
            </a:r>
          </a:p>
        </p:txBody>
      </p:sp>
      <p:pic>
        <p:nvPicPr>
          <p:cNvPr id="23" name="Рисунок 13" descr="КАРТА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990" y="1027948"/>
            <a:ext cx="3564396" cy="2575322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747775830"/>
              </p:ext>
            </p:extLst>
          </p:nvPr>
        </p:nvGraphicFramePr>
        <p:xfrm>
          <a:off x="4409983" y="3415308"/>
          <a:ext cx="4520261" cy="1680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27" name="Picture 3" descr="C:\Users\iaseredin\Desktop\Иван Алексеевич\ПИСЬМА\Япония\Без имен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8100" y="3250664"/>
            <a:ext cx="1507350" cy="1130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iaseredin\Desktop\Иван Алексеевич\ПИСЬМА\Япония\Шестеренка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075" y="4129850"/>
            <a:ext cx="314917" cy="314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iaseredin\Desktop\Иван Алексеевич\ПИСЬМА\Япония\unnam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5311" y="3475406"/>
            <a:ext cx="333227" cy="314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iaseredin\Desktop\Иван Алексеевич\ПИСЬМА\Япония\человек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947" y="3722311"/>
            <a:ext cx="527105" cy="472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iaseredin\Desktop\Иван Алексеевич\ПИСЬМА\Япония\доллар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771" y="4287306"/>
            <a:ext cx="630010" cy="630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iaseredin\Desktop\Иван Алексеевич\ПИСЬМА\Япония\Yen_Coin-51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780" y="4738531"/>
            <a:ext cx="349753" cy="35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56054960"/>
              </p:ext>
            </p:extLst>
          </p:nvPr>
        </p:nvGraphicFramePr>
        <p:xfrm>
          <a:off x="1295549" y="1027932"/>
          <a:ext cx="3139755" cy="4068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5536520" y="3250664"/>
            <a:ext cx="1131335" cy="12486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46752" tIns="23376" rIns="46752" bIns="23376" rtlCol="0" anchor="ctr"/>
          <a:lstStyle/>
          <a:p>
            <a:pPr algn="ctr" defTabSz="685781">
              <a:defRPr/>
            </a:pPr>
            <a:r>
              <a:rPr lang="ru-RU" sz="1800" b="1" kern="0" dirty="0" smtClean="0">
                <a:ln w="3175" cmpd="sng">
                  <a:noFill/>
                  <a:prstDash val="soli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itchFamily="18" charset="0"/>
              </a:rPr>
              <a:t>2016 </a:t>
            </a:r>
            <a:r>
              <a:rPr lang="ru-RU" sz="1800" b="1" kern="0" dirty="0">
                <a:ln w="3175" cmpd="sng">
                  <a:noFill/>
                  <a:prstDash val="soli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itchFamily="18" charset="0"/>
              </a:rPr>
              <a:t>год</a:t>
            </a:r>
          </a:p>
        </p:txBody>
      </p:sp>
    </p:spTree>
    <p:extLst>
      <p:ext uri="{BB962C8B-B14F-4D97-AF65-F5344CB8AC3E}">
        <p14:creationId xmlns:p14="http://schemas.microsoft.com/office/powerpoint/2010/main" val="36829936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6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5966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4" name="Rectangle 2"/>
          <p:cNvSpPr txBox="1">
            <a:spLocks noChangeArrowheads="1"/>
          </p:cNvSpPr>
          <p:nvPr/>
        </p:nvSpPr>
        <p:spPr bwMode="auto">
          <a:xfrm>
            <a:off x="1163619" y="478482"/>
            <a:ext cx="68580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71" tIns="34288" rIns="68571" bIns="34288" anchor="ctr"/>
          <a:lstStyle/>
          <a:p>
            <a:pPr algn="ctr">
              <a:lnSpc>
                <a:spcPts val="2625"/>
              </a:lnSpc>
              <a:buClr>
                <a:srgbClr val="000000"/>
              </a:buClr>
              <a:buSzPct val="100000"/>
            </a:pPr>
            <a:r>
              <a:rPr lang="ru-RU" sz="2100" b="1" dirty="0">
                <a:solidFill>
                  <a:prstClr val="white"/>
                </a:solidFill>
                <a:cs typeface="Arial" charset="0"/>
              </a:rPr>
              <a:t>Итоги развития экономики края в </a:t>
            </a:r>
            <a:r>
              <a:rPr lang="ru-RU" sz="2100" b="1" dirty="0" smtClean="0">
                <a:solidFill>
                  <a:prstClr val="white"/>
                </a:solidFill>
                <a:cs typeface="Arial" charset="0"/>
              </a:rPr>
              <a:t>2016 </a:t>
            </a:r>
            <a:r>
              <a:rPr lang="ru-RU" sz="2100" b="1" dirty="0">
                <a:solidFill>
                  <a:prstClr val="white"/>
                </a:solidFill>
                <a:cs typeface="Arial" charset="0"/>
              </a:rPr>
              <a:t>г. </a:t>
            </a:r>
            <a:br>
              <a:rPr lang="ru-RU" sz="2100" b="1" dirty="0">
                <a:solidFill>
                  <a:prstClr val="white"/>
                </a:solidFill>
                <a:cs typeface="Arial" charset="0"/>
              </a:rPr>
            </a:br>
            <a:r>
              <a:rPr lang="ru-RU" sz="2100" b="1" dirty="0">
                <a:solidFill>
                  <a:schemeClr val="accent1"/>
                </a:solidFill>
                <a:cs typeface="Arial" charset="0"/>
              </a:rPr>
              <a:t>(% к </a:t>
            </a:r>
            <a:r>
              <a:rPr lang="ru-RU" sz="2100" b="1" dirty="0" smtClean="0">
                <a:solidFill>
                  <a:schemeClr val="accent1"/>
                </a:solidFill>
                <a:cs typeface="Arial" charset="0"/>
              </a:rPr>
              <a:t>2015 </a:t>
            </a:r>
            <a:r>
              <a:rPr lang="ru-RU" sz="2100" b="1" dirty="0">
                <a:solidFill>
                  <a:schemeClr val="accent1"/>
                </a:solidFill>
                <a:cs typeface="Arial" charset="0"/>
              </a:rPr>
              <a:t>г.)</a:t>
            </a:r>
          </a:p>
        </p:txBody>
      </p:sp>
      <p:sp>
        <p:nvSpPr>
          <p:cNvPr id="3" name="Стрелка вверх 2"/>
          <p:cNvSpPr/>
          <p:nvPr/>
        </p:nvSpPr>
        <p:spPr>
          <a:xfrm>
            <a:off x="6894758" y="2428646"/>
            <a:ext cx="378042" cy="1219892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9" name="Стрелка вверх 8"/>
          <p:cNvSpPr/>
          <p:nvPr/>
        </p:nvSpPr>
        <p:spPr>
          <a:xfrm>
            <a:off x="4389582" y="2348179"/>
            <a:ext cx="378042" cy="1300359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11" name="Стрелка вверх 10"/>
          <p:cNvSpPr/>
          <p:nvPr/>
        </p:nvSpPr>
        <p:spPr>
          <a:xfrm>
            <a:off x="3137566" y="2348179"/>
            <a:ext cx="378042" cy="1300359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12" name="Стрелка вверх 11"/>
          <p:cNvSpPr/>
          <p:nvPr/>
        </p:nvSpPr>
        <p:spPr>
          <a:xfrm>
            <a:off x="1908904" y="2099462"/>
            <a:ext cx="378042" cy="1549076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13" name="Стрелка вверх 12"/>
          <p:cNvSpPr/>
          <p:nvPr/>
        </p:nvSpPr>
        <p:spPr>
          <a:xfrm>
            <a:off x="5588895" y="2428646"/>
            <a:ext cx="378042" cy="1219892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5028926"/>
              </p:ext>
            </p:extLst>
          </p:nvPr>
        </p:nvGraphicFramePr>
        <p:xfrm>
          <a:off x="525602" y="1010086"/>
          <a:ext cx="8229600" cy="4052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Стрелка вверх 20"/>
          <p:cNvSpPr/>
          <p:nvPr/>
        </p:nvSpPr>
        <p:spPr>
          <a:xfrm>
            <a:off x="8143712" y="2428646"/>
            <a:ext cx="378042" cy="1219892"/>
          </a:xfrm>
          <a:prstGeom prst="upArrow">
            <a:avLst/>
          </a:prstGeom>
          <a:gradFill flip="none" rotWithShape="1">
            <a:gsLst>
              <a:gs pos="0">
                <a:schemeClr val="accent3">
                  <a:shade val="51000"/>
                  <a:satMod val="130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5102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19"/>
          <p:cNvSpPr/>
          <p:nvPr/>
        </p:nvSpPr>
        <p:spPr>
          <a:xfrm>
            <a:off x="5733000" y="2001704"/>
            <a:ext cx="2268000" cy="86400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 оператор по созданию индустриальных парков</a:t>
            </a:r>
            <a:endParaRPr lang="en-US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190251" y="2530540"/>
            <a:ext cx="2268000" cy="113400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инвестиций, государственный консультант</a:t>
            </a:r>
            <a:endParaRPr lang="en-US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733000" y="3922026"/>
            <a:ext cx="2268000" cy="113400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инвестиционных проектов трудовыми ресурсам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143004" y="3"/>
            <a:ext cx="695325" cy="3798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8" rIns="68564" bIns="34288" anchor="ctr"/>
          <a:lstStyle/>
          <a:p>
            <a:pPr eaLnBrk="1" hangingPunct="1">
              <a:defRPr/>
            </a:pPr>
            <a:r>
              <a:rPr lang="ru-RU" sz="800" dirty="0">
                <a:solidFill>
                  <a:prstClr val="white"/>
                </a:solidFill>
                <a:cs typeface="Times New Roman" pitchFamily="18" charset="0"/>
              </a:rPr>
              <a:t>Строительные матер</a:t>
            </a: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  <a:p>
            <a:pPr eaLnBrk="1" hangingPunct="1">
              <a:defRPr/>
            </a:pP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</p:txBody>
      </p:sp>
      <p:pic>
        <p:nvPicPr>
          <p:cNvPr id="12292" name="Рисунок 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838325" y="466746"/>
            <a:ext cx="6178154" cy="327778"/>
          </a:xfrm>
          <a:prstGeom prst="rect">
            <a:avLst/>
          </a:prstGeom>
        </p:spPr>
        <p:txBody>
          <a:bodyPr wrap="square" lIns="68564" tIns="34288" rIns="68564" bIns="34288">
            <a:spAutoFit/>
          </a:bodyPr>
          <a:lstStyle/>
          <a:p>
            <a:pPr algn="ctr" eaLnBrk="1" hangingPunct="1">
              <a:lnSpc>
                <a:spcPct val="80000"/>
              </a:lnSpc>
              <a:buClr>
                <a:srgbClr val="000000"/>
              </a:buClr>
              <a:buSzPct val="100000"/>
              <a:defRPr/>
            </a:pPr>
            <a:r>
              <a:rPr lang="ru-RU" altLang="ru-RU" sz="2100" b="1" spc="-75" dirty="0">
                <a:ln w="12700">
                  <a:noFill/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ea typeface="DFKai-SB"/>
                <a:cs typeface="Arial" panose="020B0604020202020204" pitchFamily="34" charset="0"/>
              </a:rPr>
              <a:t>Институты поддержки инвестиций</a:t>
            </a:r>
          </a:p>
        </p:txBody>
      </p:sp>
      <p:sp>
        <p:nvSpPr>
          <p:cNvPr id="4" name="AutoShape 4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259681" y="-10833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6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373981" y="596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8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488281" y="120269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170001" y="1449700"/>
            <a:ext cx="2268000" cy="86388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й оператор по созданию ТОСЭР </a:t>
            </a:r>
          </a:p>
        </p:txBody>
      </p:sp>
      <p:sp>
        <p:nvSpPr>
          <p:cNvPr id="7" name="AutoShape 10" descr="data:image/jpeg;base64,/9j/4QAYRXhpZgAASUkqAAgAAAAAAAAAAAAAAP/sABFEdWNreQABAAQAAABkAAD/4QMZaHR0cDovL25zLmFkb2JlLmNvbS94YXAvMS4wLwA8P3hwYWNrZXQgYmVnaW49Iu+7vyIgaWQ9Ilc1TTBNcENlaGlIenJlU3pOVGN6a2M5ZCI/PiA8eDp4bXBtZXRhIHhtbG5zOng9ImFkb2JlOm5zOm1ldGEvIiB4OnhtcHRrPSJBZG9iZSBYTVAgQ29yZSA1LjMtYzAxMSA2Ni4xNDU2NjEsIDIwMTIvMDIvMDYtMTQ6NTY6MjcgICAgICAgICI+IDxyZGY6UkRGIHhtbG5zOnJkZj0iaHR0cDovL3d3dy53My5vcmcvMTk5OS8wMi8yMi1yZGYtc3ludGF4LW5zIyI+IDxyZGY6RGVzY3JpcHRpb24gcmRmOmFib3V0PSIiIHhtbG5zOnhtcE1NPSJodHRwOi8vbnMuYWRvYmUuY29tL3hhcC8xLjAvbW0vIiB4bWxuczpzdFJlZj0iaHR0cDovL25zLmFkb2JlLmNvbS94YXAvMS4wL3NUeXBlL1Jlc291cmNlUmVmIyIgeG1sbnM6eG1wPSJodHRwOi8vbnMuYWRvYmUuY29tL3hhcC8xLjAvIiB4bXBNTTpEb2N1bWVudElEPSJ4bXAuZGlkOkExNzgzREQ0NkJCRTExRTVCNjE0ODExM0RFNjYwQUU5IiB4bXBNTTpJbnN0YW5jZUlEPSJ4bXAuaWlkOkExNzgzREQzNkJCRTExRTVCNjE0ODExM0RFNjYwQUU5IiB4bXA6Q3JlYXRvclRvb2w9IkFkb2JlIFBob3Rvc2hvcCBDUzYgV2luZG93cyI+IDx4bXBNTTpEZXJpdmVkRnJvbSBzdFJlZjppbnN0YW5jZUlEPSI5NDFDOTAzMjAwRUZBRkZFMDlEODVCNEY0M0FEMzA4RiIgc3RSZWY6ZG9jdW1lbnRJRD0iOTQxQzkwMzIwMEVGQUZGRTA5RDg1QjRGNDNBRDMwOEYiLz4gPC9yZGY6RGVzY3JpcHRpb24+IDwvcmRmOlJERj4gPC94OnhtcG1ldGE+IDw/eHBhY2tldCBlbmQ9InIiPz7/4gxYSUNDX1BST0ZJTEUAAQEAAAxITGlubwIQAABtbnRyUkdCIFhZWiAHzgACAAkABgAxAABhY3NwTVNGVAAAAABJRUMgc1JHQgAAAAAAAAAAAAAAAAAA9tYAAQAAAADTLUhQICAAAAAAAAAAAAAAAAAAAAAAAAAAAAAAAAAAAAAAAAAAAAAAAAAAAAAAAAAAAAAAABFjcHJ0AAABUAAAADNkZXNjAAABhAAAAGx3dHB0AAAB8AAAABRia3B0AAACBAAAABRyWFlaAAACGAAAABRnWFlaAAACLAAAABRiWFlaAAACQAAAABRkbW5kAAACVAAAAHBkbWRkAAACxAAAAIh2dWVkAAADTAAAAIZ2aWV3AAAD1AAAACRsdW1pAAAD+AAAABRtZWFzAAAEDAAAACR0ZWNoAAAEMAAAAAxyVFJDAAAEPAAACAxnVFJDAAAEPAAACAxiVFJDAAAEPAAACAx0ZXh0AAAAAENvcHlyaWdodCAoYykgMTk5OCBIZXdsZXR0LVBhY2thcmQgQ29tcGFueQAAZGVzYwAAAAAAAAASc1JHQiBJRUM2MTk2Ni0yLjEAAAAAAAAAAAAAABJzUkdCIElFQzYxOTY2LTIuMQAAAAAAAAAAAAAAAAAAAAAAAAAAAAAAAAAAAAAAAAAAAAAAAAAAAAAAAAAAAAAAAAAAWFlaIAAAAAAAAPNRAAEAAAABFsxYWVogAAAAAAAAAAAAAAAAAAAAAFhZWiAAAAAAAABvogAAOPUAAAOQWFlaIAAAAAAAAGKZAAC3hQAAGNpYWVogAAAAAAAAJKAAAA+EAAC2z2Rlc2MAAAAAAAAAFklFQyBodHRwOi8vd3d3LmllYy5jaAAAAAAAAAAAAAAAFklFQyBodHRwOi8vd3d3LmllYy5jaAAAAAAAAAAAAAAAAAAAAAAAAAAAAAAAAAAAAAAAAAAAAAAAAAAAAAAAAAAAAABkZXNjAAAAAAAAAC5JRUMgNjE5NjYtMi4xIERlZmF1bHQgUkdCIGNvbG91ciBzcGFjZSAtIHNSR0IAAAAAAAAAAAAAAC5JRUMgNjE5NjYtMi4xIERlZmF1bHQgUkdCIGNvbG91ciBzcGFjZSAtIHNSR0IAAAAAAAAAAAAAAAAAAAAAAAAAAAAAZGVzYwAAAAAAAAAsUmVmZXJlbmNlIFZpZXdpbmcgQ29uZGl0aW9uIGluIElFQzYxOTY2LTIuMQAAAAAAAAAAAAAALFJlZmVyZW5jZSBWaWV3aW5nIENvbmRpdGlvbiBpbiBJRUM2MTk2Ni0yLjEAAAAAAAAAAAAAAAAAAAAAAAAAAAAAAAAAAHZpZXcAAAAAABOk/gAUXy4AEM8UAAPtzAAEEwsAA1yeAAAAAVhZWiAAAAAAAEwJVgBQAAAAVx/nbWVhcwAAAAAAAAABAAAAAAAAAAAAAAAAAAAAAAAAAo8AAAACc2lnIAAAAABDUlQgY3VydgAAAAAAAAQAAAAABQAKAA8AFAAZAB4AIwAoAC0AMgA3ADsAQABFAEoATwBUAFkAXgBjAGgAbQByAHcAfACBAIYAiwCQAJUAmgCfAKQAqQCuALIAtwC8AMEAxgDLANAA1QDbAOAA5QDrAPAA9gD7AQEBBwENARMBGQEfASUBKwEyATgBPgFFAUwBUgFZAWABZwFuAXUBfAGDAYsBkgGaAaEBqQGxAbkBwQHJAdEB2QHhAekB8gH6AgMCDAIUAh0CJgIvAjgCQQJLAlQCXQJnAnECegKEAo4CmAKiAqwCtgLBAssC1QLgAusC9QMAAwsDFgMhAy0DOANDA08DWgNmA3IDfgOKA5YDogOuA7oDxwPTA+AD7AP5BAYEEwQgBC0EOwRIBFUEYwRxBH4EjASaBKgEtgTEBNME4QTwBP4FDQUcBSsFOgVJBVgFZwV3BYYFlgWmBbUFxQXVBeUF9gYGBhYGJwY3BkgGWQZqBnsGjAadBq8GwAbRBuMG9QcHBxkHKwc9B08HYQd0B4YHmQesB78H0gflB/gICwgfCDIIRghaCG4IggiWCKoIvgjSCOcI+wkQCSUJOglPCWQJeQmPCaQJugnPCeUJ+woRCicKPQpUCmoKgQqYCq4KxQrcCvMLCwsiCzkLUQtpC4ALmAuwC8gL4Qv5DBIMKgxDDFwMdQyODKcMwAzZDPMNDQ0mDUANWg10DY4NqQ3DDd4N+A4TDi4OSQ5kDn8Omw62DtIO7g8JDyUPQQ9eD3oPlg+zD88P7BAJECYQQxBhEH4QmxC5ENcQ9RETETERTxFtEYwRqhHJEegSBxImEkUSZBKEEqMSwxLjEwMTIxNDE2MTgxOkE8UT5RQGFCcUSRRqFIsUrRTOFPAVEhU0FVYVeBWbFb0V4BYDFiYWSRZsFo8WshbWFvoXHRdBF2UXiReuF9IX9xgbGEAYZRiKGK8Y1Rj6GSAZRRlrGZEZtxndGgQaKhpRGncanhrFGuwbFBs7G2MbihuyG9ocAhwqHFIcexyjHMwc9R0eHUcdcB2ZHcMd7B4WHkAeah6UHr4e6R8THz4faR+UH78f6iAVIEEgbCCYIMQg8CEcIUghdSGhIc4h+yInIlUigiKvIt0jCiM4I2YjlCPCI/AkHyRNJHwkqyTaJQklOCVoJZclxyX3JicmVyaHJrcm6CcYJ0kneierJ9woDSg/KHEooijUKQYpOClrKZ0p0CoCKjUqaCqbKs8rAis2K2krnSvRLAUsOSxuLKIs1y0MLUEtdi2rLeEuFi5MLoIuty7uLyQvWi+RL8cv/jA1MGwwpDDbMRIxSjGCMbox8jIqMmMymzLUMw0zRjN/M7gz8TQrNGU0njTYNRM1TTWHNcI1/TY3NnI2rjbpNyQ3YDecN9c4FDhQOIw4yDkFOUI5fzm8Ofk6Njp0OrI67zstO2s7qjvoPCc8ZTykPOM9Ij1hPaE94D4gPmA+oD7gPyE/YT+iP+JAI0BkQKZA50EpQWpBrEHuQjBCckK1QvdDOkN9Q8BEA0RHRIpEzkUSRVVFmkXeRiJGZ0arRvBHNUd7R8BIBUhLSJFI10kdSWNJqUnwSjdKfUrESwxLU0uaS+JMKkxyTLpNAk1KTZNN3E4lTm5Ot08AT0lPk0/dUCdQcVC7UQZRUFGbUeZSMVJ8UsdTE1NfU6pT9lRCVI9U21UoVXVVwlYPVlxWqVb3V0RXklfgWC9YfVjLWRpZaVm4WgdaVlqmWvVbRVuVW+VcNVyGXNZdJ114XcleGl5sXr1fD19hX7NgBWBXYKpg/GFPYaJh9WJJYpxi8GNDY5dj62RAZJRk6WU9ZZJl52Y9ZpJm6Gc9Z5Nn6Wg/aJZo7GlDaZpp8WpIap9q92tPa6dr/2xXbK9tCG1gbbluEm5rbsRvHm94b9FwK3CGcOBxOnGVcfByS3KmcwFzXXO4dBR0cHTMdSh1hXXhdj52m3b4d1Z3s3gReG54zHkqeYl553pGeqV7BHtje8J8IXyBfOF9QX2hfgF+Yn7CfyN/hH/lgEeAqIEKgWuBzYIwgpKC9INXg7qEHYSAhOOFR4Wrhg6GcobXhzuHn4gEiGmIzokziZmJ/opkisqLMIuWi/yMY4zKjTGNmI3/jmaOzo82j56QBpBukNaRP5GokhGSepLjk02TtpQglIqU9JVflcmWNJaflwqXdZfgmEyYuJkkmZCZ/JpomtWbQpuvnByciZz3nWSd0p5Anq6fHZ+Ln/qgaaDYoUehtqImopajBqN2o+akVqTHpTilqaYapoum/adup+CoUqjEqTepqaocqo+rAqt1q+msXKzQrUStuK4trqGvFq+LsACwdbDqsWCx1rJLssKzOLOutCW0nLUTtYq2AbZ5tvC3aLfguFm40blKucK6O7q1uy67p7whvJu9Fb2Pvgq+hL7/v3q/9cBwwOzBZ8Hjwl/C28NYw9TEUcTOxUvFyMZGxsPHQce/yD3IvMk6ybnKOMq3yzbLtsw1zLXNNc21zjbOts83z7jQOdC60TzRvtI/0sHTRNPG1EnUy9VO1dHWVdbY11zX4Nhk2OjZbNnx2nba+9uA3AXcit0Q3ZbeHN6i3ynfr+A24L3hROHM4lPi2+Nj4+vkc+T85YTmDeaW5x/nqegy6LzpRunQ6lvq5etw6/vshu0R7ZzuKO6070DvzPBY8OXxcvH/8ozzGfOn9DT0wvVQ9d72bfb794r4Gfio+Tj5x/pX+uf7d/wH/Jj9Kf26/kv+3P9t////7gAOQWRvYmUAZMAAAAAB/9sAhAABAQEBAQEBAQEBAQEBAQEBAQEBAQEBAQEBAQEBAQEBAQEBAQEBAQEBAQEBAgICAgICAgICAgIDAwMDAwMDAwMDAQEBAQEBAQIBAQICAgECAgMDAwMDAwMDAwMDAwMDAwMDAwMDAwMDAwMDAwMDAwMDAwMDAwMDAwMDAwMDAwMDAwP/wAARCAFyAlgDAREAAhEBAxEB/8QBogAAAAYCAwEAAAAAAAAAAAAABwgGBQQJAwoCAQALAQAABgMBAQEAAAAAAAAAAAAGBQQDBwIIAQkACgsQAAIBAwQBAwMCAwMDAgYJdQECAwQRBRIGIQcTIgAIMRRBMiMVCVFCFmEkMxdScYEYYpElQ6Gx8CY0cgoZwdE1J+FTNoLxkqJEVHNFRjdHYyhVVlcassLS4vJkg3SThGWjs8PT4yk4ZvN1Kjk6SElKWFlaZ2hpanZ3eHl6hYaHiImKlJWWl5iZmqSlpqeoqaq0tba3uLm6xMXGx8jJytTV1tfY2drk5ebn6Onq9PX29/j5+hEAAgEDAgQEAwUEBAQGBgVtAQIDEQQhEgUxBgAiE0FRBzJhFHEIQoEjkRVSoWIWMwmxJMHRQ3LwF+GCNCWSUxhjRPGisiY1GVQ2RWQnCnODk0Z0wtLi8lVldVY3hIWjs8PT4/MpGpSktMTU5PSVpbXF1eX1KEdXZjh2hpamtsbW5vZnd4eXp7fH1+f3SFhoeIiYqLjI2Oj4OUlZaXmJmam5ydnp+So6SlpqeoqaqrrK2ur6/9oADAMBAAIRAxEAPwDaBhjsVDaibfQctxfSC2nkEH/Xt756I6MMliwIoSPPPHPWQLaUbSxwPTqUielWP1F7gaAW02sLEC3Bsb8c+3QprqjZgvp5VHTZlXh/k6kGMqCALhj/AGQLK1xzcn0ab2tzz/h72kdCdOpQVz9v+Y9JJjRMDJx1kCWCkAH0hbAFNXJ03uSLFgTf8n8e3FidY6VDL6dUd0DBv6P86ddlVQAuOdOq2nUDf8WsBcGw5H+8e3u742BEtPy6cQqiajwPUeRT+VZQSL8WIKi3p4ugW/I49uVkAGoKPOv+x1UV8Wv4s/LqDUXCgDSbltYC6rc+kFrrYEn+v19uUIo/FD5f5f8AVx6s8rxkIDgivSbr00g6wLlPqLFWuDwTe/Frm9/aiBAZO0YJ/KlM1Pr1soyr3EkknhnPWqr81zJU/MP5DnVoMXYjU0RjZfTDBtjbqq4Q3C2YmwHF/cq7Kpt9qSSE1jI7s+fAfmOjHbqSCOP1Zq+YwcdFrRia5VXQY1q7aGfUTcHUFFy5Cnn1cE/63s/gaV17z+pSlfX/AFDoxuNCTgsasDQgftz08UdjUwnUb+WMArzI0Xnj+iOP9V9Prb2xuQXwyXqQg/w+nWtrUG4M3EM1BnPHP2f5ujdO/ClrAho0UKqFf0EAOAFViPrx/X3EyaZpiZPj1n7KVxnodOVjUHSDWgFfL7Orxv5SskUfT/azSFpDL2uYU9KkxrFtTEgLx+mO7lje3Jv9fZ1YyLGzK1aE0Ap1FvO/6l8q4HaM8QD1avFExsSf27qSgUfk/T+jgj88/wCPsyhctUn4a/t6BjDUhfitQD5Z+XU9yviQFXvC44/2pwQjOQNIAH0/w9mKkNpVSSMeXDoteIqKtSlcU/y9LOgFoFBFykaobgAMSLnV+kc8ezq3+AntZf5dIzmtBg9OAlaN7LGWIW1/0lSx0/XkAD8fge3RPVgCKEef+r9vTQDggfhP8upKaxG5fTckFfoSCD6bj+2f9jz72C7RlnyT/q/b0oCqi6R8I4dTaZCJFJe0aI12K3Ooj03Nzp5PN/rx7oiMWBHkOtB6YHp07xrKy+pA5F2C+mwUiwW/1JP1P+Pt9yWDEUr9vTWTk5r1lpVUTNa4VRIGVQSJHIBZx6TpUGw4/I4/PukepWLDOKdWLKiHVU9TUiDAE6iebLqAIQc6GNif+IA+vt4ReImtiKmtP9nrRFBnh04UcUY81QVtKhjiQ3UDxy6mkBHNyRGOfZhaRxpbSvWklQPyp0xIX8ZFUYIPU8XBuZAV9TL+BpvwDc8cm1/bBr58enTQilKHA67VlkGo3UH/AGwAPNze4v7oyA5/F15gUwOPXOLVqZSLA+m9xe30tf8AxB91RgrZrnqklKBhx49NG9NzUmydk7v3pkSkWN2dtLcW6a+SU2jWk29h6zL1Du68rGsNGdVubezC3tpJZNJc6aHH2CtPz4U9ei12oxVeNcemegx+L/deM+Sfx26c75xH2aUnaewcBvB6SldpoMfWZOkV8liQzWkSfF16yU8iOA6SxlWAYEe06wh4k1uwbNaDganH7Kft6s9Ubw2xQ8eh5hBF1sACSfzcf0BBvcj8/wBPbwDIKqQT1VzVgfKnWR1uCPzf6Dgi/wBAG/B96lGNKVp/l8+qrx68i6QF4Aub/m9z+b/n3qNlVNTAVHAenz62TU166JswH4H0vyRe3Iv+P8Pb3iaZFV9RBGDT/Ca9ep21+fWQSi7KQDpA1W/xv/t7D6/09vifU4SoKU8uq6fPrlcG5v6fxb/efxx/h72xofl17/D1wJ/qDbkHn6j6A/4D21rikcAg+fW+uTErYgAi1rfm/wBfx+PbowKr5DrXHrizaRpuTq+n+vewA/pz9fbDSyL2Gmrj8utgVPXSuDxzcDkEcWH1sPp/re24nLt4bg6eNetkEcevAG4HAFyRzY88n/Yj24YwQDH8PVQKCnXE/S9+T+leRbnn/WJ9+ePStR16pUZof8vp1hDkFtUfAJKk31X/ACDYm9v8PbAkdCQAKkjPVzGCQ1RT/B0HncmYymC6q7AzOFx0mSyuN2tlKmhx8ehnqZUhsyBJJIUayFiVZ0DAEFhe/so5nup7Tlq9u4QPq44CVIz/AKvWvS7a4UuNyggfKPKAfsPQN/FHsbPdl7F3PnctXLmIF3lUU2JzYo6ehkr6c4rG1E9JPT0VqSI4ieU04VRqjVAjlnUsQT7Xbvum88uy3O6ENIZuxjxK+n5eXR9zXttnt27Jb23wiMVHof8ALUZ/n0aRJTHHwwL6j9QfUb+q4+vA9ycCqxg+fn9vy6C7oXk7cA9QWa7Hkckm1ze9z9Tb+nvxZCpFckft6XKgVQAOA6jyIwNtS8KSLcxkMeAbHg/429lzhhUL8J+fTysCK0P+XpvraVKqmeLhygjqSqAX/wAmljmA5tqKBD7XwQI4AHHQa/bTpiaQhKse0OP2dQZJQdSi7CxB1G/jBubspHPA/P8At/ZNIzU0fgyOnACrUXzPn0mmbSrRyWOljo+jFr8lkJPAF7H2XMkaIyZ0K38j0uj1cT59RCTrbQo55DD6Lf8AB5vwP959+QVJqKoeHqB1bz64EKVAY6fWyn6G9uT9RYqR9R7uFiwx9f8AB1r9vUOoAVJDGAjX1FUIvwtrAEDix+n9fdmo3wGgH7K16oSRk+XTNeYsVf8ARdCW1EnVYlYz9QFv/j/r+2IWmBq/w1p/PqjMkhLPlsU/1fMdRZdck7g6ha/0PJ4GptQGkhbn+ntx1Gomh006ZirqoSNJp0k8pSpGHkWVpDJeOMgfpALcahflyCAxAPsouohCwnauBwGePRvbSSAaVwuOH59ME8xeLRZZHUAL6zweODpJ+o/rxf6+y6aRGQKDRgoOf8H29LoiFcGlc+nTFVmSQBR4xpI/2p2AcWVh9GFrj/X/AMPYduG1sZI8Z6XI9GLH18h/qp1p4b5F+zeyogNSQ733vEb8EFdw1q6izg2iU2tb3oPGyMtP0dWD5gkf4PXPU1bEVexjKntCEUPmfn/h6R+5yRtmN2N2/iNib31ExHSQXJIbSRYAXtbg+zHYY2O7MI2bwzFk/OvCv29Obuyi1QMG0eKOHDh/q+zoFcijRQU8d0LCeuUixGgCuXRqCgAgBrab6iRx7k62/TcpKAZTjGcep6B9zG4tlFu9AGav59cC6ieHV5I0VFDAkEldbrqB0klXbgE8j8+6KlzNIwbMat2jgPt6pUrIjjCaTX1GP8vV6v8AKQl17A7rjKlTFvfZ7RJoDWSTaa6lU6tSKxW9vyfcfc2tS4TtAfIqfOnp0g3EhZQDw0gketP83VxFMFGltKgsOLltSgHUCbHSpFr8+wj2n+1AA8hXPSIuD8BJH+rh1L8d+T9AoLAH62HAH11E3/wN/bLa/QhOva8UPHqQkKNxpa/1WwI0arsdVgdTX/J4/HupbUKU7yf29U/wdekjCi3puPoVFytgbMwFh6vda6Vow86fz6c1gChr1EdLm9gq2C3sWF11HSf7QUDm39T7ZZAxxqJBH+r7OtrKyMGWtPP59QXUs3pBDcjTzouQLFrHTccG459vlEQgqoLYqfXquscMV8uoxQ3uxC6A1lAFmI/tEWOtb/7z9b+2yNQDsKGvTwZlFVpT0+3z6gTRCwKrpXULE2sFvza4uQT+LW9+qHBMda04+R62go/dnPTZPFoPpBVbWvYk34JcA2Ujk8fT2kkVlFSfspx4dKjoA7OHn0yzw8AgD1XZQFWzsG5AsQCTf6f7z73o8QLnUy8fn15WVlq/wnh/q/n01TxnU2kKeOG02Kgf1t6WB/wNv9f3WarTLpBOk5+fVVAatAtPI/l/qp03TREAoBqt6QG4WxsxPJLFgP8Ab+3jGwZjli3An09OrhAE0sQ9Bw8vtPTPUxWUFAAQGubEuB6hqLX5DN9RY/T3Uu2jw9RVh59eZmEdHAatPsHRkIYzcs1ilwSfoAf9UvN2sP62FvbESCVRj9Mnh5+fRQKk1qepgS3pKXW2q5P+03t/jqUfnj3eOZg/gKOHD/Z60CaVHp1l5sotovblhwoK2PAFnHPtU9KDPn0mMjuKmlPs/n+fWRUbggc2I/TfVwfV/gwbgcX97EZdlKGhB/aOmxUijU65eP0suoL6rBySTYixW7eq/wDvd+PdqPqPCn+rj6dKYlVk0tTBx/q/1V6iSRlmIciymyFgRwbm7cEsCR+T78FDYbif9X5dNqzOzSxiijH5evUWUXUFje+oEj+gtZQCLkav8OPbpBRQh8uH/F9WGlwDLSpx+XSUyCcEE/Uya/SLixUkarXYfWwFrfQ8e60lUBuD0yAeNevF5dYDD4TkdapPzKDS/Ln5FOC+n/Stkk1Rka9UWDwQVbg3ZXKjUn4/r7mHYwH2xbaunSor/Ig19ejzafCVFdxU6iAM+v8Aq/y9FwRCa92UJGn3L8CxUFXNyAfqNQP1+vP+Hs+jVlYFsRgV48T8x09Lb1vGnqAWJ4/P5dOdE4+6jsyWaaJGUkqzj7uIazYAaAeRb+lhx7SbnchwuQHAyKYp5HpZZ25UsiaRwJoa9G5qJAESxFvMgGqxICowcqOFtcfi5t7i15YRK4JpLrIx5+n2DoVu0jwIinFB/Lq9H+UwqHpXseR2/X25WgvZiAYttYNLEtYhVDWsLi/sxsRolKyGqgcfn8vl1GHN2uW+A89I/wBnq2CCKMCKRTqdZCPH6iNKhjc3twRbn2cxKHcMPX8ugdIWqEfGOpvgM0kckWsJJGIpAGKiyn0sCeAeP9h7VtHpNVPEjh/g6LXd2oPL/VnpWQRnwLGkhWVLiMhSQCBexYf1tax4P49nKKCoCCgAHSSh9MjqTH5Rp8jOvr0NpupZmXhm0g8e9/qfioP+K62fTqeAQVUPYNwykAtwOLEEDSSefz7f7kQedet4Ap8unWm8rMyOqqpRgpF9AK3JuQTqB/B+pI9ugsQQ2K9M9OkJj4bRay3XRcFl4UtpH0P4t7ukMajz1N8/9VOq4UHjSnUqJ0eUCOwe58gsRqUk+n6geoc349uqoEoApw8/8/y6tUNUrgV6mRND5PGTcgFnI40ljewtwDYc8+7xrErOh7mGevedfLqNT1RWuSlclYpqeqqFW5GoQSRIrD/kGU/m3vUTBopNVQPL8utE0KkUyePp05oV+oFxckWIPpJuDq+tgOfafxDhgRo6eIx1zjlN2BIItwDYHix+lrfn3YTF30j4T5eY68yCgPn1MKrpLkNcaQo+ga5AP+Hp+v8Are3SAq6gaMKfn0m1MCFHDz+XRd/mTiNwbk+Hvyp27tRr7jy/x07moMCqqJHly1R19nlo6dE1IWlnlIReQdTCxFr+zGwd5HMQPcykKfShDf4AekjoNYZwQNQ/Z/k6r8/kEZ3sLcv8sDo7dPY9NlaTcW6tw9l5ymps4mQTKrg6nemSjxhqly8UGTRlihNjOgkYWJ1X1G902k6BTX4r+nonz+2nl05cKjzavwhFz889XORu0YYMxYBjct+r6X444F/p7S6mzq+zpO6hqFes6kOLgEAte3+Nvyfx/X2picFdNaN5V6aNVPHrs2YqObajcn/AH8X4Nz+PbSoryVfqpqGAHDrGzEE3Gq3FyOQT9D9De1vdZZWjbQPKtPzHTmACRj168ocEm97kgWAv/rk/m/usMckbhjksOA9OvEg8P9Xy65SSBLLezEk2+hOn6m5+gF/aiaQoukjuIrT1/wBXn1pVLHHp1wE4a+lbnk2+oKj/AIqPdGlGoClAvDqzRsCB5/PrLcMoJFvytyeTza9h/wAi90BZxV6ipwPXqhFDTrFeQ6r/AKAePpc/W9v6/wC9e6AM1aHGft6uunT2/EeuuVIY/gg88cf0C+2Y8MVzT59ex8Pr/n6y/rI5I4BP5+n4t9AP9v7WJMGyoovDqlCDTHXbEXI+ptYX+gP9f8Pb0lAlFIp17y9esBlIbTcA30+oEfX6H+pX/W9o2aj04L06qKyaxWnSX3xlKbD7L3jlquGGanxm18/kKiGpv9vLDSYqqnannssjGOXRYhVYkHgE8ey7fJ7K32q5mvNJjW3eoamRThnj/qp07bRSvPGsWJC4AI41rg9BL8fczjMnsapiwuFw2AwOJ3DW0eCotu0NRSYZ8XV0GMyiVdMZaGhWqeor6yoaWZU9b8sdRPsF+3m62+78uLNb2r2sEc5CgqVVlphlrnJr5enRxutrLBflJ5PFmKKak1I+R+Y4cehwZi0isrDi4uPob/Xj/X9j4d0nrjpEoAQgjqG6AMJLeu5A5OkDVzbm/wBT/sfbUqK1ONSfLp9WqNPlTrp5EX0sVNrgHUbJYXYE/wBL/n37xVjJjNKDz9cf4etUPHh1CepWlNRM12BpZIrN9PJIviSzfQatf493t5vCuWZcpoPSadPFSgNGGadMs72QoS2oelmsdIWxB5A1Wt9b39lzMDX16VBGDANSgA+3pOykagLKVXnULfg2JA+oIv7K5HJqGAFT/g6V04AcOuMboBa9tJaRuCAVbgWFiRY+7RS6jk/qV691FmMhAkUEJe6qxKm1+bAgkEj6e7NpIH8A/wBX/FfLqv8Ag6gyp6mBYjUSw5JYr9SCL3U/8T7pH2Owbhj+Z/ycemnJBx1hkDhRdWMRQlr+l/xZjf8AoPp+falzroPLpvjx6Y6molgZ/wBt5eP1KCRZhwBwDa3J/p7ZuHZB21I6djj15B7uk5VMNAuoMgdiyWuFDKDw36QxJPspmlqC9O7o1tI1UgtliR9nSerKbW4caolaWxCDSJAoPpOnVb+lvz7KLm2jbTLU6jSvz6UeJIkh8OmPl0kqp2p5btqYNIqLYaiqXGkNaznSfZBdBI5f0yct/qr0Z1EgGBpIz/q+3rT53+dPavZkRB0r2Dv6NySWvbcFfJZubWT8/wBB9PbyiGg1khXcY8gacT+XUubMT9BFQHVoz/q/n0l9yyW2zTWUs/3segG1kYU8tlfUoDa1HLXueP6ezXYCI91qD2KrA+hz/h6Mt0dmsULClHGf9Xy/1U6BvKvqpYJL2/ynIGJUtdAZ4HHkuD6OODb8+5Gt1kNy7OSo0ig8qev29BKRQbCh7V8Vsj/V5ceo7hi0btZSIkc6XswUSErpsALOSef9j7dH6Qcux7jQHpmXw5ZU1cAM04H/AGerz/5Q7GTY/eCMNA/vjslh6mN/Jtd9JQn1AuE+pv8AT3GXNCs10sjtqYLg/wCx0i3YKZEMYIiMVKeZ/wCK6uTgUBEQAkkspBAsqqbqLmxGpSbfWwA9hVxgk/EeH+x0RTO6oI0NFA/y+vThGNK6/wChAvoFrkC1gCTYA2JI5I9+/UVNBpX7OPTiOGAqRk9SwOQFUhiLE31awT9B9AlwP6+/S+HhUHf59XLKGoeH+rHWMk2B41LqvcCxsfSf6Ekm30uPbRQKStcjqiMSpJNSD8vXrA4SxuDYc3BJvexIsbkaB9fdaGhYDt6sDQUYivUR0AGvnSSraiwtpPAezHixP+v/AIe/EEqT5AjqoVQ2qpr9vUN0LC1hq50j6LpvfSPxYkXH/G/dO5nC0Okj9lPL8+nUbUPI16hSrYKNRH01M5BI4Bv6bm4/w/p70oHFAFAHDq4BI0P8YPTVKuqw/JJ+tiwYXufVcDgXH9Pz7a8ISCkddZ419enfGbQQPhpTplnj9ABBIBuw5vrOqx+ps8dv9b+vvTuIasoANc/s62QPAXJDE/5OmiSEm9wSXLAB2II9Q9TMb24/H596EoIB4hj+zq8bOxCHh/PqBMnBAvZmNg4LAaVPpP50n8c+7yBqjTQY/b09pWlNVB+3/V9nTdNGSSSupwoBHBa1mFrfpF15/wBh7TeNqXuUBuA/4rq1Krnh6VpXowUakDSLv9Bw1/8ABTewUqb8WNwPd43HhIVJZloMf6uA6ITcNx044Z6lRqxbxnULm4JX6AH6Nze5/r7pMHCmSo8SvEf5OmNboAo4V/4uvUtFswBHGq9+Lm99VyT+T/tz7WKAwUyj9Slfz62Kgafw/wCrHWQILG91VubNqutreo+o3JJ9vBqDTih692/hwvXFk1NYei12HNzaxKsG+np02/HB9tOviHSBQKQft/1fPrVCTw7a8eo8gN3P1uNK/QkWP5UixLC/9fbzqIzQ8evBxEp40P7M9RKpbKBpa5F7g3ULwQeP9q/r9PewUaQaPTIP+fqlFYhlIIr0lq/UW9LEs72JYWCAj0sq8+kj/Y+9xIdVaahnH+rz6WxOgaqltZqBx8/t61Mfl87TfLb5EMI3DHtrcUbm1mQU1DjI0ZTqHqst7/Qg2/HuXdoA/dUYStWpn18/Poz2sEFBQ0qw/nmn+boudPK7TtKg1n7+Qte9wAZQht9EUkW/x+v09nauiPojB1EefD/N0sn0y3a0bCnh6f7PTtimM1WgNzeohuYmDFCaqEGM8EaAxNza59s7lGzQ/CDUeXEdKtsbVM6kUAOf9X+odG3qeWjUWLeeEEqTa0SFnLAfhgLkgcce4reKBJTKunVE2fnX/DxzToXhlehX4qfyOOr2v5UDFuh+wGT/AHZ25mSTYkkLgcGoH0tdib/X2sgacoa0oRX9ny6i/mzQm6IRViyU+z1r1anA7qySMxZbWF+FBF9AvewFgT/r/wCPtfCz1DM2laft9f8AZ6C00YfIpr9PX/J06UtUAp0yFl1Eg/RC1rqFJsLBTf6ezOKYUBrVKj+XSG6twCStNWmvn+zpb0rxGFNJ4ZFTUdQLWsQ9gbk39nyspAYefRHqoxU8PLpwjkJR1V9VibgryjFbBdXGoAH2rV1EWgaSeOePDragqTkEdTqc2OuQBgqkngLdSBYAi4uT/t/e1YHub0NB9nToyM8adSlKEDgvApGuNbq0ZJHqLWuVb8+71quoV6aKlRnj05wMhV2QEKDyCBZdP1VSfUQf6f1/PvasDWnkK/7HXmfUaAEEevn1NQiVXJ4KlV1C1rWuANJ08jgA+3VVJ2oCQf8AV646ozFULeQ6yIgD3RfXpUMSeVfm63PpYkfS/H9Pe3gkjRihANPt6qsgc0FaU8+sbxsclQu1v28XkInUAGxlnpdJDc2JCH/Y+9NQWxJ4igNfn1TK3KPXFP8AN07IoBFvT6Rf8/j63v8AQH/D20iqFoy/5eljMSM8esyKqpqvaxYsxt9QbWH4A/3x9uLFECJ2JqBw/wAn2dNliW0+XWaRhZP1M2kFtQAUgfp0/i/+t7s5DaSMimP83TUamrE0C16T25MLQbr21uDamVpIq7E7rw2V2zlsfPxDV4vP0M+JyNNOFvqSSkqnBFxf6Ej6+3bFZJriNEwS1KU4VwT/AD6rc6VjLPwFP29Ap8Qviv1x8Jfj9178YeqWzVVsjq+iyNDiMhuOvfKbhysmaytbnq7IZiudmaareryDIpvZYURQOPZtutqsF+RGaD7PXjQDHlTGOkduTJEW4Zz+Xp+39vRmwpGkF7ktp/tfSzXBJ/Nhz7LdDKNJbietjANAeHy/1HrKrJGHj18hgeCbiwFhyPqffq+GxX0PTZDOakZp1mDK/qUEhTe3+Jvf/Y+1EQrRxkg8OqlWGG64MSqksVREYXZ3jjUX+nrkZQTz/X2phhuJ0d1A7cEkgDI8qkdUMqg92Dw/lx66SeCVS0VRTSaSR6KuncKbfS6yEcH6g+3UspyrPCUZhx704/711WRvDbS4INPMEVHyr69cHmptLPLPTDSGY3q6caQq+q5Mn9B7ZuLJgGlk8PtU/jWuM/xdajkq3bUsTgcePD/Y6DGburpqjaSKq7a6ypnhdklSbfG2YmikjJUxyq2SGmRGFiDYg+wHJzpyrFLSS+tQRUH9Rceo4+X7OhxF7fc+XEYlh2TdmiYYItJyDXOD4fDqM3yB6KVljPdHVQc3ZVO/9rXIHBsP4mbgH8/T26ef+UCgC7hagip/tF/z/wCDp3/Wz9xOP7h3jT/zyXH/AFr6U2D7G683XFPJt3f2ys/HTMqVb4XdWByCUrOT41nNLXyCJm08arX/AB7Pdk3HaeYUeXbb22dUOf1E/wArD/N0U7hypzVsrKm47XuFu7/CJLeZK09NSCv5dOx3Jts5KjwybjwMuZyCzS0OJizOOnydZDTJqqJqehiqHqpYKdbF3C6UuLkXHtXefT2JVZ7iBppW0oqyIzN+SsTTHGlOi7937rHA15NaXCWimhdo3CKfQsVC1+Ven+Mi2k2N72bm1gPxfni/uykL2tw9ekL1J1eQ66dyihdXNuAACWsSbG9tJt727qpIOeqxxk5FOOeokhL6ubM3BLEf4EW08DhfaYjVgfz4dKVoBRgdI6KF2Xk63evf+K6xqaSbJbJ2x1lV7x3Lj/JpxNdV5zIfwjHw5yJGimq/OyqlLFqK8SsRxxAnMG28wc/e9O2cp2jsOVtrtUnvKE0bU1QGpxGAoB9TUdDXbhZ7RyfPu8gX963Fx4cXDCqDrpX/AAjo1kdO1BNUYt6l6hIHEtOpghpoqakqC7U9DRU9OscUdLQwosa2H45ub+8m+ZYYre4itYgqQrHRVUAKBXgAMf5OgRZVMRlJLSlsk+vz+3rP49AAU6TfUCSSALm/1/IH+29h0Kq8PPpZr1Gp4dRzIDKdfCj0iwvc3ubgc3Nvx7osyltOenghWPt+I9QptBkYA3Vv7Dcgva1wCfTe/wDsfbLL4kmT2eXVWrjVw6TedaWLEyRWJIrMZZT9FD5KmDgGxAUKffov0qk1NT/I9MynSmniSf8AUepk66GKH6L5CD9XXUTyQv1tfkD2kYaak5TpToGoN50HSXnt5GC6ZGWzA2b/ABvf+hNvzwfZXMSzGgFAOlYNc9QHkmYyegBfH5C4/QWH9hACbi3+8+2dRGQOtYP2dYiXePTIoUrcghvp/Uk3Fvr9PagdykOaE8OqlgvHrn41YozR6QAtze4N14Jtb+otb/evalY8UbI6ak4g+VOuEitq4LEggMByAyfQvwW0G3+3HtwCmAMDpomnHpslBk8l20xte8lwCwBHH1Jufp/X2ye0Upx68sgLUzT+XSMrIiJ5QiNqDvdlIKhbnmx45PH9fZHcCjmMU1V6O7dh4ajyI/l0maozxkOXZUjva3KkW5uGPJH0vxb2U3iTqmo10fb/AIelcUkSMVj4Ejh5npPtEGkScx6gJUUgjUt9Yu+km97D/W/p7KFgSQ62NCfWuelRalQFJJ4EdaePZSiLtrtZA7h/9JG/R6SGspztczX+rKdJsVH4N/x7VtFA9FFTQ1/ydTFsMkh2yOYYHh0Ip/g+fy6RG6prbdo1uoV8lCoAdr/8BJQqkkEWjuVBuPr7W7BGX3V9IooQ/tpx/wBXHox3CYDa18Qhm8bANf4f83QS5Zy1G4OlG+9rEUXBYBpaduB+l1NiBY2PscozyNpcmqLSgPH5/wCfoKtIrWh1LnUeHyAx1hckizlC5jUAC6glHJVBz9SeLfXmw9mCxukKrOPw1NP83r0wSHj8SPOOH+r+fV5H8oBmfanevk1A/wB5dgupb0qFbbNStmJBKlCthfnnke4y5mYPcrLEf0/SnSHdyWdTXuCY4Y9c+fV0MKFgD6btcKoHDNY8D/XAv/h7CcJeVi74ocCvl8v9VOiCZqSaaV+f+r06nKluSLHTcC3AHKsmq4ALn6W+nt5iwckCor1Qiirp4Gues4jYlTZRa4IB4F/ppNiWI+v049+0GVyzCi9Vp5/Lrm0Q4OnUeCBpH0P1JH0K39+mAACIAa+dPn1sDUpLcRT8/LqOyNpYBR9dSgKoGokjULk2Or6e6tbvXTFWh+ePtp1Vsd3mB1DZSSEZdIF+SAw1Mbm5HBB/21/bejw1oOH7OnERpDor5dRWRkDC3BLC4Hpa41KW1H0m/wBfelVgfEShx04jtAdB+GgOOoTR6vT+RY2IBseVN7fW1vp/Q+2wtV1DIPT0U5L1xqHz/Ly8vTpuki+p0qFNvVq45tyWI1WN/e3VtNf+L6fU0rT16bZolN7rcDm4NtNhwAD+SbfXg8e2PDUrSnefPq4qCCMN/q49NU0Zs3o0Cw+tgtgPq/P5t/X2w+pNSolcVHp1oBQ3eTT16ZKhBpsNTkf2VsCQQCq/0JDC3+t72H0ijVJI9Kfl0sLxiojyR5dN80VxpIZjYKQGtb6kAt9f9Yg+2HUuxGApBqerS6mAIFTj/UPs6MHFHZVCgg2A/JKhiBpsvFgAbn8e1EI0BeymckHiP9Xr0HO9wBxpTPy/wf5eswU3VmB0seeLEL6uAttTfm/5/wBf28EWrMANLcOtNqPHjQfs8setOpK/W/p5uoBHF1BF7/i68f197qOHmPXrwFAPTrMQCqliDcg3BK/7E3H1BNgfyOPb6oC1R8FP2db8sdcJEuPVa7MwCsDZvoL3v9FPFifekISpOT15SfmB1gl1BrfUfrN/ofSLW5I+vH192Ch6yEgjqrEEZyCeHUKdDa17EhhYfUi34/pc8f6w90kDjSun7fX5HpsMVbIoPTjnpLZBLlQVYDVfVqN10iylVXh1I9uxgLCrgkaRTNan59WVtCFOL+voetR75YzmX5U/JF2D+juHeB9AMgGmOiBZuDZwI73I/tH3Lu1I0m2RCRSCEBXhmn2fLo+2yZ1EaNWhJ+ytcH1z8sdAFBLasfX6bV05YJyqt4mVSw/BU/TVccn2fQuskVQQT6eY6XOqwznUtGrn0J/z/Z05YkN97HpZgZKimVSoRzJ/lMRKhwBdWvc/W39fabcZWjhEYyW6f252R2cjgf8AL0bKqY+SFQNDeYAjgsLxtysaGzOzLb8Aj3FcVvFLduaAqpPE/PoWPqLI2T1e3/KfaQdA7zaO2p+3tw6VcltUaYjCKy/gu1wTYfjj3aHXDIxTiG/LPpTy6jbmYf7sgx816tMEkc7A6x4og2iGQOpLKoJUXCqSGH0P19q9RlkCgERqagHz+zoM0k8Ms1A4/wAH+r16lxNpjUBdA4tGW5FzZ+f7HqP+sfZnCAi6VHnw6ROGkUk5P+r+XS+o28cEEf6yEIP6fRcA8C/pCjn88/T2JYSscSg5wOiF1oSGHeOps9ToVI0v5FOqRw3DKP0x8Gxc35P59uNNGOwDu4k9aUU+Kv8Axf8Am6z09QzRhvUAg1Kl2VNJH6ATdvTySPx7q0pCFgCSOH2dOro0549PlHK0qhCjAOwC8H9X4IPBZbfkn2tt3Z4gQCCfLppq/wC16kRpJGXaLlkU3jDatdzYyAaQGF/x9fe9D5Na19OPVdJLaeBPA0/1DpyhqiyTQygwsR6RoCr6CL3C3Gp+QT9R7vFMxDVFW/1ceruuk0AqepMUqOjFGVVht42Fze39km5DNY/T629uvISta00+v+rPTegK1aZPXdHkY3eamkt5JV+6DLYaY6ZhEyqQur1PKP8AAW96iuoZbZ6gli/+DHWjEwnV/wAAB/M+dfz6dFeIknlio4H9RfgNfgkH8e6AjitTTp4GuBx/1cOuWt5Sym8YHP4ZWDLa4+ljx9fbcjGU0QUAx9tTWvWhReAz1lld40VlDOQP6cgcLqsP+I9qCWRFLGgXH2daXSSa8OpNDeor6fTYJGJHYX5LIBYj06Vtfn/bez7l2Mz36S40qpJ9f+L6L78+HAF4sx/l8/s69VFRla5VuPVHckjWzeMG4bg35sP6D25zG4TdNNc0HVLAEwkioFaGvA/PrPGwFwrA8k6TcnWAbg3Js1vZFU8S9R6dKXWpBYf8V1ykuFUg6QSCST9L8/n6+9vrIqOPHqselmPmRj9nXBalkDCMqHX/AFV9JAF7D8G/tmOVgtFI1Z6u0KtRnB0/Lj1R/wDzy9wZfHdFdW01HkMhSU83alJWTDHVtZQtJLBgMqiCSaimgeVIxKSFYkarH6j3jB95Ld95s7TborSeeO3aVi4R2StEPHSRUf5aHy66W/3YfK/L+/8AutvbbzZ2t2bfYyYxcRRzKrNMoLBJVYBqYrTFetZGm3ruem1pS7j3LThjdhTbjzsQcnli4ir1BLn63F/eKce+7uialu71FzX9eUV/Y/Hrt3L7fclSEPLs+0MwH4rG1NPsrF1wfeW42R1bcu4NLnRIrbkzmi8v6vIGyPAOofUnVf2zNve9CSn1V4wNa/rS+f8At+P29bT2+5KQgpsu0jzFLG08vSkP/FdLTaXS2696df7439htt7hq6LZ0uD8UOP2ZuLLUm4VylfPS5mSkzVBRT0EbbYhRaitDsfFC+ptIufaaK2kuLaW5SpVSMlasTXuAPDtArnjwGegtzD7j8lcoc6bTyJuEljFdbnHMamWCL6fw1XwVeI0P+MsxSKgGRXh0DjGgiB1JTKAEdyRGqxo/qTUWNwp+o/r712O3hALQCtacfsp+XDy49SstkHwsY8wBpGacfL/iupsFa1H5mopJqQS6Vk+0qJ6fy2a6F/tpIvKFZrjVe17j25b313ahorZ3R8/A7L8/wkYH+x0iuNj2y80i9traUrw1xRvT1prU0+dOrX/5Nlc9X828RLVVU01QvXe74o56ieepnaMyY1npo5Z5JZFiZ1DMoNjbm9vcp+zF3cz+49gt5NM5Cue52apOmlNROKE9YCf3jexbXt/3abiawtLaF/3vaiscUaEA66/Aq8adbfqOdH6gf6c3tYjj+nH199CyGZAWZfXH2/4evnokSr+dPs/1f6uHWHyOdQCOxUi5JHN78cjlT7qxNKIan16eWNVpUinXFnW1yApH9bmwH4Fr8+/D4e7hTqwQ6qZIPSbp9r0C1+Zz6o75LdEuCx9WZAhRMftpKuemhp2EfkSCSaZ5HBYgyNew9iDk/aLK2kvN8iUC9u5EVjQA6YgaCtOHdX7R0n3O6ZxHYsT4MWogV83IJ/wDpX5hBE8NWqDySAwu4HOlLyRqx44Gprfmx9r+cIVURXdK0xX7fL/L0ztjFmaJiNJz0yGpaw16mLcEqoHFyeRzcAi3sDfUkGnFejfw1HDrE9nLFtQUqGBA5P0JP1+pH4Hu2rxBWnHpwYFB1heVFjVmvpuSAPU+r6FtIPNweCPp7phK8BnqjkFj1DqpKNEkevZPtftjGS19JqXIFGPqBq+506fzf2tt3ijkaWapiKMB9tMdJpUdtJj41FfWlemiXyLFJqJeRj6yfW6sSupbC1lXnj6geyZqiNtQxnHS0Ur3YH+r86fz6ZbAS6S2kEG4H6SbfUG34J4v7QxyIZCSKAg46UU0464yIhWyfVWsJLAFSLMQD/qbG/4/p73oV4Qi4ap/4vrx6jlEdjrsUAP1X8k8n6c21Xt7vCwL6Hyo/wBWfn1QjUaeVOspiVVYn0r+qME8hbABueefwPZiIQo1OQF/nk9JpDgjOBj149QpC6D0r9LBmH0559dub2P+tf3R1eLHAHrQGoVOemyoRWbStwVcuLkKS1r6wbctz7SyLRz6mh6aBowA4dIuop5DLMxdtBb9Qu3k0k2st7aTbnkWPsnljPiVPHo2tTwGOA6Y6xLRopjuA1rkgehrck3JSxH+Jt7Lr2gUKwNP9VelRQuRSgYUpSvGh6ZJIoVWNSbXlj0sAGBu/Ksxbj+nspeOOOLtP6bHj6H8/PowhV6KA/fiox6dac3aEMkPc/baDUGXsnfRIkAs6/xytYN5eGNub/0HH09oIhNG7GNaLX8R8+po2ZGXbYmU4KVp0He6vVhMWPQf9yauunQkZD0k4jcFbglX4t9Tb/H2IdgZ23IrJRTorTzOfX5+nVt2DGyjmX4PE/ydBVVKJIivjDBK2tkdbXWwjp2ZSpKGxcg+xtEYln10JYDy8vt/1Z6D7EvG0aEChP5YFa9cDGA8ZEV5I1USWAssbMdNgq8kMRcctx7WSSxyDWtWII4f5ek0uuMKkIweH+fq8j+TydW2+/UIsF3DsFvGzAiwwVcoGqxuRotyLj+nHuOObAyXQAAC+QHH8+k+6EKVp8Og1r/Pq62nWypbTZn+oY/1vqFuefoOPYT1tpMlAreVOPRFJoCBVppH8v8AY6nJGSP0Kbgsmoi9+SQPwLge3GEviUFKGh/LqmnsD/6uPUlUsDYBSLKFjHqT1Am5sRz9L/T/AB9qSO46KUI6br5HruSPkupKlRYi/BP9bKNVgb3v/X20yqVqDTy/aersCaSKa0/z9R5Y/p6So03uxKyLq1G1gACoN/dQjKQkVDQdUZDTu4HqFLE4CkBlawBZQBa9yQ/0AVrc/wCH09tGPWC5NR6dX7lIIqD1DZLWJAa5t+o6XA/1BPPH/Ee25F0CgX8+tN8+osq3DKpuBpFwCGWwOlwvHBPHPtIyyOpjQ0r+VPs6VxrHxWmig/Z/q/2emydApN1AUM3HGosAFseCAgBBBHt0SYzk9WE0mvTpp6H/AA9N00YAJH6QLt6Dfm5CksdRv9SfbTsS4AApTpwMwFeI6aqiFQL6iAwt+m6kkcXFvrc/7D8+9qRxGB1fUNJI4efnT/V6dNMsB1IbXZAL2a4AsSW+huOP9uR7QgN4xBqQOB8uPSqIIihqAYrX/Y8/8nTZJCoDm2nTxa4VgCOAb2BNuSvB96iUBTIDWJicE9PBtElPMjHp/wAV0PMa6VFgB9LEsBa9yfUSbkWsPpYe1I1AaExFpwa5HQYUEL3iq44H/D8+pKi3quWJt6ib3XknURwdN+T+PbkKyuxXiAONfTpwkeGrqBx8/X/iupIVRbT6bFrf2hY/XkAEF/8AY2+vtRGhchpPL5ceqgUx1IAX0gXuthyoAJK6iAPpYKb83I9vU1VNO0caeeOvdcSqkccX0gMDfUR+Tc34/H+HtvQuHqNHp5/Z149RWQ24NiAwIsCoH9om9ubHni/u5QMnigEIDw/wdUVBqBr59QZ04U2P+0i4IC/2l1C7Ag/n26wIoxA4Y68yaz8+k3XJd4jpCksBY2V21SAMwIsCFA4HFz7b7CVWoqD/AKq9a8NQCTWnWn58paqST5SfIzQ8axt3XvcPIJNMo8NdDq1BfSyem1rf0P149y5taFNqjmjPeFHE9CHaxC9uuoUkUnj554/t6AuldVr5lZTGpqKoIVuR6y5KgchSFT8f1/x9nBLDS8KdzDu8ulE/jC57wShB/wBX5efT/jbCpVSAn+WUWk3tYGpp1uL8/Xni3+9+y/dCHHhKSZQpyPI/PpftgEyP26QG4+XHP7ejS1srrUspGtTIwZVYA6ywVWQaQ2oE3HIF/cYtA8EjTE0jdsj/ADfLoVAS+Lqr2Af6v9Xn1ff/ACooLdD7mdtAWTt3d8rFjZSIqPCwaiRp0uzD6X4FvqPam18NZzESwhHmfPzz1GvNUha8DqBqCjHlT06tHkli13QiQIlmBW6i31sQNIsPz7XOkRmURtUJn/Y6CiF5E0yjT65x8v2efXNDUSOjL6EkiS6qql2Un02tchi1v9t7WxI0hBTzPTD6YXAatCOlvTwnxxhixZdKMTfyAaBbXYi5P04sL+xBGiqunVWnRATU1ANPn05oIxFF6Tdn0BmP6QPp6gD6T+CfbhRQnYKHqnWWnEiyX0swsxBsCL6iC9rcmw/2Pv0TSGusUpw630/0kykt9QxYBQf7I/tsT9L6vx7WxsxaoqcH/B1umsEHhTqWE0Sx6pPUl7Pq1LYixuW4UXNrfm/t0IQ+oNQdXA0rngOsrNAnCGR9ZIIjUlVeSymxYlVLDj3TXpYgfDXprxe6o6lALoEaDgWICuVAI9Nv8NPvchBTq+rU4xQDqJTUcozEE4iYQiiqaR5BwuuaeGVEPGjWVjJH+HPvccGqAlMDVx+fp+fTcshEigDBH5DpUROjXVHUSBzdgptxYLcMfUx/P4/p7uxrVFPcf2fn1sCrV4/6s9S1kjIOn1EMbtwYz+GW45Olh9Pr/j7ccqoolNeP9X59WIYnPCn+r+XXUhEpVDbQCPTyL6fVdQTckN/j9PbbSK4CvUHz60FAqTk9OeFjH3cr2tpp/wCvN5ZFFz9FJIQ/7H2N+U7ceK8qfCAB9nHz6Kt0dWVAMnj1Dy6CPMM+oK0sUDq2gEtZSj6T9VY6R/reyrmyJjuavwUoOnttNYCAOB/1fs6yakT1lxpII0kjkm1tXF+Px+fZBTHz6UnWw0qO6v8Aqp1mDPJGxYKSDwpIH6f0/X6j26GYxgkHIx00yhGAX/L1ihcFiGAcfqIIABuRzYHjj6e2YTV9RWrVz07IpC1FR9nVLP8APJpMJL8ZtpVVTU1UOdpu3NsLg4IYUemqKWfC5tcotZKWBijjjUMhUEtIAv0uRj195OHZpeWbaaRn/e63QESgdmgg6yx+XkOujn91xdbunv5uNvbIr7TJy/Mbgk9yUdTEVHnWTDeg61zNj9SxTddQd4bneso+vdp9hYbG9jNkMVnkw9F19VwrUybmjrNu0mR3PXUlVVU9RQyPjaSpeCZQoGu4GGMMMdxLb2LOPqZrhQqsaKVPnUd9KgrUAUqMjrsV7ge7lvsXMl57ebUFl5tm2Ge5sRGyNK18gcJblJB4IIUJKA5JdSewjjZj8bfjhsvuns3fSNldhV/U3UG8+xdl7V3xsPY2H632Pmtu752Vt5eu9r4Ct7G/vSe1c/gYq/J12ay1bWrksdlxT6YxTyIoGG4bftc10NwsTDFtEcK2+rUlHmOtXkq64JqTperp2sHYMD1zg9wffX3c9quVLWz5xk3OT3C5kjtNyeCaaWSa1W3nkEisls0fgRSaI1jSLRFModWQ0I6DPdfyS318FDlfg3gMzvDsDblRUZX+K9r4KlxOJxXWlJ2mVoocdgdtZnbTZrs+r2XjtGVzNb5Ugf7grQDjSC+426zis0t7DeITKEc6QJDHUojmtEBqSSqgGgYEBgo8RhHByoPvQbvL96afaLawstqWAXFnJKfFuX25TJI9fEKQo40rEh0kqO/Wa0GDt/4U4Hoj477f3JtXe0G+uxuqds9hb7r8htjb+zt4ZesqtyYES4LP4jqXcu3oMtuPHYrNrSz1lFnap4sbjWqpQHOhR602eBLyKO1ube4S11SGhWjR4qpDKGOAAS4qoqQtcEHxfe75490Oft02DbrGXa9t5nNpY2qtNLE9sYjRaTrIYtbDV3QKhlcoHJUYJflOhdud15/eWT6lzm297QdYdL4zNdj5TqLr/cXX+E3N3PWYjHZBcNtraW6shk8OlXmqjJ+SSkwNZU0dPDE5AgcNGqPd7baxu0k+2si2F1E0kKIcr3FViIbJyKURVqqkqgrTrLnkb3s5u9q+UrDl/wB4lu15muuZDZ27XzrK67amDPJLCoYhAtBJcFiWdQ8hWh6E/wDk5mak+cm0aeUFZf7qb0pKlQxIR4oIxIlwf7E0RX+lx7Gfs5I0fuJt5oBIXcfl2/5vs6Y/vIWjm+69eSx5jO52TKaeR1kH8wQetx5gEjNrcc/0sSo4P1499FZQWFBin+r7OvnLTMhrxP8Ag6jGQqLX5c2It6f9YD88e2FdUrkE+nSgJX50/b1hklUglluQdXAJJ+ihbjj/AFz78ZW8PuHcRw6cRTjTXPT9SRaZMfGw5ho5ahxYW8lQyoLn6cKGA9yjtUK2+2QJTv0An5k5z9vQauXLzs54VPWXLxa8fKwIJjZZgWFxdTZv9jY+6cxxC62x1alEGofl07Zvoukbj5dJWOTShNgXAc3PGkn9IIAAvc8G3uLkCUJAqp4fs6EMh9OFOo2ouzCxLIqsWB5UHggWNuPzx9PbLSah2GlP8HXg44/i+XUOWUi/IVrcgEfRTwBa4sf6+6hgRqbP/FdaqHGo9MO5qeeuws1JSo8sy1eNqAkYu7LSZOkqpTxawjhiZifyAfd0R5KqhoQCfX7eqmgpUgAn8z9nXcksoDSIUCGRw50rYA3XUdViwA/PtirhKNgdKk7yQeAHTdoiLGW7MoFhfiz/ANpiDe454v8Aj2yYlClitW6dx1i1Kj3jJJKMvIDEBjYmx4F2HB/p7ZJWNjTj1rgcdYGs1gzn66ltYah9CwT/AGkX/wB7+vvUTUfSc/8AF9VLaRXz6zS2YAAkjSLFjp1gDVdCbk/4/TkezMMKUY9MSkFDXBp1imCtFqeS3I0/kjj6kKLkn83PHtQxjKAVJanTS6tIZeGOm2oifV9BdkshYcI5vbVyL6rc/wCt7RzQkzK54gf4eqjJqfXpG1NMI5ZAZWuGYltL+gH66gTpLc8W49krxv4pStfnT/UOjOCRWQLTur/q/b0xV13iRY0BAJDWc62ABA+nABP59llwI3YF+A/1fz9el6KcPXh/s9J6oEYCao/FqkjUpIdd3Dga7OfTq/oPqB7JroQaaP2oc08ulID6/FwXrken/Fft604u3nEPc3bsTMNX+kvfCuUBQyM+arnQqTZlBUFT/X/D2nHhtEIVp4eqpJOT6Dj1NGzp4e3RB2IYrQfsr/q9eg83GY5MHQAISUqqCX1N6RpWcc6dJQIp+tjq4v7NdljE+6CTUKeHn1GaDpRuDabFVapJYU/z9BjVpGsRZSATX1NwwJ0FqeFlkVBcqrrcWtbSfciiI6+K0UZrjH/F9B6U6bclvhLHh9g6iGQroswW/jv9CoTyAF1BAf0gfXnj6+2WREDPGCBQnr0ZIC+bU6vH/k4MsuG7/iUDWct17IRYAqf4TlQCwIBawUf43+p9gXmejSI4P69M9FG8yrrRAvFCOI416u6polspIuwAHoRueeSysbkMSPYWIUcR+qBnojUE4ABPlU9TkiIPIZirKDc2UC7WVFsACP8AA/T3dYdaeIT2n/VT7OtSqydrYIzT06kxKLkCwADC11YkgkaQLjVpvex/p78qFTXj9nTamp4dcmRtCkegAfU2L82BJF1Fjfi4IB9tSh1IApk56sraQUIyf8/UaQC4DXS3DjVrIA4/HqAJB/4j3r+yjLKO8nPVtWs6fMefy6hyIQpDMP7JJBF1U3/pchbkC/PtOg1NpJNCf2fPpwqVU6qGtKeZA6iOhYMGF9LW0WC/Vb/WwOq54tYe3mE39kvcCBny6Z7eAr4lR9lM8eocnF1YLbTpNtJHP1uwvq/ppP8AvftK8axnVigoD9vTiyFKj8PTZKqsp1FV+oNyeAFtYKFsNI+gv7ZdVX4SSBwx0vjDGNT9vTbKnJI1D0AleAWUBdWlTbSwH1P5H09tnuNB8NOvBiw4cOm97gNo1cg/rJFxxyQDyP8AY396alat5Dq6HQhVuBz+fTXPFdQzEEq62DcaQBwZCtgFY/8AG/bdNYIQ5/w/6vXqwWsZlPkaU/zdNMqH9ShSw1NZ+LiwNgxJs7KPx/sfbAJjj1SgVU/6qdWjVy1Ae6hNfl6dDnGrOTc34JW3JsosiKOABo4t+fapIyq0IwOihlqPEY0r5cRTzx1JBX1WsDbm4Km9gORq4Ita309qoi9ApwjA062jRhNLKSfWv+TrnENNravUAAxuPVydTAars7H/AG3uyagArcAf8nVCCKfM9StIAsB9Rdwo9QDAkrwNOhGB44v7UClQCCV+XXjw68wJQE3spK3C2OkgGyEABWJt7aiWRZvE0VX/AGOm1BQUbqK68MbaD+B9bDgF9BH/ABP493mOomgIzUf5uqsxrVfh6jVK/wBoaQTqLX4NvoBY8XYH/W97ZWAErZx9g+zqhk0kcc9JmshDvEvqGqWNQQRcASqAp5sL/Xj/AF/evCVjQ4Ykfl16pBDngf8AV+zrTV+TEkUnyc+R+nS3n7r7GZ2bnSwzTI9mA/WQgXnhTx+Pcw7d4UdnGi0YBc48/X7OhNtqsYUVc+IxJzwof8nQS0o8VbYxOpepqVAYkyftiaRpGDEAci3HHs0ieWmjinGvn9nSmUhbutSVI/Kv+Q9POGImyECrqLNVUb6l0lRpq4QVYMCF4PAP+NvZdeyeGSQg8ahBr5j16WbevY2utWfh+fRpch/wIkRXBAnkOghfTqlQtwrfm5IPNjwfcd6JZFpqpmuRWufy6EsrSxSgRL+nQA/6j8+tgX+VVTLL8bszIPSr9q74XXfhhEuJjVvUf3ZOObe9RrqkKuRUAZ9eo25rYtuMYYBaLwr1Z5HCqQKsYdyykekgMfwQS31UX+v19rI4EKaACWrx4UHQYeqzqxxBT7QT5mn7KeXTpEFo44w4DM6qAeQ/9LM1rNY8E8ezZI/BjUV7vXoulYeKzMSVqKH9vSqoUVlFrRkkMwjAdiWFtVybBCOAbfX2bRQxutXxgf4Oitvixw6mWKKdKswdiISHFzblhyQfxxce7MqoNRqR+3gOtdZ1LMFaPWpV7tcgG/IsbE8H+nvQdiPMn/JTqwVjkdOlHIPUCuklrcE3UfnyW5Y3+gFuPauKTSoPmerKrA8BnpxMgYrpIKgi4W5LPfjUWteyi/H1+nt4uCDxqevDJIX4yeHWaJw6lG9LXOkkBChF21AEkMV/xseT+be6hge0npt0zpIo3n1JhUsreYafXqfT+m7CysCTcC4/r7srL8T14Y6o1GGfT7OuRr3WqjoQQInoZqwxlgD5Y6haYNGTY38UhFvp7dMx+mZBw1dUGlpgSe4A/b05U5CmMMNaqHBHCEEgXFwSGIbjji/ttWrQGpPVxUVp06QyQBWPAOkMVa9xYXc8AAgCxPtUuhRqpTr1TWlcdYZ61I78qUQauTZrXBGm4/Or/Y+04kCimK1r1YjVgGhPHp/21IamOtqirDVLFEqsRcqiE3JX0g+v8fn3JHKCVsXfgGbol3PR4iqvxBcjrHnwsddQysQPLE8LXIN1STVZSQwH67m319lvOMaLNBL+Hh09thJVxXNa9QJJPUFX8NpOoXFwLgfg3PsFuTE2keg6NUXFT59cI5fUoc2/KsPr6ibjQAQWFvx7qsrV0/h8vl1t0P4RX1/1f5OpCyoHCi41XB/s3B+lxwbi/wDtvdxNHE3hEkMT+3pto2Kk46ox/nt1Kp011NSLq/yjfhqil/Q5psfUxcte1wZuL/g+8XfvNGLw9s06hV2BHkaqT/q+fXUH+6sUH3U5gZqaxstK0zQyr0mf5bHV2x878I9w5LN4OHcuR3NNkocdi89JmIMPWV0FfNDisUuN3LTj+E46uzoSWplokqcPUzKKiOW7SRiAofbzYdw5Zm3/AHFhFvlNFmxc6WcmqqF8iW+PiK+VMdEX31Pc7mLavvVXKbJPNbHavBVihAZaRLVwyKp/s6BSe8LQElqnokvzl+LG+vi1gMTlvj5mNsbZ2NkdyZDraNG2xgsx3LT7vz9FDmNwrszK5aXK0mV2vM9PNSzGgxVJkcdT05jnkkpjE6FX0SWG1g31tDdNb3kkbaiKlzGpqANLPhSKoQRgEGoPU5/d+575B+9Bzrc3HvgblucrPZvqIZQ4jsEsoHKnWzK3gygOCfEfTK5JWjdvQ/bT6S3vuxviz2D2NV7R2R2l1Ltasp8Vt/H0+6sjQQVcGPbMR1AZK6vxsSpX3rgjyvBM87wxkoiRiItyut5s782+yQTpt/jNTBIC8RpIBApk4NGOBjHQJu/cDYeRLLnT2z5Ea4veSd/uiBMxVMA6alSAQuiiGtCFUVNTXoomwuo/lJv35e7/AOp9053r7ZFNuqt3R2Eu2tw7H2TvHANs/GePI1dB0hFuiimzf97M5imhkrBBXl6d53lqgI08fuUdglgFnNJa20UEsdo5lLr3uxAY9rFw3cRRVCEgd51BupR5p2z7tvIv3fNq90Nrh3DcuZ7G6giikt5dEsG4EsNd0Av6UKUbQ7U8Sg8P4hS7fbvxq6v2H0buXq7b+0qCgwy4eLPbQkklaryEFRkcZU10eRytVjoqbI124Ys7U1MUppPNUNTtph8d0YPcq8oRbjGx3iORrmS38W3dWLFVH8XqQTQ0oacCAAOud3P3vfzvzz7gWvPW+3jy7jHdxB1NRETG6qqxKSdKFQDSp7u5tRqTSR/KcEOL/mC7coEjanjWl7Cx8VPJj5cO8YgWVET+EzVmQqMYIxGVFPJUTvCoCu7MCSMvaRVi9xdvUZpI6+vDH+T+XXXL7+11NuX3Nl3KWhmlfa5GNa0MkdTmgBNTmgArWmKdbiY1NG/LFtIC3FrkWBJJNtVvpf6++h7sSxb+XXzy4UrTK1z6/wCr16isVuDq0kC1jaxIvf6/QH6Hi/tMJG1UoNQ6UCtKcesBLzTRQgFDNNEoOm+pC41G1rLpW97+3rNWurtLcj4269IViiZ2+FQellEp+4qpLAIiQwJa2pgi6y1/xYvYe5jiCKKDIUAfsHQV/wAHWSpTzQSx/wCrhccn82sODYWv7YuF8SNkphkOPy68jUYMcAEHoL4ahlcoykrdtZDMLMvH14uG+g/x9w46mGd7c8ATnoUk61VhkEdcw1ldSCFfUpJuSqrf6sDwTfn3RFINKZofz61QDI67jjVwoXUWuvq0EEc39RICqB+CPr7ejgDIa0qD14ADI6ZM3WzYjF1GQgsJA1JS3Ykl0r62noJiLeoftzkj+nu8Li2LSVq+lhSlePTcoZo6AefWeZYo9Xpb0MQdRL2Cf7SBxbT7RlSy6yDUV6e/FQHu6YpZAzsdQTi4JAVeWAFw1wrD/H8e2SRlWwOn31ih9a/5OuMkinxrGVYOPqtvwQT6uR6v8OPejQMAFr8/T/P04CCuPn108aytpiQK4APAa4JtdgV+qi3+t7UtEkzB4RgY9Ok5Ug5xw66kp0jTkFyNN+SNRuLEjULqCefz7cFuUXOW9Pz60wCjUePUTXJcq6kWGmw4DA/1JvYf8R7qA5koDQgcOvK6kEse7FP25r1EeRmdkZW1cldLf0/wP9Dxe/tkvqlBY93px6ZAqekrXmZ52Q3XSfGW0NZeCxN78i/FuR7LbpXeTHpnpbb6VNBQLjpPViyRRK2oKwbTyfrc3BIDGym3H9fZZLGEBMnwkft6MYZFYkLXj0lqoGSRU9JcSREkKLLrYFrXBF+eL/j2HJtXhsswBNcH5dGwCqcAUPH/AFfb1pwd0ejvPuGEEuR2lvVCAtl0jK1IZbte+pmuCLXJ496hTXGFajjiDw00Pwn59SztTgWUZfKlcGnyp0HO4NbYGLQDqabFEm2n0K06am5AAS36f7R9ruX7OSPdGdB3sDT9lT9nT29BnsIzH8QYAHhjoOKwt9vOAXQCre5NgVeSjhZgDJfWjWst/SB7kYKVbLDSFFfl6j59EcoC2ra6mMNT86DqN6VMYKswMV9DGyreUEAkqT+kfj6e6Noik0jUVLVOKjhw+w9eQqyrUEGmP5dXifyaQJKL5DKTe1X126gg8RmkzA0sL6QysOD/ALf2BuYzW5BiNSx9PLon3uNFKaiNdDX0I/ydXmQJwuq9pLhl/SSSgK6CL3UAfUD2HjGtTq49Ep0nCnuHU6ONgT5NRINm5J0qp5tz+L2uT72VIUHFD5dao5Yk1PUpIyQDxpIIFgCQt7ElTYoB+bm/vwj1fb/g692k0Fajrp4LLo5B4/oNQFm/JLaTfj+nuripDYoOtOtR6N/PqLKgIOm4P0DEfXkcfgMTfjkc/X3QoCukUFfz63TuHGuOorqFsQpYEkl9PI1KeRa5DH/Yj8e6sgjXUOFR1vxHYaTTR/PqDIg1ObEjg2vyQRckEnVx/h7aebu8Mgjh1UgE54dQJIjay8sFazNyvpJuQfpc/T2kU6dTSgcMdW8+m6ZFUmwu7lfTa9lXluTyGIXi30/r7ZCFh28OroxBoxOj06bp4yL6f7Sm5PBtew0g/QrcH+nupFMHj0vQ0Go8Cem6ZLfUtyBa5UKGBIubEAAn6+6SEYatD/q4deAIav4a9NUyWJVQAT6mLBg3FjoI51ccg+22VNWqMjWD6dOGnDy6gVEQAZrm9tDg3IOoX4F7Xv8AgW/3n3ST4TqpQfn174eB7qU4f5ehljQyAEBjwQeQtrMFKm/C2va/19upXUKZhpw+fl0VKMFfzr6U8vz6lpxbUPoxtIeGcX4DHlrWH+29qYQ7EmgFf5U8+qqTSpHUpBflLlVNypaxA54BFvrqPtzwxJESKeID5Y/b16qvWmF6zheP0tpAv9eVYg3Yf6tgOPrx7V8IwJAQKZI8/LrYFMH067ZAOLkgg/nggW5YfU8m49ts8hKpEcf6uPr005OCp8/9VOsDgk3+gBAVrWINj9T+dTAfgX9qEjLGrmv+X16SNIQT6jOeos6foAN7rqJNwQTyATydJI/w9+mUk6XoYfOnWnq5rU0/1cOk7Ml5oAQCDVQgoSRdfMnH5bg/n+nt1HSMB2UUHAHr0MplYgZiApnjXrS0+RN2+SXyDdUMjS929lMApH0O6K2MXC2JIAP5PA9yrtQptqtEAU0/n8x+3oT7TXQrk0IJA+f+ofz6DaCVf4hEEHq+5qXJY63IZqiMpqYgsGAH+HsxCututzcdqnAAxjyqOlTyEXFIgdda/b5Up5+vTxgH8lcv1Nq6B7BiCdVZTKum2kWv/t7e0W5tE0etlAYDz6XWMrMzFqkqBX0rWn5Y/b0Z+rd/vGJ+omcABAC15VYIrAEmMgckj6n3G6XOqMpFQSAkCv29C/QTKM4ND/k/LrYg/lZoKf4uVMvFp+1uxGYAEqGjq8agZSfoeAOOPp78QIUWRx3nj/sdRrzMpfeDqFCFA/1fI9WRRTFgAhfhiV4udIAHj/I1XJ5v/sPam3mcBhGpZyKg/LoNyQd9TXA4g06c7VMiKusaAPQhIvdyFZNdrjUB/rG3tahkeJQDRsVr6ef59I9CVfPw8OlpQiLxiOVNN0CoDYN6NJNm9VkB+g+pPsQROohDOcHA/LohlYtITQD5dSXJ1nxoBqCgNIoNgo5AFyFS5v8A1B593aViKKB03T9vWdDZHL/0A8eqzXP6SzC12t+fr7Z1EVLU1EfkMeXT6YUV6cISqJdhoKhTpBvwRxwpP4+vt2JQgMjHB/yenW9RUVXiPz6coZFICgLzckWu63Fr6bnSL/09q1kDDFCp6rpXSTwYg/Kn+HrJIVhIYv5FI4u1iTb1MwN/p+PeiATXzHTXccqcedc9SVkikQanXTqRmBDXuOAh5AFv9697MgppLfZ1XwGAJzk9drLTPWJB6jWJRvKkwICrTedUaMKVubyspDfSw9uf6FpAqdXTekBwUPDj1NjkZZWRVDORdrMFA1cEKp+psP8AH3QswwendFBj19eswqX0hV5kS7eo8BVBugcCzM4I4sfexIymhPXglBnpoeuazMV0epFVWJkZVBuVa/C8f4W9stMrsxbB9enUiUDUTx6EzaSFcPFISbz1E8t/wP3CigW402Xj3L/Kqadpjf8ACakfnx/wdB3ciWuiPRR+z/Uese51tFj5rhfHVsmorfT5Y2HF7m1x+OfaDmyJpLNZKfA+P9nre218U04lek0zuJFLt9TdbliGUALckXUEkf7f3GzkhuNT0epqABNNfUlW9PpsRoJYluVYn8k/hfxYc+9hsZGer6mOTTrpGLMhbm4Ugsw9VzYCx9XI+n+HtvPTlAFx1SR/PRoDN0j1Rknay0nYIpfT+phU46rck8ELpMYH+J94wfeecrBtIIJkZ3UgDiNJ66Zf3WU+n3b5ggUdzbJUflKvQHfyqe2uq9tfGDsTb2R7Qx1bndl5fN7o7J2MmKyVHuPrjb+Seeq2xuJGyWRqKPc2FrazGu619ClHSRTE0zBpwVeGNumji5Y/xuItCutlZV1OrR5NACBgUZuBVWFa1BLX94byVzKfvDjfI7CW22PcrS2SC6JrBcyLCqycFBjZSGBRi5JUmooaGF7L7i63zj7G7M7WbrDYOBwvYmPz2ys52piszi811z25mKil2LU1+ycniRk6hszns232sVIRG9VWyGmYDTUKoEjud+3y88Hl1mFpMzSulHVkCUaSUgaqrH4Yc1GCob8OMbOVbLmnYJrnYtjF1LuN5Z/SXMcAVhcWpcFoZAxUKGDaSdWQcnI6Jb8bNofGDLbI7dy/yb3P17unJ5jt/duU69xUI7Hpuw5dw5Hcm9KSbZfZm4qDJ1cb7Bh3VT0M0DY2mojTVBkgkklX0Nm77U8s+1O5e1VvLzHZWk29gSNIzCviMK6Q4AXgckjJJrWvWTXvfzl76bF7sbJt/txHcbZyzFsthbqI44WXQppJcxagRrlQ0GoMO3ga16X/AMSd/df020Ooto4zcPWdd31sLqqsFLWQUG4N87+2f19ubfG4NryVW3ctm6eHEpg96VEH28FUamGeobTHURoXjHvCneYd22fdJryzXTy+ZWgBSpQMCSUGApNDXBBAYYGroNfeJ2/mt+ct2t7yO9TljcJra5YFFihmmMIILBS1DFTSFIxpOSAD0NvyO+dXW+2/jH2jWPQS4zfedparYmycHkMRjlps5V5HANS7UxGPpayLMUk2PmwQq8jPJUQx46uSnqYVq0mTxAfcvcy2k22TXt1aSwzW6+GkrIdBWgVVUCurNGamMHNRTqI/af7v3NvuH7tbLy1t2qfaZ7pJ7mSOriCFH1yvIeCgAaeNe4dpHVT38om9L85Oo4IftY1jxu5YJFWNYYTD/BnBjooogI6dQxUxxgBVjGkfT3v2iZD7l7bM/F5nLV8yQTXyz59dcP7xCzis/uo39pajTbQ3liiL6KhZVB+xRSvrnrc+eazWBurvbleSwP5/oPfQeSQqwKnH+z1856RdtaUIH+Hrg36z5LMeSv1AX8/i/wBffuxW1vlqft6soov6ePXrnjQZskg0nTEry3udP0ChlH5F2sPZ5y/H41+JKU0ip+XSXcCUt+NCTQfP7fmOlbEAFYgfrdmsTf6nSB/rWA/HHuSVB8MseB4dB+nXZP7mmwuUIW/+vzx/r+6vXVjJp1v59BfVRmOtnjLkKkzgi1v7RZf8Qov9Pz7ibfUMO7SqK6DQ0+3o/t3Y26En8PUTyx30iR0Cglib6Wa5UqLm309lisoNTWvSsgClOB6mQyoSW8gZV0Kyr+q4uwvz9D9D7UBlr9g6qflx6acyaVMfI1ZE0tN5YCVX0KJXqokgcSEWASZ1b/Ye6hGlfUR+mBXP+D8+vHFAeI+fWSf1F9ThSpN20j16mtp0i/BYc+9n4M0AOMcOvAnXTHl/PpvFMpvJKEY29CBA3N7cixOoXFvp7TvCPOhz05IGGK9N8n7N1GlWZZARp5Vifpfm7X591ZQnb8unPEYD5065w/tgXB9WkN6iTpY3HF/UAPx+Pb0B0ZHGvVXJZatg8P5/6j1jnWUggMT+oLzYBeRccfk83/Hu+rS1WB0nh+3/AAdW06hoPr1FdSGTXp9dgQSebCwNyLlvp/r+7KzE9y/Yf9Xr0n0hqhM56bpGaN7j9uQEqhceoHn1MP0sQ3+wt7TFikur4W6qMGvSWr5ikkolDk8srL6Qwuw1qRdQC5P9OPZZcyPrNRgjj0Yw0FGXJ45/n0mK2V3gAEZVSx9Za7AW+jkE29kd++iIMPjHD/V5dKkSpJ1VOOHDpNza1ELRsRqlijYG+orruC9xY+r6fkX9kNwshWrE6yejdcxhVPdQdabfeT2737oDenT2jvNbAknWcpUBQCP6gckfQj2z4NzTsPh1Jx6+VT8/l1KeyzK+3RoQaAZ9eP8Am6Que1ttoaD6FqMVrYBjGwmkkIe6iyvGbEi3PPs82SUndkgiNCq0Lf4ejXcovEsVdMAMPtp5D7f8nQYVchejqANDj7yUAj9MriiiUAlQAI7G9v8AkXscwrG058QYpkHzNePQamkU2b+HQvU/tx/g64fURKwdZPtyfJ5NIazpYSWuAwvcW/Htexj7tRoOq6jpjLVqV4/kP8PV4P8AJjk8p+RVOblo364kPFhpeHNre/6mGock+wDvsTeMqxjTET5/6vPon3zudF8tPl9vV71PGEAUAkkpyqWILrzdiOHv/sP6eyqGIqGjb4f8P2dEviU7FJ0/P/P1NjjW5Cm5JBPJtyNIY3sfTp5+lzz7ZRI0ZldWLaseta9bMgyPM9SVAYhSosOC2gDUp+hdRazH8/1924zFdOlaGvrjrxJWnDH+rPXXitqK83N7qPoT+o+q5uLX44sPaZokPdQk+X7erVrnj1DkUMx+l9f0P9vghdKtYDi9+fdEqy1UZXB635fPqC6L9bgcW4Ler+zZTazDgj20SBRV+H5dVFEFDw6gSKebM1hJZfqCeLCwFhYX/wBj+PbQJD0+L19R14UJr5dRZo1NktdQbr6dQBPI5W+mzf7f21KwPl+3pwL2B68emqW9rcWIDXIJIC/r1G11DfS/+HtO1EHClOqgmhFKCvUOVCRZwbBfTZLEBlI4H5sre0batVcUPSqKVpI9J4Ljh01SBbm40lSBqUEsqlbgn6i9v9796kDIQuSOlKsh+OtPt6bahVPC3ub2YcsSCNWhvydP+H09tZyFAqF4/t6d7HNIQdR9fL/V59N0sYQ3e1gjf2QzEfj+voJtx9Rb3SMSEHXQOfQ/z6caEINT/D0KK5nEkIWr6QFeLGQkArZjyFvpb6f6w9nC7fuQx4Eq1Hpj/V+XQZ+tteHiLT7es6ZfFH1fxCmBABOkv+f7QKREsCBx/T29Ft+5j4IZNPzHWjfWi8ZFp9vUpcriB6f4hSngspHkOo341XiuCB+PaqLa90AIeBy9MY86dUF/aFyPEU4Ffl+2nWdcviwNIr4PrYEma17eokCK3N+R/h7umybwIu+B6k+nVJL2z85EC/b1l/i2K5Za+Nif7WmchGPBteAAhv6/7x7dTady8Qxm3kqF+KmB8h03HfWKg0kSn2/7HUf+KUL8JUQhy2kokdQ3pUjTpPg+ovc3559rY9i3X/fEhp50/wBnr37xsCNLyL1z8T1Y1U0NVUWBYmGlqnULq9RsIQLD+nt/+rW+uKLayUPy/wBnpP8AvmxqVMq0rT8ukrV19BDVU6TVHgk+8hSz09SbFaiPX9acglT/ALD3VuV96R9RtpGpjh1Vd321XYmVccT69aVHe9QlR8ie/KhJCacdxdmTI13sSu68kEYnSTq4BINv1fTj3IVoGtdtSJgUkVQDXyPn/q9ehts6meNOBgI1A/zp0HNG5NbA78eR5gNQLWcvI1rDXwTbj6fjj27IzR25H4z68OOKDozjh1TtwrUk5+Xl/m6UO3CTWwq6AtJX0+jn0jVXUp0CxOlSW+l/pz7QbpJRVWRe7wzU086fy6VWcSxa1JBYkAZ4n506NNUApUPcKWExjNmZhGPKrXd15T8j/W9xxIyiESr2yH8Prk06FAM6aUehwB+zj/sdbEX8rjj4qgEC79mdkOU4W98nRqblyCAtuD9bWt72HM9qtDWh/Yeot5gZZd1ZyOAA+fVj0AWFxCihdT3JDBwzFCQwJuNJ55+ntdD4cL+GoorEU/1enRBL4r1A+EKPz+XTikSuQwkKIpGrTcMVHGpbfqUH8cEn2tFsjDQRWpz0jeRyCr+g/wBjpS0AZiY1MriIA+s83NuFLWAYA3sOQPZrEqkiN6mIDoklw2quOlRFEZArn+yChJAMdmB9IXjU/B5P+x9r0RmpxFOH2U68lIzVs/7PXFoo2SwJd1OrVoALD+psSCoH15sfx7vIilakVpn9nl+3qrULVFaeVceXl1kiUlwblIlVQ7fS1/6E8hT/ALH21H3Aj8J4/wCx04khOZCT/PpxFO8UitExlJP0sNTf6lh/VFH4/Pt0weBUxZJ4VPDq2pA1AcdSYoZLMSoN3LgNYc/RlJPC344t7fCsE1GmeqM2o/LrsRuSwCWGksy/T6Ac/wC13P0/x9tYLUIx074n4WzX9nUGmn/3PrFwrNtycoWuAoGYgUEn8C55HtRF3IaGlcfn0xLh88COlJG4Qgag0iqxOlbKvBBGsi5sOQD9fftJAOvBHTWhtOKY/wBX+DqG0qrCGDRuGBB+pcOxNyigjTb8k+2tSBa0x06mCB59NMhdEk8Z1uwNibELcEfm1gCPqPaJNZDFRlqAfYen2OkEjobdvReHCYxB/wAqsZ4/Jca2P+vc/wCxPud9pQQ7ZDF6Io9KdA+4YNOxHAnqHukEYlpBwYZ4pLgaitjYt/hwfaHmSEy7W+cChFPXpVtrAXQBrkEdIqOWJlLSDUqsNWljckBTqJUGxuf9j/T3EpONbGlOj/qVqpkF1Q3kGkhTdyCSRY/gA8/1937VUD8+t6VINf8AV9nWeJ0RvUAWZdSfVrgW0+o35+vP590FM14nh1YK1MHB6pj/AJ40Qn+M+x6r6vS9nYcL6iCv3NHlFdh/Thfrc/T3jR95ePxNv2yQYKytnzrpPD59dJv7rmRovfTd7cnsfYZD/vLrx61mOnxh5d+0e283lpdu4vsZaXYs+4oKuooG21ueozNBmerd4vVQsPCNm9oY3F1etvTFG8rni98aOXL29+tNtGxExBCcaByOJFRgkLroa6Qc9dj/AH12Sw3TkGbeb6wh3BdmZb14XXWZrSLN/boADqaa1D6QfxRr9hPF8UsTunuLtfJdLd/72352J2Bt/MbeoNjdCby7Jg2VQbj3Ls/sDdW+Z9w7xqBh6ncG4qPYm98tXZijkRxNX1VfMPuGURoit9y5iuA1tFayzXRpCI4+0sxD6o2KlgSRI1VqK5yO6uDH3nbL259mOT9u9wfY/bNksod3+oM+5RwpcPFb3UMGkW6lx4bOqASU1PCVVSlWFOD9B9O9p1nyW75zmA+V3TO9+g959o4rdHXWM+QFVQYjdO6cPM/Y28tt7Tfbe38zDtTbc2RtmcfNQy1dXPkVFPUxUygyez6P3D5j5Kt05e+stg9wlUVCCkbsaOkjGONkKEMGJDqTU5Gl+sc+YNw5s3DcuU4b2y2Pczfbda/S3Bg0N4Ff0mnUs3jNkdrmPGQT8PSi35tzrfbfw16272wmE3v8Wt2bl2phF6Zy2Q7ymyO+exMJhN40mZosH2Pi8PFk8Jl5UysRzVLVTVdGUqRCCjtrQBbcYt52u9lSS3E/it4yzQlnjkVn1FgmhSuakdqEEDGBSXPbfnHeua/vES+03uUu075yyshF5BJZxxx2jxWzrH9LM7qy0VtLrH4upTpDeoOfID4qZjY3QfSvyC3D2xh+xt77toMnDvnB12/f7z7l2rQ7hz9XnNt02Go6qqmXGYSM5CV66jo7Qx108kqJpZrbvblr/aba6W7jl8RW1xK2Y+46ScUJNdJoSQSa1BqMm/u9e8ftzf8AvHzV7Nci7Eu07Pt7R/STxW4jS4EEeidZXFXNXGq3aTSCg0mjU6X38pGNpPnX1U1gdNBuuQarDSI8W4Yj+hu1x7EXtOZRz7tp4fqkZPlTqv8AeKLq+63uwA+G9tCf96frc15VyjAD1kBmNyL88D6/n30PDK0mls5x+3r5wxQqDxxWnXcpVEZtYAAsCb31HgC3JIv7dcqvb6cKdeBNcjqbt8GaWtqbhvTHDcfgqdTA8CzEH8cexdymjN4szChwAfl5joo3TiimvCv+yOlWoAVf6Af0ufr+CT+D7HyoTCfU16KfkesEnNRAAOdMrXNvwFH0/NyfadgdX2db8iOg5zarDkp9Wq8l5C1tYLKSCNFwTYHj3HnNsKR3cctO51p+z16OLAgwleOmn8x0xlpOXSM3STToNwGLNdbAk3A/P0+vsJedOjUFXUBh1ljJL6takkaGCW0iQDVZz9CwH+8e7aWL1qfLz6qQCMY6Yt1yCLb+Q5fT91iGI0l/T/G8cJF0E20H825A+nt5WZiasFwemnUkCldXTtKzCSQKQ4LyOQzgMFuwYKBfgH/iPbFaH1APW9LF6nOfy6wLIijl9LS6TpD3/SDcX/Td7e1AkUcAB081Gzw64EKzFyNfpF9RUGMA8c8f7H/H27XGONergArT0GesPhZSJPoE/SdXp1E3U6b+sD3URgnUx682nUNRofLqI5ndw2rUVHK2AQ/2gFF73uLfX6e6N4hlDKMU6qa1B+XXCSRuNS6SWXUba9I+t1FjwPoPb5JZBx114dNg6CS3TZVQI8vkOkixuzllMZPN/Vw5a/8Atz7YuIoz8XHpoEsK+XkekflEVZ5XMjiNgqrFpN1a9/IL8hAPpf2TXNSlQSP9X+Xpbb07fkf2dJSukYxlEa+ph62FgVAvdyCAOB+fr7JriMtARqoKfn0YBwJFH9LpluxRYyCQskLj1frQyA/Xj68/T6W9k5YmgkP6mKHyHzP5dGkja6LDkfi8qdaa3fgWP5B91GNyAvae7wVMd0UtlZ/yQp1HVzfn/be/GJAnbQpkk1xXzp1K20zaNtjkFAAoFPsAH+r16RGaJO2AGJjBmxzsUsCHDzKFZnPJv9TxcH8+3eXy0e7hiCLcjjT0yOjW/UPZq5+R/n/n6C6f10NvINIqvMyHSSqfw+F41jZAtgb3Nx7kBdQuAHqVK+nnU5P5dBqSr2PiClA5xWhxTgOohPm+2BICmNGLg3UgvGf2tVnIA+p/P09qAkkvxMr0P5ft6pHMVhTxF0gg/bX7P8vV3/8AJgr6WGs+RkM9THD/AJN1y6fcPHEJER89FqBkOp7MAPr9f9f2Gd6tbi4mVrZWbT+EDAP29FHME8MKw+MyqKHjj0/1V6vopaulI0/fUxViC2mqWXQLIQCpYcn/AB+nsq/dW6Ouvw5B54Ganj0HDNbKwWV1oc8R+XU4VVOqsxqIDe4J8sQvYnnVqA5Nufz/AE9upte6U1eBMwqfw5/w9aN7Zhv7RBUmmR1PTyFBIFn0MCWkWnlYFSRdUYIFHA+oJ/3n3s7Rulc20pNOOnPHgf8AUemZNwtIgayp+306jzVVPGSHqIULEXLVEcLLb9XDkHkfS/tC+27lE5V4JdR4dpx/k6dhu7U0fxE0n5+vUCStodTmOsoha2ovWU3+q+qkygaSLWP9fadrO8jQloXBGaU/b0oW4t2FVdafaOoctXR/U1dJcgMT97SADULXN5Tp+nAHA9pvpbvikT0p5L1Rru3BoGWtfXqJJUUpFhV0Si6Aaa2l1BhypP7xtf8AP+PtgRTfiR6jJweni4YCrCn2jqE8kDKQlTSgg3C/fU/1A5YEScH8E/T2zLG1NTI1DwNDx/Z1eFVbgyn/AGwHTfK8VtImpbA3YrWQP67ACxEnrVrkj8e0rRyOKmNmpxND/m6uVCUdiun0r1AkMBZgJIxpW/8AwIiOpieL6ZOQf6/7D2yYWLFgj/YQa9Ko5kNTXH5f5+mqYALe6X9LW8qMHve4sGI5H09pdMmexwR8j1dZEGKj9o/z9QZV5PNxwNKyR/4AC3OkD8m4v7bYSE6aN4YPmD/m6fjyuoMAgNDkZ+3PTdKG9dyABrv9G/12BHpvc/X2wxkjfRpJQj0P+brXjGQklgU+0cf29CNDtTD3UsMidJC853MelrEh7mvUEH/DhfYlXmLeHGJzpPnTH7P8HQdTZduwXRQepke1sUv0jyT+n02z2bBBJI+v31gf999Pbn9Yd5jAHj1P+Dqr7TYREBY10/l6Z/n59SE2th9JPjrTcC+rM5sggfkkZAA8n/Dj2rTfN4MWZ2Yj8qH7em/3RtzUISrU/wAnWddrYL9ZpqtyBcXzOaDD8qqXyAB4P+w9uxb/AL4qgPcMAQa5/l0jfZdsBP6Yr9nWT+6uDRTamqXB5N8tmjcH6Bh/ECOP8OePb8fMW8x18OVtBH+r59WTa7EpQpRfLPy/KvXNcHQQEeMVSFz9VymTLKLfqF6xgxsD9efbsHM3MEILNM1DwHCnTb7ZtioY3QdwpQn/AA9R6vGwMFDNXsLNb/crllQ34FwtagAW/I9qRzbzET23EgPp5/bXpuPY9rVj+iKnNBT/ACeWPz6T5w9BJV0QcVEhaupdROSytiXqI7IVarNitvqfaZ+auYODXL0OP9X+z1Ztn29zTw1pT/V9vWkd3O0b98d5CJ7K3cPZ0aghC8aLvPKoWaSV9RPo4Ni1hzc8+xrbSyfQiac69a1NfX1J+3qRNpRUtY4lFIwMAen+XpA0UrRVikHVzMymM2IaztqIZPIy2JBAAH9fayOf6kLIwHCn+r/P0pijZbtmLdlfz9cfZ9vT/tdicnjzo0eXKUwuvqUMldR3Dtq9Jk/SDpDAD2j3PVEGZqsrKQB5gU8iP8HSu1YaS0IGvXWvnTVQjPRrKp7Tzg3UCY2UEG/73qQADlVHJuVPuLZxRVuGBFDwP29CmOVtehyNVRThj5dbFH8rpmX4qYoMo/c7C7Me6KrjUM1BEPWpALHQP8OP9f2oMitTwhSE9RXzFRd0dcCvVkNLDIHEZjAHiIP0IAPpFuS9+ef8fay2TSUkbiOHnj59B2RmSNanT8uNenVGEKrGouLkyEgq2o8c/VmJIv8AX2doSCCvH59FYYywszcQceRI/wAlOlNGXQI8ZjC+khlTSv0Gm6uL8n2ZprpVKcB0WudWD5f6j0+l2ljUWsdMTsFFlYgXF2t+gKfp+fz7XFw0YCcQM/M06ajJIPmOocM0iTSoHOgcWX9OvghFNrkBb8fT2iF02ojOj0/w9KUUMueA6cKXRMD6nXVyqNcAlefofoQPoPr7fil8YEniD1RlVR28a9KNSxjUsUjXSbuR6bhf0nkm5tb8fWw9mcaa07jRgONOqliX0mlP8HXReSWLx/21LBVC2bx3uzklraNJ/p+PbMjH4TQAde4DSBgft6yMkixlndLaNRYki4t/qVYqUW/1ufxb202qmKV6utK9x6SaOF35GuoeMbHlZlUkhSdyQKz8c2I4/wAPdV1LgnrcoUvVf2fPpUzVCtICrFgFIUD0mzHSwJP+9f097eUAjUTU/wCDrcdKFSM/6v8AVx6xMB4iQFQEWCgDW3PLXf1EG3I/HupoU7KZ6cCKKn8WeoNYoCwxISrzSxoWX6Sh2UaWtyBpuPqPaiBNU8UaitXWv7ek8kjIhJ9Ps6H6jjENLTQ8AJBEhAAsLIvH1sL/AF9zZHqWIKx7acPP/iugiak/M9Ne4RrxdULX/aLAfXlfUSPr+B/hb2X7ipexl9NPSmzLLcIV46v9WOg1o2AhVkKuOSt+CAbkrJbSraPwePr7iQLqqoI/yY6EYLFiPn04iSQLH+2yWJHpCkqT9VKmzWIF+P6/n3WtV+fVzUcePU2nCBeUZTfSlyLkHgsb8rYm39fewqaatxr042QKUwOqdf528SyfFLAMpFqbtPatyTq0h4stZfp6dR/B4PvGz7yJK7RYNDUOJzT8weujH92LLo+8Heg8ZNguB+YKn+Q61P3LxyxzLDj6loZIqqKHK0EOWxVS1LLHOlPlMTVK1JlMdJJGBPSy/tzxFkbhveJNvMbW9S5RS7oQ2DSpGSSTw+yhHXfS7tIdx2+fbpzIsNxDJC5RijqsqNGxRx3I4VjpcZU0YcOrL9ufP3D989vdbZr5lb5zvRvSNN17kdp9z4nqKr3RszGbx7ZAmwm1tz0XZHXFfR9wYbrmSkmo6uhxNVWfw3a9YtUnhqInSojm7ZubrS93mOxiSSe2fv1NQSMQhpC57QqLQZUSLpACKoLI3Jrn/wC5NvXtT7Sb/unJyjfOcIt4in2+OYfURwbd4h8VzbSh4pLtyQrscyjSzsSino9sPXuzs/h9nZHorsrqo9X5DJUW4sC2wvkf1WOt+t8flewcftOs2zhMz9oMh/EKPaQyG4chuDM0uSym68rUywTTtNpiBFzd7cW26cybdLdWtsGmmeNPBlZIoaFQodiFkjCCpqQa5z5dYBWnMnuBbm+k5pTdv35AsdfHtXedtIIogCmMqDRURCFiGAAM9Ea+VHYfQ/RmMxu0fhh8j6va/wAihu2oqu/l6O39PuXqzc+MxlHlNv09Zk+vY6DL/Hjamfr8/TtkslgqLDtJTVNUW1ep7m27X917dWsFtYLFNcPVJJKExMlO1FZfDkYx6SoJJAUgCgUDrOD7pXt5zV94Ler7dffXZWfk2227w7GaaIRXqyNIKH6lh47kx1AZmJGccSa8ewe6+8e689Hle498UW4KegqY6zF7c2vsnanXuzcdkhj0xs+fpts7WoqWll3HX0YYT1LNoLSyFY01WEZ7putncQsu22q2xkkDSEHUWOARhUVVJ7iAlSclj10e9oPu2+2/sg1xecni4l3G6VlMtxI0sojLahGZHLOVXAFW+EUAA6sB/lEh6j51damlp3m+12/vKqnYWvT0kVBTpJUSBmF0SSVV4ubtwPYm9r2Qc8baXBP+MECh8yuPlgA/5eoR/vER4X3W928ZgFa/s1GaVYmSgH204f5utySYkM4QMJDru9ypAv8AVQSbW/3j30GljUuVJ7h5jH+r7OvnEQ1jr+EDh031AcxE6mkKaS9jqaw+rLc2ubc2/PuodqYp03SmR69KXa1zQ/kGollktf66iLAKeSURefclcrROu2JqFJJGJ/Z0Qbk4efTXKinCn5f8X0GfYfcs/WeSlbMYGSr2pRVWHjyGTopGesosZl3Sn/isVOYyKpMdUk+aEEOYxdCW9Jx19y/vIbj7Te60PKvMVjG/JEyQVuFJ8VPGJXXSmkqjDvGqoHDoXcv8lpzHs5ubCf8A3Z9+mMgUPh5IrxBIOMHh0usPvzbW4N3Z/bWOyTSZvaz46HI494fGywZXHx5WhrqabWYqqjr6SUFCDqOlhbi/ua9j91OT+Y+brvkzbrgHfLaKOXSceJHKCyPGfxAgedD8ug1cbDudrt0W6yofoJSyggj4lNCD5ihxwp8+om6Gf7sOnqCytGQg9Tl+QIyLsCLG/wDU+zbm6DVapNwKNn7PTqm2uusqDgqPTJ+35eXQL757k6w61p2m3vvPFYeZdJmoBK1dlwtiQHx9GZaiNlHJ1hQoF2sB7iq83iwsWAdxq8xx/wAFehPbbReXI1QRkLx1GtPs6LO/zz64r6xafYOyt67yxi1tTQyZ91xuKoXq6YFpxRQSs5eMwjUskssKH9P19kl5zXEhrYwvJGfM4Nfs6PrflK6La7yRVxwArT8+pk3yjo90UlXh6vaeR2dG0tJLJU7iyVDVwT0dHX01drhrsVVz0VHO5ptASYm6kkfj2wvNLSkQmLTqHlx/2D9vT8vKhUallJ86afLzp0YvA9hYLcJVvLBRtXz+KhJyWOr6WpeT1xxJUUlQzQs6t6S6hXPCsTx7ElruMEyASMA/2/6s9EVzts9sDIFrHw4H/L0u3gMbIZPSAeRY+m34QAcuOPzY+zIQUbjxNePRWXMhDY/1fLrK6BkVrNcBpH+g1XGkhrn6utv639q2BC1qC1T/AC68T5ilesUp/wAmLW9RKtH+oNpAOpzzYFALfQXH9fdW1U1Rip6q2ng1DX8+mqoq5UAEeoXCkcDSCxuQeLgkc39sSzMgHH8vt6uuotTy/wBX+r166V5WQs6fu88axaxvyhIuSLc/W3u8crCkjZZTj/Z6amqO38Pp031BDFA3KovpXUxkJ1ajfjSdV/8AePfpZBIfMU/Yemowo7ek/WAsWQrqXU3puPJc3sEcj0AH+l+Db2VXKS6/6BA9OlUZpnz8uk7XU0IjRiOSSpVradV7MHUiw5+l/aSaEImlvhI6e0s+K0NR+z1r59I+qlSOpWNmWSO8YS2ovCwe9l5Y6bf19hqVyjtG66kPAeh9ejsKIYy65dqAmtRXz602O/y/+zEdzMQyeTtTdpCyWbQRlJ5DGg4U6gBz9Pp9fadImMf6h7CSccB8vn1L+0xJ9HCq10aBX0r59ILLHVthUIOnyUsnqd2H+fkKMSCx9LKLX5/x59m+0apN0Xwh8Kn7OH7OjDc9Y29liy1RT7K/5B0FxkRaJ0csCtUhVdJs5agj9KRseQwWxNxb2MhK8VzS48xx+VP59B6NP8Wo1NYqcYH+r/D1gJI+29bx6EDHxqrEWdDoBkQ3UA/7f+lvZgHBVwi1QEH/AGektzGhdFqeOCPXy6u0/k1Rx1eb+Q+qWpBTE9esohneBkByWfQ3KgiU3vY30+w7ue77ptEhe1YBZAB6048K56D/ADHY2d8YzcgOQtK/n5dX2U1EgVStbk108WFbpZixuRcRsSBx+f8AD3WHm3e2jJ8UAjHwipPQVfYNsYgtHw+ZGPP9vr0pcXWZTGSpPQZGpiliYNEZEpp1S1rMoqKWZGZWNrEW59qYufOZYAESSNiTjsX/AFV+fTD8ubPO/iKrBQSKVIz8vl0uJezOwJoUgO5HiSwBkpMZh6eY2IAvJ9gy+n/AKD7Up7hcyNQK8eqvd2Lg16o3K+1n+MD7T+359JnLZrP5dQK/M1lQwc3Ip8TDK7hRYmRMeGJZfyeCPbE3uFzNNFhoSoanwD1+z169/Vjawo8MP4mMlifPJp0hqzDwzgvJW5LWeXCTUQHPA4/h503P4HHsluucd8nWrmOg49o/1U6Wry7tKAV1E+lTXif5dNEm34dI/wByOWbhTcyYy1xyeDjCSTfnix/x59oZebt6UBlMdB/QA/wD9nTy7Ft7EKqEGvqf9Q6bH2xStY/xHJ3CnUP9wzD6gg2fDFTZf8P6+00vNO5VDOI9Teij/L59Xj2Ox4d1AP4j02VG2qc8/wASyAC2IH2+3m0kC4BL4QqTY/Qf09p/607og00jKD+iufmetjZLA0oxFPmcj/Vw6apdqwte2SryLWGqh2yfz/T+BAAkj8+2DzjuSsBGkNT/AERn9g6tHsNmxNCwXhxIP+zXpqfakJ1BsnVsGt6hjNskBiliHJwNg62tfgf8SynNe5q7MyRH5FR/Kg6UfuK0oBWZlAPA1OR8z03PtOP1D+KVPJY6Gw21Tq1W/Bwf+P44t7q/OG4sRJGkINP4cfsp08nLVmy5aQH7TX8/y9OmubaKKGZcnIVudR/gm1CebC5U4MNpU/0+nuh5xvgo1Rw6gM9uK/s4de/qzbByVkk0/M/5umqXaKhX05OX+l3wO0wDpbUSoXDpZzwNQ+g/x9sf11vXSrw24WteH+x/g6ueW7U4Qyhjnj+3z8+jSoA4vqW9lHI0/wBb/T6qSOR/T2VRjSKDKsw/1fLqoyKk0yAepKhLMObfkkNYkcXVLkKDbkjj2qCqilWFT5fZ1v5+fUxBcL6SbeoqrXAufz9LA/7x9Peoyvg6WNKmv8utDHHqSoDCwu3qJ0LwV9Frc3FiOP8AH6e1EafxZU0p0y4DEtqFfz9OJ+XXA2H6TdFLXHpJuCAWSxBJsPxe/t9iWYaGAA8utgB1Behp+z+fWL6lrgg+pQACCQR9L3vcgfW3t4lnPcanpqaGMMWfJIp/q+Y6g1QFlsFBCkBbE+oXOpSx4Q3sPwfftZDU4EefVVSi1jFGpgmn7MdMsYDV9Cdak/xCjFxwLmph+tyBf82sf6+22JjWtKnHVwsjSUWleGcjh/q49aMncTefvDulkF3m7i7LCsDYOP785kEhWNlLKLA3BsP8fcp21wWsYoRGSzIBwx/qHQt2hg9shNA4UcPSnl8j0g6fyNVQ8WYJUR8OXKqwY2H0Gkq1gBc/7H2udIiNGmj4Bp8ulOh5JO74KYP+rPSk2cL5LEhgbpladhZxGWC5CkiFxc8AMefqbD8+0+71SIAghqGn7OnNvDFNLgltZAP59GzrzprJjZgFnKkIDcgSr9bXvYfS/PJ9xo8ZlUmV6qGqKf7PH8uhQ6qxq61ChR5V/Ov+r8+tjL+V+NPxL21OUZ0G9+yZCxuLhtyuAo4Gll0fq/H+t78ShkCxisNP9R6i7mQSDdDUgRmnrUjqyGNmXxSBQEeJtZ03lI1Ai7XA1G/1t+PZnbKw0yVC4/z+fQbuyygEAnhn09fz6ckQOEEZtrZQxZ9a3ve2m4Pqt9L39nEaowDKaEcSei+WuimeP2+R6V0MYQHUGYW+uqwVTpAIA+h4t/r+zNEaMUwTQcPsp59FmKfl06oFEAX1A3VWsQTpHN7i/N/p/j7UoirGF8wf8nTaceuoqRJHMllD6mHBJIuTYtzyzf737TtbI7aiTX+XDpWtfD/b06RRRoCB+vSPrYj62I/wOn2+I0QDADjh1RFJx1MibWbE3NjZv1fQC37d1BIP+FyfapHJUAkaeqlCWIJHXFdLFmH6+bckeki5IIN7i9rfU39tOFdjXIr9vXlH8XHp2XxeNUYgLJCAhYggFCvD/qUNbkW9u1WmkcB69N4DFq/6v9Xr0g/CP9IT2cOF6/1ooYAJEN1xjWdRAGr+t7gj2kVPDrU9vV1cu6xICTWnr0o0q8bUvppa6gqWUyIRS11FO+tANUZEczOHj+jAi4/PtP8AW2bvoEsZP+mFfT16Mfor5AzyQyhB/RIH8wP5dc59UChZQ8TXB0ldLGMgjUfpdT/Ue1wVVTV5faOkIZXdipynl5/6h59RqMCryOPp+GY1SsAnqKxRlnLEjkGyj/H2YbHEZt1hQ4Iav7Ombxq2xB4dGBVbIoIFwq/T8lRb/eLW9y2Qumua9BXpuyCBqKoQEsGjcNaxIVgVNhz/AF/23tlwpiKNlaHp2JisisBkMP8AD0BuPlZVWJjIfGzLoD3Fk1KFYseSQo5/w9wxcKySutO8MaenHoXxUZdWdfH5Up+3pR0kzBADygf6qx4AtpKkk8gn8391jY0OsZ605qan06c08hck3ZfoSXJ0jhRb/jfvfA9VQUb59FT+avxyh+TXRG4euHNTFU1D0tdRz46KGoyWNymMqFq8Xl8dT1UkENdNQVKlZadnjappZJERg+m8be6XI8/PHLht7M6dwgfVHWvEZ8iME4IqMVyOPU0/d+95dx9hvdOw9wtugW6jg1RzQs2gSwSrolQtUUOkkqeAYA/LrWbrv5VfyMpq6oo0zex5EgqGSOorqXfmKnnjV7CSXHy7Qnemcjkprbn6E/X3iPJ7T87rKyG3jGTWpf8AyR0PXZWL+8z9imt1mfb98SUjuQC1bSfTV466vtoOm+u/lWfIcUszz57rLwiJ9cdRPvejgYaCWSSrqtkrSwkj8uQpvyR7u3tHzmg8SNIvFCjzkH7P0xn7SK9OQf3m/sSJFEm38wJGWAL+HbMFBOSVFxUgDiFqcYFeq9+2fhVunrTfOP2f2B09F/eLe00MG3lxGGp9x4nslhUxJRx7dyG3xNit5NBV6GWD92almszxxuL+ye4v+deX5P3ddTXcMqV0DU5OcHwiCaFqgHQQTUKeNOsrOTPcj7v/ALw8vzc98uz7PebbZoXuZZljhktQg1s10kwDxquTraqNnS5OOjwbC/lS/IfJYmnmen2PsRhFGz7bkbMZ7N4whAFgytBsjBZTG4msjjUK0L1BnjI0uAQR7WW/IXOm9qL9oXfUtQZGYsf2Kw/Inj5dY880f3jv3eeV9yk2TZE3DdrWHBltI4YbetaER+PJGzgU+IIEpSnl0vP+GkvkH45CNy7bdwSwEe0OzJLNcc6jtdQ5H+A+n193Ptbzyq/o2Opfk5/6B6DI/vP/AGRLUO072CMEarT+VJerWP5Z/wDLyzvx137lO1N818+R3E+Jlw1BVviKrA42ioZZaeplx+ExuTC5qqnr6inR6usqY4E8cKwxRnU7iXPaT2m3mz36HfeZYxbxWtSkQNWLkjuJ+HFPQEAkVPWC33yfvsW3v7sNvyLydYy2XKMdwJpGmdWnmlUFVLaDpVEDHSorkkknyu7d1RkSR7uWLKD+UBsST+br9fwfeVb1ZjqOa9c5ADTqDkqkR0kj6gY0ildwNCnTGjyODchUsUJBJAH1+ntu7ligs5JZTVFUkgegyc/4enoYvGlWOtNTAY456AztPc/YWIxGy9w4PIS4HY1LksfkMjV4Cakr8tmFEsMqYp2qEloBj8gjN5pTJ45FUhWUlT7xY95vcH3k5a2vZ/cDbZ4bLkJbxEKQUeRlDZ8UmoAkAK8aV6GfKWx8sbjdXm0XCSS7sYiV1kqFI/hHGoND9hx0sezQ+7NrZiLP4mmpMLmqqnxGBqUZmqpaWWlSq8uTgY6YJVyEUgi0MweNlPpa/st+8zf3HuF7a2vO99apbWks/g20ikF3RyChk9CKH0GcdIeSY5do38QWr+I8Kl5F8sDSwBPHj/LPRO87vvOdcb57f3PhQmRy2K2j19jsbHUa2p5MzTY6DC0NVUqnMkognZyPqUUKxt7xYj91uYeXOff627ZGi7xY2ENspJJVvDiMWo0qDhtQ40PUqW/K9jvO0Q2U9VtZ7mWRqcVUsW0g48wB8x0Xj5nfOXfmwtq7U2XtHKQ4vK1WMeHeG/KpYoppKkU1LLTPipIyq0xdZ5C8wKhjZRZQT76C8ge5W/8AN/ttYtvUofcn1GSQYLZNCBwGMZ9Oo/PKFlYcxSeEmq3DVRONBwyeHVDmPy3a/wAg85Xa3z+Vo4sjkKjOZKjqK2ODJQQlxTpNlIGmZ45qgiV6aN9UnBYkW9ms/hW0a6dLSMaknif2fPqVeXuVLi/VpBqW2AwKGlaZP+Tpc5bYfYuLqD/efea7YeJHx1Fj8JQzS5moo0jgpqenjSryFJj8fTQGVQ8Rabl9RUyNf3e2QPIGNBKCSRilPUf4PXqu72cO1J4GjUa8eHEft6NR1d2VHt3GUFLl82mSjSnDtBkUrMgKuKklFJVOtSxjRmpdIdYmCuh4V2Bt7ZO30neS1Jy2fL+fQTO4yxkvoXUq0HAih8vt6MlS/IrYy4HPfZPDic1iVSY0tHA0aVUVcnmg/g1RG1Ks9JVx0zM0EsbPG+pWGoA+z232dMKSRVa/Yeiq+3KSeEdiE1yKUp+zo+fwx+Vm1O8aHM9fnJH+9+2KP+M4rH5CqikqcttORooKuWikLCWr/u/XyAPpBZaaeNjwGsJbAGGLwJjqI4GvEf7HQI3qFIp1mioEkGRwAb7eH7ejxPIyWhVBIALSBSSAg/SVv6Tpt+Pa4FVYECtOiU01ZHXbv5YtJuFtyCdNltYAheRx/rW9ullcaVGmo/y9bqCKdNlTG2ldDfS2llAYem4N7i2q3tLIpBBBGK9V7gcceovklUA20nWvJPkFlA1BRcaQR+P6ce9LWtBSnn1rUzGp+KuesDyKW/cYOrq+nSFj+hIsV/UAingD6+3GcjCsD0zpDsdHwjh9v5dJ+ucxSOVYuGOmNl+tzdQpFyt04N/z7KJg4nHpX59GFusYC+bj7P8AL0m652SNA5LOdSamTUv6bfXn6H888+0VxcNq0UOk4r8+lulJTQjFf2dI+WknmYFkCNG6KSPUhBcWN7/g8k/W59kMzsoatDJX4vl6dK418Nwn+hgcPn/g/wAvWm98jS8fyL71WXh07T3RHpsDcrkJVLarcDSRbTzqv7TRXIVKk1UVqtM1+Xy6mXZJQNqiVuIGP9XA/b+3oNsq3+/dSxsS1Agt6TErVQUKUuwKlfrfnj629rdheX95a0YldXw/atRX5Z6NtyFLEMaAUBxnzpn/ADdBfLIGgmaOSRdFTTx2QEE2pCpjIJPJC3FvqP8AH2PmlT6kPd1DUwP4fnjj0FYowY28LKA5P24+38j+XWATjRTmOWyssmqykIwLJrFmNwqnnn8m/wCPamOWMMzKwGrh5CvTcqKhUyZA8h8+rtv5K5WXcvyMVQFKYHr0JqILFVzOeUfTixJ/4Lbn2E98SSadY5hSSlcdE29xgLFIh/TyB/q4dbAdP6dAB0i2i7D6WOq9zf6f7D2TqAZDH5jPRG8gYhTxA/1f7HTjEtueSV506ieb3c/VTq/P1PvchSMBsalbhx/PqzklM8R1liDt9RpXUFudIAGq4IB4/PHA96Ds/dUcfLrQGoDPAddSAg8nnUQzMG/DDnggAAi/tKQ8bAtQx1H+HrykDtAPTfIdLFiAbAelgLEqrW9XFlJH+3HtmSd5HLgCrY+VAcY6dXTqDUJx/PpulOkMSLjSGP8AUWNvq3AB/wB79pWqcKRSnWiagqPP1/y9QHDMpYN/UWuDqAPIK2v9P8faaVwqhq1IPl1tI2YFwQAeoMhF9OklgoLH03NjqHIuNB/2B9o5ErJrqeBP+odORuAQvnQCvTfMAxLcn/WsoN/9Sbi5B+v19pyxJGKDpWMMPTpskWxPpHNnVNOmxsoOsjgDji/19tlaNknT/P16eLyU7f8AN/g6b5Ba6/i5APBsLEkFrA/15tb21qBbSAelCSGRSKHVwr/xfGvTW4BZrjUDqbVYi17AA6fwLfQ8e0UkysCma1PT5DKAxOCOm6VFBZDypJJDWKKdJHBOkgkD6f1+nHtp4KvVfgp69aRiGyOh3UgCM2F/wpAAIIILfj+yPz7O8qSjVAx0HpKCjhqvj0/wdSox+oi2gqt9KtfSq2N721c/049qEbgnn02Dwp1lVQCLCwNwWUsQoNhzb8G/+wPvbawCoox8jT8uHWs0znqUrLpVQeR+bkMlgCWcWK3HtVqqmkHFP8nVXytaDUR1juD+hfoTZber/eb/ANP6+3Iv4jSgHHz6oA2nzDHj/sdYJDZtRNrG3JtZiP0twdOkcD3tF1NqyEH7eqP3nuPcM9N9USQgJAcGwsQQbHj+t+D7vI2gBqmpPVsAAjgemdHP8Qx/p5GRpDYRgtqFXEw4NiL/AIPuo1aia1UNUf5j1qpBwfP8+tFbtSby9wdtTqQ7t2/2MwZdSgf7/wAzAZmlYnyekgWsBf3J9q8i2kSx1BIBJ+3j0MtrtwbZG05KV6RlHJaph0tq/bqWsB+kuTweebkWB/H49mXiyuhSMUavxGlaV49bDJ9aHz8FKDgT9nlj+fy6VG0fL/FscAbgV1G7c6tF8lTXN72BQC3+t/j7Ltw8d0PiGiqp/wCL/Z0ZW1I1DR1K1yfTNf5f4ejX5FiKioPoGuVybH6rquChBIKkH/insDLcR41U0AcfLjw+3o072YUqSQCfs/LrZH/leuH+Im0YfISz7x7FuFWx43PLZibi6sQbj6ce62wRwx06ZScfZU8f9X2dRpzCXbd2Y10RgAdWHrKoqogNRXwyegLa+jSBqsP1W+gP49mkJAogGAMj5/n0H55FLhQRpP8Ah6dNGoBoygYstgeNFyAQ3AuTfg+1cfwhV4dFsxxQ8a9LCmqD4wCuh0bTcgPc259PIBX8ez9GBjB+VD0W4p8+pTvqEYRmZmC83ZQGNyS1gBcn8/k8e2nkGmvkP+K69QcQAD1lglcAApd7AEkkIQ35Yi36R/vdvd1YnB9MdbFSMVp1NRZARccAlgNVze3pOqxseeLe7GoYGSnz/wBjpyOlTpPl06Rk6Fb9It/S7EW4ueL+r2+oDISvwj9vWiM/Z10CRciwH5NubAgEXIP01c3/AAOPdagZHDqpoD0Vj5WfL/r34r4TbCZxRuLsPsCqqqPr3YVLK5lroaFkTN7w3HLArz4jZe33lRZZ9OuqqXSmhu7MVQ7jdNaWhdBqmNdK1pX5/YOjHadq/et2YQ2i3XLv6V8gPU+Xp58eiI7l+Uu597YyfPV9bBV1CUhppZDFPiMTDSSyfetTY+GicacfSXX1SSSM8n5v7iy9g3m8ufFv7hqPwRSQF+ymT/MdTfsthtW3QFLOCMNSupgCWp5Et59FbofkKFz8WLxtW9QagihoMTjkNJUZHM1tbHDFrKVF6mur/IvhTggMrPwp9oLrbFiXBKzqCa1P8s0/b0a2e7NcOIZI1ZNWagEAfbT1/Pq1jqbafyTwu003bBn3qKCuWGtbrzemQfdmIokkUOaLHZaOU5LFSiI8mCVk1fRCOPZltx5usrQ3sbCayxRWPEeoPHoo5gh9uL2/G3zBoN1ZTqeMUUHIFQaAj1NPXqD2f849i9CdhfGDH78pJduUHbvc9R09vU5YNHDseTO7PzE+1d1yZe0dFU7Xqt709FQmoLIVFZ+4qsje8r/u58p3HvAu9zbMB+/9i243TW7HveNKmXw/4yqDUAKk9Y4e68V17cmwkvf1div7xYVuU/s1L4TX5rk5rTiB9ls5LCwYgMQAUF7XN+ATybez06lIB4jy6IBWlTx9Oo9TcQylr6TGfwQb8+mw/slvdCKg/MdOxFddW8j0AUb+KtyMD/SGvqEQDSNSs2oEHmyqGFhb3EG5ArfSpShDcOhZbyBowRwPShpJkRitrliQPwOPwpt6bk8/19ogTqoRjq0oOqo4dPcUqiy6FBXliWbn8EcixPtxnrwwvTPiOGzUgDrJ9wWBWEAW0+osSACTqJZvqtvdUlNSIjU+fTlSct1JWpKrpaVnsL8kWUr9PoPqb8e3FloM9xP+b+XTYCVLUzX/AFfl12JtdyfUg4+g5uAdZvf+vH496oGrjp0BQKjB6CPdHT2ytzZnE5uqxtDQzY3JTZOXwYuieRqyankpZspiqmSIzbbzlTSSvTT11EYqmelkaJ2IIIC+88o7Lvd3BeXca+LbtqFAM/Lhj5kZ6MrTed02u0ubLb7meK2vU0Tqkjqsq47JQrASJUVCuCAeHQk0VPRYmjpqHEUdNjcfTIIqejo4Ep6aKMf2Y4o1RRf63PJ+pPPsQxRRQoIoFVUGAAAB8sdFnaUqct/qx1madyBeQ3vzpZgGJt6bD6XPP1t7vkf6qdNOhwVHWIa42MrszcMxtzc3v/Sy6QfofoPeqMOPGvToJHUPyMCTpcrcgMLFjzqKrzdVtwbfX3uoPHj1qnSR37nsDt/aG5MxuhqlMBSYfINmVx7la6egqadqWSkonjKuuQqzMI4bEEO49h/mzedl5f5bvN35h1jZooW8XT8Wgih008846Mdos7+/3KC128AXryDRXgCDWp9egQ612TsPryHeWO3Luevqejt2YzYVZsbDbwn8+Pw0s2NnyVdTrNqjp6eeESxq2ixKr6wSuoxlyfyz7c8vQbnZcybobr2p3CC2e3hvH1BJ3LMQpJxpFBjHnSvQh3rdd/3mS3lsbZYeaLV5VlaFQC6rpFSAM6jXJ/Lpedh7W2/snrgUm28hJU4XJ9m7fzhgbL1OVio4t6VdNR0LUE9RUSzRY2mrGhqKddfhCM4AI49lX3nOUNg2L2HNlytcqu0W26W9wkQfWPDuCdGkszNoHxJQ04+XTPJO73lzzV9Rfx1u2tHjJ06SWT4sUAqeDClfsPRI+zMXuMZrdmdmlpp8dXbtwu3phSLIXNZj8NTikSWn0lqmSeoktGFB0yg8Wt75hX80njyXU3BG8M0rQsMAfM+n2dZDbLLZNbw7dGrCR4TItfJTk5/1cc9Ff7g2TtXuepye3+waCBcFhayhx88iFKKrqJCWmmw8CeNJoY1pdHluxZWcgBfeZfsFzZe3+xttrJ/uvtQFDn4iTxFPQVqejzlnk+DcdzN5KPEOkkAcD6Z6FzaO3NjbN25Tbf2RgsLtzDY6BYKXGY2kpaeONkhRI3mKRB6lnROXOpyeSfc/m8EkgWLKqDmuOpBSxns3WEIVir+GoFK5oAcEfPj69Bt2HtDD5elqKurxkEbtRCU1Uq+SndJphSGvWPx1EcumbStQnj16AzXIt7Gu1xLJaiUjJ8+oi59hVtzaOCpKmpH2jNPs6JBl9o1+HqcpjMf/ABQ1wapgoqPGrSM4hk8UcuNmpBItHNHAVlKqmjzA2BP09ihbaIICRQEcPX5/5uosayuXYNo7c1IqadF03vBU7Zx8lBkIy1NFXVVetXEHjhmnl9MrUxGgmmmexZV0/bSDSQCvsztoI3Yq7aRXA+fp9nRFdK0TOkXa3DP+qvSw+LncOG2D3d1Z2Y1U1FUbT7JwaZmnRzRGDaGZqDtXdSDR45ajF1NDWtLLFIPGxjJsRY+3mtvCjN0CAgNP5joPX0MxhZGNdStj8xQj5nrb5qoIohP4ipjDtoZRYPH9EkVv1FHQgi3BU+/AtpJoK/7PQcRizd2E9Ok8W0uWszEKBcX5H1VivNhc/wC8e2dZrWhA/ng9OSBVGOPXV0dSpHBPAAsSb3Kj/av95IPtyoPTdGC6qH/V8+oE0emawIVShPH6dVvyvAub2v8Aj8e6mnXq+fUWpj0xK5NgqAghl0n/AFQ4GocC1wb391atC4NG6pH8VOHSQMv3Ekn9lob3LmwLfmwsLs3+H19k7SyFyxJz6dGsXhqKKM/6uFemetkYBS/+cUqWBVrBW4DHSLen+g+ntLK+lSJP9X+rz6crJrXw8tXP5f6sfz6YpJneaNV/b5VSgAsfUpDWHH1/2/sP3E4YlVH6ZFP9R6NVQkCUjNB8vL/Vx602PkgrN8ke9Xc2v29uwSB2BZb17EMim6gC1+fr7ctgDGBTOc0xT59SttMAfa4zU1A4fL5f6s9BfmABt9UjkaxqKAG1hZFnYxKbgaGJFibkWb+nu+zt4O+HR8fGnrgZ/wBXl0dbiujbV8+0fPFf8/QYzH/JXKq1xVRyMAbFdVI6m5PqUK30BHuQHaJr0M4Bj0kkH7OPQUQTC0YKdIDVx5/b/qx1FmdVWDQvq9auCpI0jQusuQNJtyQbfT28ltqLMtABgKfI8eql2k0FlCvnIrw9KH+fV1f8lWT/AH+HyPQHg7Y2DI4Vbqrrn84gIf6khP7P+I/PsKb9cMs4hOJdOWGeinfUxEa0XP7ceXWwZTuFT1JqAJu2m/8AxOrTxzx9b+yBZnjb9Q1XyI4kdElYmFFIrX9nTgpFmHpBQhfySPofTwPyf6c+9s0JWtfiPn1p6kjj1m1rZ1UE3JJYEEnmw4sTqIH596D6QUjWp4n5Z8+tMCp7Bg/b1xkcKALEq31HquSRzz+osf8Abfj2nmnLR6W4fLPXqVHoaf5aYr03SlbXYKFuFIAJJBsLEi/A/p7TghV1KeynH/Vnp0qVAyCCP9Vfn1ClBLtyQCFjsLkEcj8AA2+pt9PbVVViCMUH2Z4daBINRx/b1BksWIa5AFieQAoAKWHFgPyfaBVK3BiB+IefAefSuI6lr59RJNKsBZeD+CSnFhZ/r9T9PdDIokJBqKY6oVUaTGAanyyP89Om2b1Fr3VmOm4OkIykj68i5sDx9APbJkBYggmv2dK1AFCRUjpvmW17Evb1HnU9gSCeLAhmH44Htp3WnzH+brYep0JxPTbINQPEmo/Rhf1BhYMDyf8AivupAprrkjqwZ1quRnptmLAEgE3sgOmzf0A+hNjf6H2gulpp8MeXn0pjfUAWJrw8qdQZVU34BBK/W9tNrE883FrW/Hts+NIKipYH5dXA19y5atPy/wA/Q3waTdjb+0SAbcG/qB5Fxax/r7NxIS5YGtPPoPwx+KpYHI/1f6v5dSkOkAnV/RbgBrLYn6fVSTa359uISCCeq6aIrHiT/qPXMMdS3NxYEEG1yT6TqJBBBNvzb6H2rZWVhw0ngetVNaUx1IDWZ2Y8IPrckFkcagR9bAMB7sF0v1ulSD8+ugw9QZbcgDgAnSLH8jSCosf6j26hL1CfEOPTMuoH9P4s9Q2kuyBCrA2awU8X9S8/pJP+PvXiMX0n4c/b01oFCWJ8Rq46b6t2AHLW0EXFgQNRNwCLWBP+uPah2GoVzjrYGnB4dMkchGUxtgPVkaIkj+oqoiSoa2mxN/6c+0hAEoePgTT9v8urLEFOoHOetE/sFhUdqdoS62Ik7X7GcgG5e2+cyVOi+oC4+h+l788e5VtWK20UgxRAM8Pz6GOyiQW6MMvoz9n+fz6SsMemphA08QzyXuFt+4CQumzDUebkcEW/Ps4mRtAZgA1AK1+YPl1ZPDM5Vq6wNXSt2cfJncQTd/8AclRmTTdEP+5CFm1C13uyjm1tXtvc202h1UoV+2uOB9P83Sy0ZQNfcFJxSnr9lOHRsq9RJV1SrZQk6KgCBhreWwX0MeAw+t+B7jNIlKaUygyPnk46EoAc14aV/wAPWxx/K+DD4l7Qaz6RursGS9j+4G3VWWsSPpx9eL6fbMUkqytIvaCPt8+oo5gRpNxcaqRig+2lerIadS7Bw2rhlJAtckXIKjSb6R7M7aR2GsNkih/L/P0HJYGGU4A/6h08BFRA/kBBKIy6tPNwSTf6D/D2bRv3AmlPl/h6LplauuuDjpUIqpEWCPdhewtcyKPoLXLEr7OUaMIASc9FpcCi/iP+DqR5rahptqXTa2m2kXX1Nbm5t/h7oCBjgT/h49XFa46zIZLC97lBZf7LjgMbm4BP+Ht0F/l+X2dXVCV1VoOnNHNriwCj6tzawAKK1gth/X8+3O38Xp556ojaanqTGXVrsdWoagf7IU/2SALn/ej78GKmh8+ndJOSePUgtEqmWpqFo6OCKeerq5CBFR0dNHJUVlTLqKqIqelieRgfwvu5Csa8F8/PHn1SQaO4VrkAep4Afn5daSvfXyX3B8nPlZvvuvLS/abVyeQlxfX9P9w8qYPpjalTLQ7TwcTnxLSHNRg5GtZFDS1WQl/wID943jP9S9RHQgD0A4ft49D7bLWS3gis4qeKpqxHFmbJJ+QyAOjhYDuTadXsyowWPzGHlykVKtFS4Woq4chLJPkKWYT5bK01OzVENJiYZHlSO0YeZUT6En2TyLE7q8TAygVxk/ZTqR7GyuraMT6HYjjjAB8ukp8cdgTbm7DkyjZNnOMmasoW8UY8CrURRyZGnUu/79bOwDubM7EBfSD7LrhxeSs0gCRKpX5k8Py/y9GlraqstUBBavDJ4cKelfPrYWpeyG2/QUWLochNT0a0FPTlPIV0yUsMcKkswb91XUfQfT2Qy7m9iPpIWY29PyqP9noyi5Jj3IfVTwq0wbFRU0OaeWKfz6KJ8zOn8T8sPj12n1YtNjp975jb02S2LV1sRd6TemEljzGEhWZHSSFc7UUP2YkUq8T1CyDlfc3/AHUPd239m/vB7Dz1fa12L6xYbxUPxW836cgYZDLmukg9Az3h9trrmv203DluFAyPCWjDAkCRMoVoQVZT51wtfQdCb/JU+eVV8tvjy/WPZ2SqH+RXx0joNn76hyuiDMbt2ijSY7aO+qimJWSTIqKCTFZk6SY8rRSM5HnQe+ln3yfYmL2m5+TmXloCT255jT6ywkWuhDIA8kGTUFSweOvGN1p8J658e0PN91v20SbHvxC81bU5hmWoqVB0q+Ca0IKMRQBl9T1cxUHyQyIBb0uLG3DD+pN+bfX3hzWhHn1MK6BknhnovtfaDdGSi0gavtalb8X80YLEi/IBTn+nuJeZm8PeHVaVIB/l0KbBNNopOO7/ACdOVNNZ9TMhFywFr/QnSVtayn/fH2HIZmDHxGFD5f5elZBYU8q9OCVjkAobv6Tc3u4+hsOQf+K+1KyiQlR1Xw6+eOpkdRrkJKuGINkLDT/T1JYEabfn6+76qNpAp8/y60YyPPFD/g6nCcAWAt+nkEHWf7OsfVOf9f6+7EkinTYwOsbVJiAQAAsqlCDZYyzH0/S/0uP9j7qzlFPnXrYFOPUdqkupQ+u9yLMBYHj0kkkf6x4PtsyHAxX/AFcOvdc1k0R21MdZ+pKk/wBCOeT9OPbi1XiamvXuujI2oEWcA2NzwFAP1t+Abfj6nj3520nOevdcmmDAqWJuAebm62uEJAF0/P8AsPegxOD17qKszLqa/OuwAuWA+pKhQSFUf7C3u+PPr3nTz6DTsXD025sE23a6N56HM5LGU1TBDMI5p4lqhVKIxpbzxpLAHkjGksi2uB7gj7wN5HFyBPYTMtLqVIwhPc1TXA4mnGnQs5TuJbLc13BCAYELgkYqPn5D59F4Xq7IZLc2AXPyxpjard9dlqHDUNTVZc0W3cRQVdLPjIjVwRxy1G4qJUeZIovFTtI0cZOhXPPTbNg3LceaNv2bcZru92WafV9OrMzFFHw6eA1VGQBTIHr1J55l0bPPcxrHFucahdZCgEucNXjRaZr9vQ3bqx20psT1fh6eGlop8rW4dYtkzzTUeYodh0NHXYejerwtZIuUFFg8nUQKs8kYWGrZFVg5F8yffjkiWw9oNp3S/wDHhgvb61gMFWpBDEkvhRNXiwxxzUfLqMdh3R23m9SJ1ae3tZZQ+AWd2TXIAKUB9KUp+fRcMtvKLGwVP2GMfNzHfG61+5SOJafHbixojWmSVpgBLUfbsWE+llVk0gg++d91dtDE9tStyt0/H8LDz+frq4Vx1OljZR3EyFmCxGziBArVlYVIrWoB4EDj0R/tDc+1Ns5Olk3FK0eTzNdXZGqq8pkRHjp8vWV2mqykUc8MuqqnLLDS06q99DPxf3mJ92zbp/6lXd1Kyu73TVI+zqX+Rri2sXZCQsRIVaZoAuAc4Hz9MfPp3x0tLLDQ1ONztFuWGSCRC9HWUFPLRrINSR1cEUuqQhGOlgLgixA+nufY4hbxgKwZf2Urx/nw6kRLhpmcMhRdQIahZTTzBpTJH+rj13m8hUY6CldpLUyiSlkjllUl4qmFklQR/wCaLPTM4LA2H+xPsV7Vuf0q/T0bA4H0/wAHQG5p5bsbsfWoo+o1VxXPr+359AXvjcG39u4HcW7MxT19Vj8JSNL9vi6BK3P/AGOISNhQ0sLPGmQrI5qp44FZljeSQ6jpUD2u3HmN4FrFVpAOFeHyB4dF2wckWO5MPqQI1Yn7Cfn8ugP7ixmyt2bCpt3bMyU80WaaXI0keTxceI3DQbrWggStxeUxaTTUVBkZsdKC9i0FXC+oICt/Z9sPMS3koDfF/q+39vn9uOgfz57aT7XbapIkU1JBQ6lK/hZWxUYIIIBBr5UY1kblqsKMtm6+N6iR4lippdCxipejrKWemelhqac6HgSqhNVHGl9Euu1rex9cPbPZMVOmMgn1z/xfWOV5YssrQsP1Erx88/5et1b4s9n0fdHxj6N7KoakZD+8vXO3IspN5BNUR5/A0aYHPUVUwuwrYMrjX8gI1auSLEeyu2l8S2R+NVp9lP8AL8vn0BLqA21/JBQrRiQPkcin7f5H06GjxqHcN6ZCB+Dcf2iCB6T9R/re1ChTWvHrTMD1HeMKNSj0KbalH5P1axvbj8W96+Y+EdNnhk4HWBoF4a4s34NypJBtpABsR/X6e9LHTLN3E9eoKZNB1BqwgQAmwANrEatbEDnV9bD3udSq91KUoOqxtRtQ49JBqcwzzICfUzHh9enTzc/QM+kW0/Uf4+yBsYNaevS6MjBPxVzjpPViSG7IliJCxJckkKLMbj+v19oL5D4epRU/z/LpbbFpJRQgFSD9o8x0xBEM173syq5QsdQZwQt2BDspN+OPYfZjoIIz0a6H1Zb9Pif832dab/yaAHyZ75YFlZO3N1sUsuq33b2JVW9bHixP9Rf2vpJ4ISIfb8h1Ku1BBt8TITWmPsr0D+Wkf+AQA+nyz0SDWQwOiocmzXHAHFv9t7c2eOWa+RiwCgkCnH8z/k6M9xZlsdYrWoFPz49BvVsVo5ir6Wapp47jQWKNDOAT4/0MpFg3JNvY/dGM4AUdqkfbjohjYNauIyNVRj5+vTTLKFELa5GexOph+oelXN39berkpwxv/T2piV4kc/FjH29MMZlRSukP5/6v9Xp1dj/JWN98fIq/+7NmbGccMhuNz5sW0agBYG/5/p7B/MHjO8YZQrqK9FG+AFYSSSCCeFM4/PrYQhcsqkEszAqTb8D08AAWW35P5HsLSTGRwrfFTh/q/n0RqqjhStc9TI2EbHSxFgOP1Arb66v7RNr8e2yVNAcgH8h1uo6zCX6+kcq2pwSG/BBtcnUdX+v7p4pV6A0FM/7PXjWlfnTrG8oI/TIQPrpPqJP+NtOq4uBwR70a6h8uvauBPH/VTrE1udLC9yzKLMDbkltIK+g/0+n09tksnaCC3n9lenki1KGrx6gsSWJJBAt6ADcKRzdLXFvxb2wzFcnh88deMAxk8R1ELOEbgsCpb620r9AOLEsf969sJIjFmemqgp04i6QVxq/1eXTfJcXBAAABte5K/q5P5At/W/tI9CNYxnpyFFQUA7qdQplIQufqDcAEH9LANcfkEN9fx7ZCguJfxaf5dO91MZPTbLxZtVgBcCxtf/A/Szf7178SpUE4B4/P7etJgB60avD/AAdQZSpPFySxJsRqBvxyQBYEe2VmjkLx1pp6eVj4gdjx6bZmYl3CsVA+oPq0gWYsBbSpH0I5NvaVz4o8RsEYHzp0rPhrU1pivTdMDYAkDWfoBYGwsOOfqB9Rz+fdJ3dlAcUYeY869aVVXhwrXobEUAWF+EXjTdk0rZfSDf0kkk/m/s3XSq+JUBPPojfToKqKNg0/bT7epKrcW5Btp08MB+TZm4ux/wBt7cVlJ1E1Sn/FdUaOQ4UHTjHWRQARbm9yGN+STYlNNwo+o593Vyifn/k6bBovz653uy2b1KTwRqYAqAEBPKgm305/r7UCoOqmNPn14nH5dcmH6OQp9Xp5ABJuSQQSFtx7cw4BGGpimKjqqljx+H/D1EmBN7FiB+VJ0/TlhYfQqeP6f19+WoULH8fz6syOzBmIZRUDFD001hbX9dPoAsTqGk2sVKklgT9ST7ZkklBo+ccfLqqrQdwz0ywlTk8df6ff0o4RioC1MZYX1XBuOLEe9QyPrq47Qft/1V6b0u4wOtD/AHbUD/SL2Q5Vh5ez+wbA/oDnfGakQyX9RX1aha9z9fp7lO3ieWwilBPhaf2Zp0O9s0RoXHx6QB/l+2v8umamkbXAFZfpUvaxsviexsA30LXP49iW2FIkYnV20/2evNGxujKx4g1rw6VOy5k/juEsxlCZGiQaSU0ashEzkqhACKR9Rf8APsn3aVZIXUFgy4+X/F9K7JS0TeGRpB/Ya+n+Ho2FYXNY4R1YLUFr8pojMt2HpJLF2Xi3P19x7KGbQsBIVG4j7ejiGN5C3d5D7MdbKv8ALKBh+HexWRQdef7COo+kKv8Ae7IlSxPDKCl7fn355C+vwWAT5/5uox3tQd0dj8BA8uJ/2erCMc7sA/8AVWEjHi/9b2uRb/b8+1lgoAAYjiOPn0QzsfC0io8v+K+3p9jIbSo0BHFmtyQeCdYGq7C3+t7OACCNPmR/q/PpDPGEj1MOFP256VlOP2h+V+ihnPHBIY8AXsfp7NoY3EeTkD9nRI+WzSvXYLg+lgwLaVQ6SWva6KG+gv8An/D24CBwBavXsjI6nRuW1XFmS5tazA3Auym1gD9be3DIaGoIby/Z1oKWUgcAK9TY11xi4KuwsynVdrck/i+o/wCHPvSkyBl4cM/6v59Oxr20PU4EqFF9WsabhTYAkADji5+g/r72A4YICCo/b043w0+XRR/5hW+a/rf4NfKvd2Hq6jHZaDpndG3sVkaYI1Xj8jvdabZa1cAk9Ec9PBn5SkjH0OAQQwX3e4mS2tnkkJ+Ggp6mg/ZSv8unLGBr3cLe08mlqfsGaH8wKdab3xr2VB2FvDaVDmoq6TZEckcuWxtK0VNl8pQbWgeopMSZNSAvl4nlCWILyKpuCo9gzfrsRWTokh8NV4UzX5GvWRPt3y4N03+K3ulDtJNSvlpGST9nVmtVNVbxzKbG8WKr8Jj8TJHHhMZ18MZS9W19XlfFj8J1juzD7cpY6rFYjGQNTZuOWrrXrWV6iTxEIWio3+628q3DStpNDoAwB5UPpTjWvWW+68tcn2tq1uLdVIXQH1ZkOKlhSmWyNIAHAUHb0ufjPsXeGO3NvOH7dcRR4rINQpV1UEkUk5SGJYK+hklCSfaQwaTGoKo7sGI+vsTz7i8tjqQjxTn5kf5h59RVb8oxwbnrcH6VTxHnngPmeHVjWGSeZDjpMlVTV04UU338kNR5vGqGVpJHjjsZiQbrYA2t9SPZDHC90rd/ezcD9ufy+zoV3witlW4SJRaxijFagjiBwJrTzrxzw65ZDEz4/Ife1mXiwv2DxzyVMFVSPTwGJ1Ouc63liCsLLbkX+oPtubb5kOtjoKsCKHgy5U4NRnh1SHcoLix8GKIzJICKMrAkHyBI0mvn69a1uY+Qe9/5ev8ANV7L7l2pTTz47b/bOXr927ZpJI1h7A6T7OgxW59x4qJBGKeqmq6WvbIUEukLDlKaNx9W9/Wt7Wci7P8Aeo+4Fyzsl5IkvMKbKi29wxJaHcLUugqRkqwIRh+JGp189Hu/uu4e0v3oN5v4IDHZG78R48KWt5kXUKHgFZS2CulsmoPW/H1vv/aHbfX2z+z9g5yl3Lsbf+2MPu7amco5ElhymBz1BDkMdOPGXEVQsM4SRCdccqsrAMpA4bcwbBuvK++XnLu9wvBu1jcvDKjggpJGxVlzTAINMZGeB6y+23cbXdLCHc7Fg9nPGsiN6qwqPzFeHkceXQV7yR4N1o4N1qscjW9QLNFO0R9KgFm9QJ9wdz3EY7+OVeDpn7ehzs5L25BOoVr8h8v9nqVSRaVJ1cFVB+ga4HA9J4NxyL+wfAQP2ef2dGqaCp0gf6h1OjDpGvI1KxJ+jEKAPVxc82/2HtekYSIhjWQcTwoOOOkmoU+f+xXrJDK7upf1AMTcLcji2oG4JCn63+ntiN5GJK5SnHrdF01Y0bOPy6d5Z44o1Kk6Aqgc3YmxOoXJIIF/9a/tZJKF+E9tP506bVGDFSM06iGUzqSAYhb9vm6hubs4503U+6PIskda0qD9uOtkJXhmuesUDtdg6oSLrZwF5HJsv6rj63+g/p70hYjuoRXB684ApTqabixCg8qeHDWSwHqNiG0f4f19uDFAoIP8umuuIdLFrkEMRf0gXAuQSTx9eLn3vWgQ6z16hr1CkqCrAAEagDdiQyrYgqV/p9Pp/T200yxmh4N59ORrqajDHXA1ACWQgsyaiSANQ5BBtc8gf7D3ozlQFQ16caFUw+HGfyB/1U6APvir3LQbAqM3tSWKPJ0eTp6ZlUsMica2ibLVGJGoQ/dJAgjL21IjORY294pfewtNPIlrvkNw0VzFdaEUCpJalW40FBwNMdSD7cpaXu7na7pCUkTUWqApIOFOOGf2/OnQEde/L/o7q/qDs/uzuHch2/RdJ7LptwZuCaYzZHIPuGorqPH4bbtJNNry+59w5bGpjKOGNtUlRKqnSCWCv+7g9vJfdX3Fn2mwjN7zmFjS2jbOhZWo8pqDpCU72zRRXPDov+8HeWXImwDfLtkh2AszSNwBZANEY9WcmijiSfTrXB+LH83aWP5291fK35P0WaOye4tswbAp4tvL/H6roLaO1t0puPqvBYLbonikz2FoTPNDmY6MrV1tdWS1sMcrXjP0hffP/u47v3Y+6dtHtx7WvZR+5PL9+t8zyMF+tnZSJVLGg1eUaHAUBRwr1y69rfvOxbJ7s7hvPOCTf1b3OLwkZFZvBjUkd4FWCUahYA0buIBJHV/XTfym+KnyA2dujsXoPvzae7sNgc+2G3LgdyYHL7dzu18nuaafL1VFU7d3Fjcbm7ZxNTUzPTSIVRkWQsCF+Ub7z33R/dz7rm7W9t7v2qbbum5o8kUcjavEFQJDGQADQmgpWnyx11Y9svc7Yfc6yEnLayXO2xBV8SIkU0jsD6gCKjyqK0JoaHol/wAw+stpdo4IU0GQrc5ksfPVZDG5CDG5TF4ehxU4U09Dj8dHdKarpZ49QDuXDKTb1exd92XZLu05Vmubtj+7Lif9NMgUWg1D/TefWWXK2zbiuyybhIFSVxRVJ1GoqCcYPlSlK9A38a+qqulx2Pzu4N6Z2nTaVW1DW4mvpaAfx4wwsJGNc8MFZLDOdEv5hVgBGqtc+8hdxaH6sJCirEDkjOPT8/PoVbYbu3tkiYszknjgKR/kB8vlxHRn8jU1mdySY6ikpFo1dGWtqniNVHTqAZE8Z4CKDc6rFrWB9tQyyCRpAKk4FfL/AGOhBcW9tNaiOWucsF4E08vt6Dr5A7Cq9ydX0exeutsUO5d1713dgMPkMjuGOsXAUWylmnqN6pLlsfWUf92slXYuMx4yucTJT1enTG7lR7tJFDK1ZKl2NBTh/sVrj7OkFub22vllLRxbXDGS8YFXbhpIwSdIB1ADJIx0lcJt6Cl2vU9ebnx0k9clOtHk869DVVU+KzVDAKPHZMiuSiyGbndI/wBqYxxtVRKWsEZSXbST6GUsq+GtcE+VKfy6Em7WMW97atvK4eModNKEaSMZ/wA32dFC7N6j2L0z192j2dlVx8OI6hxs27t37o3PPTUmKonkjWHbFBPPAJRTbs7By060G38FGKjL1k8g8UIiSWVJT5Yst95rfwLRP8WUZfgvyHWJHuFtvKnIYkud1ZWnkJ8OMGrNwyPQfPz6vO/k7dqdCdufBnYme6M3XVbgrFzmere78BnqGPAbz2B3TuGZczufaO5dqQ1+Rp9vpQU0sC42SmlkosnjkjrIJJBMx9iq75bvNgAjuaMxJqy/CCT8PyqBUHNQD5ggYt3u8HfNye/NFHwheHYPhH2jz9OrNZ4RYuyheVsLnknmxvcAW4P0HH09oCp1qRwBz02CoNBx6guqAJFG2qQtpCgEXLN9AW4HJt9PbtKnTHivl1aoB6Iv39/MM+Kvxl6+PafaW7N2Q7LXtzIdH19dtbYWc3NVYvfmLr8xja01lBT+CWfBrXYSohWqpjMWKg6LG4EUfLlytqt5JTwyOHE/4Rg9FiblDLIYohWhpU4yOPkekr11/NJ/ly9vy01Ns75idNUeSmVBFhd/Zav6yzUTSWCwTUW+8dhoBMW4AEzD+hPsiu7GWvDgcDNf2f7PSmJ9b0oa6a/YPX1I9MdG/wADuDbu84TWbK3HtDfGPmBeOs2duvb+6aaaPQWR45sBkMjdZGJIIt/tvZBIs6v+qrY+Xl0pRlI1KcVz9o6xVlDURp4pKepp5mI0w1FPJTyCxJcEyKpKn62/p7K7pxNC0cIPiAdGNvVTVsA0p0nJKOSNl1qpJlVVJZ7A6gx+gIsLfT2HpUkRv1DXGf8ANXo4Ds8ZYdygZ+Z9B/l60zvlLpHya78BAQL21uwq8b2b/gUvMtyW/Vf+npNv8fbtu8kKqHNKk0+Q/h6lXaWEm0RFQQQufX7OgazfjTbflJFxNSOmjXoQpVoEuLalYLqBBNieb+1mykxbswQHTQkenDI/njo/u41fagxJMppn5U/w9Bg8sbwyojgSCopzJA9tTWWpVOVe4dVBCi9uPY7gaWW4DNq0rn7fl0GQkaRSU4mlCMZ/z9NdRJrgglYaEjVzGpYLMGbSqlGuUeQG9wTxb3aaSTxnB1AeWf8AD1oxRiBNPEE18jjyP+T16uo/kru43/8AINTcp/o/2NdCys4/39eY08/ViQT/AIW9g7mGS4WUCQtUqMnjTOPl0Sb1CVWJzkkH8hjh6AdbC0LLpQEqgseFuf6auCSf6XH+29hp6r3AGvr0RhQRQmgz/q+3pwja5YWYXQEqqXUEm+rj6gfUAe6RgH4qhT1dY30lmFa8P29Z0bSdLHgAG49LEA8k25DFvp9T/X34umQB2A/t6uoWJiGoRQYI+f8Aq/Lrg1gw1abaWNh9L/QavqWsBz+fbRdUBDGinh9vl9nVAA0laDSa/Z1hZuCeAG5HpFmuxOm9i1/yePaPxdLfqL+oP59KQAAKCmOojljcgKwBsp/SVWwY6j6dbA3t+PdVmkcmtKEdbbUtCOocpYgGw5CglbWNlP8Aqhxx/Tjnn2xQjjwPVJRVB4dfEqP+K/2eoj8KTb9QJJP6bf4P9R6v9gfdZA1AFIA6dK9vaKOf2/t6gvpJZhdWezKL8s3JkjCkfQfUH/D+ntmjSDvwQKY6tmnzp02T6QOHBA/tMRq+hBUrb6Nfiw+n59sLGGagqygevDHp9nVld1AAHaPP8uoM2r1fpIYDhyBdGFiAT6ggtce2pZF0MEx/LpUukqDTj/qP+bqFIP8AXAtpIvZiNQHIve1/wT9efaZJhG1aVHVyART/AFfZ01z2uWV29CMLBS3jb6jWAAdXP+tf3WSRnNOKjh/n6cCj4Qasa/Z+3oa0JuoFiZQbMPxYjgm/IN+P6EezQkV0tmMio6JWoxr8qdZ42IupLOVPIa5NrcMraeTxz/j7fjLMugDSPQ/LryambQTT/ij1mUWJ9WojSPoF0qfoLD6W/Fh7cqtQpOT0wIU4Vz9vD/Vxp10W/BBKix1fp1s1luLeq9xf+t/b8bUwT3HGfTpp1CsVrk+fXEtwLENc+q+nTytxf088nkE8e3iV0hT+35enVZO1fU9QpXU/22VdTEk2ABPBsT/ZFv8AH6296qChMRNRj506tSnaDjprqmAKkD0aUA4Ki7c2W99P09tTEoBHxqag9aoCNXl0xRkHJY5Fu2qupyeStvHURt/jcD8X4sOPdUfSONCGGPXqlTGprSgHHrQy3NUht9b+ZiLv2LvyRHYBrmXemVa6MCRwL2/P0HuYNvLpaxllYIYwfkfX+fQ0tSpiVVbOmtPmf9X/ABXTXT1CLJEkhAHil1tyXdP1Ea9YI5I5/J/w9maXFx+JNC04dXUa27zU1P2dK7ZMhbP4UKqPpylAXVtaqb1YKvoXgkFfp9P9f2j3sB7akbDUuT+zz6WbeJBG6QAHu4/b0bGtZhWka2UmVAzrbWrs5IUMvBUXPK/i9/YCnilZVKMqhuP7ejX9WJqH+ypk+f2dbL38tID/AGTjrpYyQsmV307lbsbDd+WLFQW5BYiw/Hsq0Sq7oprT+eeo530aNwJAq2kUHr0f2CVknRRIJEZtbFSxUjj0uCANNz+eR7MLYtqFCdApX5H5dB6YBoiXBXh/l6UCkAAWN9SO4FuH+pNyeAhH+8+ztHUonEg4rwOOkUjtpKk1BA+eft/yeXSnpDI0ZDSl1/tLchSR6hYD6AEnj2bRDUhD8COH+X7eiJ10ceNOpqRsNKuylmbUJFS5+h9AY8g2/p78e6jajWv+Tryrq7TxGepUKFfQgYKxKkm5YMfySbBuPfmkkJqQccP2dOhKA+ZI6f0j0opDAMotqb1Nb6H9RFyR7WwkeF4pxXj16hQADh1IRbAsSWYgFdQFxx6ST+CpP+Pt5WVgGXJP+r+XTtDQj16Id/NBwOZ3T8G+3duYejqq+qzmb6uo62OiVmhgwS9i4CtzU+Z0xS6cGkFGBVuQqaWXUQPqW70+nbJJeJWn7K56OuV7UXPMtrbDi5ag9WoKD8+tar42dJdi7K3hHlspip8Xi9r0shoI6ufx0tXLP5WxONtGDMrxVErHVcSRICWFre463W6julEaEEsMg+vl1l/yJsl/tt+LmeJkaI4r/q/Z+fVqewsltGHcM3Y+0M3teXc393KPau6MdIkkG/Rhp61KirwO66BoExcsNDmY/wBrL0vgavhWMTiUrrIZvIJYgJWNGCacVqV9COBHlUHI48epXuLZ94cW11DIIhIZFcsDGGHBo6EODmpV1IVqhSVVSRDymYosCr19P5vt6moJraRlMqRvUFXYiS7oFGq+m4HPHtEgIjVYyaDiDw+z/Y6O4LVniEMwUaPhYcePGnTJv3aeI7q2ZDjMTv8Ay3X2VoqwVdJlMZUU0VdUeE6TSlpiGWGbWV12fQ1gVINvZ9tqW0/9qQpoAfzxT7OiO8XcNruCqKJYZKHUgOONcfsrwxU8cdVP7p6B3pUdo703Q29u08p1lsnD5DM/3frtyZetGLqdn7bGUzUsNfDUQpm6nOZCKSSzQqtKGCKPofcgbByla85c4bNyptZS1n3K8jtg5OB4jBNR+ypPQIvty3DY9s3Ldd61XMVnC860FAAqkhRxzUfz6py7d7P3H29vzI9hblKjI5eixWPhSPSYocFiKRKLC0jTEeZzSUCKCzkszDng29/aL9372X5f9hPaLaPbPYXaW1sIdTSMas80gDSt9hbh8uvmb96fc7d/dX3G3DnndYmiN3IY1VQNIiUsE1CuDpy3pw62Xf8AhO5880oKvNfArsrN2pq183v7435DJ1ZKoCWyG/eqaZ57LE0Du+axVOpAEL1iKLIi++ZX95F93k2l3F758qW9LWcrDuaIuFlpSK5IHASf2cjHBbQajPU9fdu9ykvYW5K3KQalq1qWPlkmKppUgDUFyeOBUdbKnYkWnNYWYtpH+WQOF/tuDHLGp025J/wHvh/z7GP0Za0OR1nPy8A5aNhRacRgcMU6iQt49ESr6dJ1sX5Ww4AAva7NYD8+48VlccDToxosSdtak/5OnDWStxYf6oBdPIW2o8EEW4/p7NAzOBXyH+qvTNaZoD9v2dZEsJFHAuFEhDaVux+lw17cX/p78rRqdPl15ia91NVPLrPUytoUHhlBBKgrpPHII+pHv0xSmlTXr2ll+IUB6jxliQFuyBUuQeHJFyjAnlbj/E3/AB7ZiUO1AfgOfT7On+024NBX18+nZZFb12Hltb1H1BfylwVAt7XSI2CmFof246RyNqPzz1jZ2BIJIIUNa1hx+WJFrG/+29+ZmUAcTTregUB+XUORpNJVGA1FiQ31U8FvSDY2U3+vtJ3kGhpXy8sdOegHHqA2vyD1F9IIJYEkozW+g/SePp7RyF27m9aD06dEZU1U/wCY9R55WWN2UhTo02+gUfUkvYeoD8ji3u2sqABT8uqTV1ipFP8AZ4E/Ph0ksxX7Eye1Mxt3KZ3C0+76KGpziUNdV/bVb4enSZ6hPuKlUjCTUDSuURj9AT/hFPuVd+3vP3t7u/ID7lZjnmFS8cUjBX1IdWleOSO0fMgdHe1W+/7Pu9vvMcE52jWFLhajOP8ADSn59U2fNf4r9edkbQpdtbnijyGyNx5DG1uIq6fJx4yvxlfB5K6lr8TXUokiqKmKOqasoJWRtLPJCwZZCBgT7D+/Xud9073Ss/cn24uhDzDaM0bJJ3JLGf7SJxUBgwFR9lPn1N3MHKvK/vPyZc8lc3W5k26VdVBVdJyKqeIcf4BWvQZ9c/F34D9E9kfFxMTl4JIaHrPtTZmB2jv2gw+5ou3959j5unqd1b07qzO4ccMLPhVp4Hw22aaOCCnp55XKOi08YOffP396b95T3g9vt+s1vZrTed+vLGdZ7d2RbRLDxD4dvSgQTeIFJ1d5WvUYchfcIiW1uua+WtlN7ynyxBNFN2B2lW50k0UgtPJAkYkkUCiqQSGwOjbfF/4KdefFpOy6ralOySdpdj7i39isVS4ulra7DUkUzwYTZ+3pq81DZDF7Hw7LTBZl1yMXlYFSD7xz++R97n3N+9/fcrbtz3E0EnL2xpYxUGqS5nUL9TO9aVeRl1NXOeJHSH2k9uuVvZ3b9x2Pllv8Wvb1riXUxCxB8Rop4qoU0UAAA+QPRZPljuXvDYWVzkmb6Or93bLz24W29j+w5uz9v7axUUufUw4erodnY+uOZo6yimt91JLSiKhkRiGYMtxt7Rc5cq3uwbby1t7Ku7rCQ8TdulgCzGgODX5ceszeUeaeWztlvtySOl1FEA1FBDUx3SMCWB/InyPQcbSqMu+P2/QbnydK2ewVFRjIVdI8iplZfAs0tPoPpqpapGD00ukNIur6Hj3KlxbxmQqlNR6Gsbrcr4sA1RHh8uhGmNPj4XysmmB6xdTU6ysv20D6jGqI0hMWlRqdiTYk3NuPbZVR8PDozhtpCgFKYOTwPyr/ALHUir33ubGY+jqNubhocXWUdZVfxCkrMRR7ixeew9bSxr9v9pVS08cVdj6iJKiGqS+htS6SCfam0k8K4JkzH54rWoxg4wRjq97t8F7F/jAHiqF0kMyMCtc6lIbINCtaEAVBr1B6hx2Qz1Fv3ce6t/wbU662BjMp2F378jN4slPguv8AaMMMldkKyJ5o2p6neFVjIDHiMeqMsEMayGPSESQYcp8k3fOW49+pdrR6u5/LtHqxH7OPz6jr3Y91Nq9udhW2hEcvMEi6YYVoABTDOBwRTQkeeB5061vvnt8zk+bO+tudfdXYnKda/EDqvcNU/R/V87P/AHn35uarR8fXfIfuACSWbcXbu9KPV9jFUGZsDjZTED9xLUP7zA2XbLHYrBNt22JY4FFCAOPDifX1Pn1zW5o37e+a91n3nfJ5JtwkOWJwB5Ko4BV8lHrXJJPSB6K7g+Q3w03Jmd4fHftvc3Um99wYijwmQpMNFDmNuZqjxVZ/EsQ3ZG262nrsPus4upMi01HGkdRHDUzR/dKsrR+18+02V/DJ9Qo8QpT8sUHz8ug+Lt4SqqD4Knuzk1/F9vW7/wDy5P5kfWPz261xkVZHTddfI7bODwdP2x1NXw1OHpKrc74lajcO5uoFzc7ZPePWM1fBOYakK1RQH9iqCuoZ4D5j2e42a+EciMqyk6MEripNDnyFc0IJoBQV6F9rci5WqMpcDjgmleB4ZPr5jjnjZEtGiVMILgFpYQNQ1MQHWw1aeQB9T+fZKKijL8X+DPS1XqaHj/m61B/5wcEA/l4VeRcyRx1X8xjdp1gDUZG7G7dACgrZo3aP1340+5qiRZ7EBqVMa/7PQEh1R37ste+U/wCXrV6VKeWN45VinhcXQyRo8D8W1vGQZP8ANi30C8f4+wpuG3Bj8RqPT16FVvM6KCOOOlHtmtye1KynrdrZjMbSroz5Uqto5rM7Wq4pGAs/3OArsfKkmqzXuOfr7DFxGdJOMUB+zz/Po0Vy6gUAB/l1a58OflV878tS7/o+uPlT8ndx7l2VitoZLbPVmN3VRdgVWWwmVz1RiN3buOL7EodxLl8dsCkSmllx8bxPVCsF5ECXJdfQQC1DwhVWoBxxr1dEZGWFQSW8+J/2B0Y7D/zxPnn1juTL7M7QwXR3aVZtnJvjcqm4NhZPYudeaHS4dq3auWphDJVQOkhDUhZCxUjj2QybZYzR1Ze7zI8j0rhup0qkJ7QeBz/m6KNvP5Idddwdgbu7B3HtbsDZG4N+7jr9yZSjwTbd3vtegr8m6PUU+Ljqn29uR6GJ19KyNLIRxcnn2lOzW6pVDoWnE8MdDbb+ari3hiidFZeGMGnHP+rj1I3AVfbrLEXeNJoVWSWNqeSdErU0NJTM0jUzyQspeIkleQSSLkg24Kd18NWqpqK19PP7P8nUo3Dm52VZY+1DpP2Y4f6vPoI6sa465wyXWamKTB9bXWSqjupU2VIgLf65v9ePY68W4SVEiJLA4I4EdEsKJ4Epev4fPpqnfRSQgrqZZJXJYMqBioGhrsFBtyb3P159qTHV3FaytkniAB0yWKRAUBAJx5+v/FdXS/yVJWbsH5B3P6uv9lyFl9HkC7uyoNlH9kKePoBb2C+a9QABYGUU4dFe7omiJmJqS3+TrYdptTadTHVb8j06NJazC1jrHBvyfYNM8mgRMTUdELQAnBOmv+qvU+MrexAU2sqtwunWfra9/rcAfn35Jh4iLknh8vz6dRdK5Hmf2V6zM9mSw4UcM5sBcm1rXB5axv8An280wWWlCKmlacemZkUNq86f5eHXiUBtweGIOm4LGx/FtVj+SOPbfixtVK8fXq6RBSGzWn/F9YGbhgT+QbA2LgX0+rkPY8kf48e0mH1BTqdfPp2nr1FcrdfoCFvxwqi9iTyfVx+R7arTPTqnUdLfCeojsCdK6rA31XsAeTbTeyj6+6qwahY9v+Hpsgjhx6iSOhZWsLEjULgkgjgBTZAjMAb+080tCEFRQ9bMh/l03y6muEbkk6+CDpHHF+RyP8bj34K4k1H4D/m63rDjQOPmfy6hSODdVUnSyqxNjYDUf6fV7A/4fS/uuoLIdA7aZPTyg+GKnzpnPl1DkLW+mnSG5bhz9AASCLKQPqP6e0jRxhgFLUOa+n+o9K8LjgAP29N0y/UalsoIuF1C5/rq5JY/Qfn3p9M/+nWg9PzPVytMZoR02SEgMQWIuysxGlQWHCleGBNuD9PaYqEjY41hh9v+o9bQ91fOnQ2KhAUaRYMASPywNrAgED6Af09nSKY21EjQBQfZ0TadGK4p/qp6dS1XhtIJOizMosFNjz9bhhb8e3TqLjTTT/P5daPmfl11Ym0i8KQLNccAcXItfj6/19uhM1BFR/m6Q1bSAc8K5+XXYVuAtiSAPSbKWP8AasQQDf36Ns6/MnrbOQ4x20pw4f6j1GcaPwQCzjgjk2Ki4vpI1cA/i3vXaFzhq062VqpqK06hSN+kcD6aiSeCDcKARa5/3v3erRoaVrXiOtqpY0HGn+r8/TpqyDm+ksACgJYseADew/K/Tj6e2J5dZAfJI/Z1ojS2mooP2dMCSMuSoNTcmrh8g1D1WmDLf68A2+v593hfvFafnkdXMZQ1fKf6v8PWhJnZde7t1u7Lql39vKZmTSVAbduRRFOoKAGdSVP4/wBj7my0uSbOJSQsRj+L7OFPzx9vQosVEcQWaok0gn14Y/4rpuimtLFpKi9PJrKclAQiqF4uUKm/A+vtXHMZYdUgq58vP16dAq48M0NK19QfX/D0t9hSltxYiJ2cH+I4wKCNMbRGu9J9IGsgqebhvr7LdzYKTrU6DHlejPbY6wuqtpcsM+ueja1pUzlgY7LOmnnSWBnDaGQWKg83/PsA01xKbZhoU5r8j0ayK8UgDnWR1sxfy0SzfD7rBV1Ey1e92u3o4feGZ9Oi3BUAcn6+0aSHxGJFPQ/b1G+/tXcCTwby/wBXl1YHTqkDR3IVLPcaC+ljpBva5deTb+nswtlBWoNWHH/ivPoM3KsIMUoCKf5z6dPesBlGhWVrEPY8iwt6Twt/6ezVGk8NQmkKCP2Zr0idWK0PGn+T/L0raKwjQCTgqCeDcOBcf64/r+fZ5FGrRh0NH+fRKx7unSGICRdUgZQSQ5UGzWZdIvyGU3H9Px70UKivED/N08rAnHHp0RXdSFUHToLiwIb+vrJA/wBhb24jBlpkr6dbp1JDKEsBd2BsNRHj4+hW1tA/H497MgQeHpIJxjqtDq1HI6x1OSxWKgpps5m8NgYK7IU2LoKnN5bG4emq8tU802Mo58nVUsdXkJwPTDGWkYcge11laT3imKBS8nyoKfaTQfafLz6080cKkyEBgK5BP+AE/tFPLrVC/mX/AM6LsjB/Jah6y+MmPwu4uh+gd3bi2r3ntTeeNFPhPlbnFjyuz+xOvs1W1VFPlds9e7WgnmhwtfRIs77ghTIt5aanhillHlvlCwTbWlvw0izRlXU4DKaEgivAEUHrxoDwIbjeLy0u4rqzcpeRSKylTQoQQQwP8Vc8PlWnR2th9j9SfJr44Y35CfHrMZXPdU1lV/dbc+D3TJGOzPj12RHTUsdd1d2542Y1dPBJVQnF5/1wVtPJCzSuk0VRLCvPvtqdmruuyKz7ZWrLxZB9nmvz8uHDrNn2f95oOanXl/mZ1i3wqBG/BLigweFFk9Vrpb4q1BqCe1t94TbcZ27nIqTHZyunqKTJPMEEsk8c7xKkrLZmRXHp1fT/AGPuKdwjdo0p8I/PrJzbvAhRw1fEBzX16MBt/Fw5KKqoHr5auggp4p0DStrd2HoWQO4AUDi5DcHn2RShlcKgoa5+zq87tHpkUmpNCPTz8q/s6Z8p15iaeCbc9ZU6IDG0FPQS19RAlNpb96VjTtqPjAIQKDqFgb39mUMJIqKas0z/AD/LrUlyrztasKkKKmlFz5V9SPXpJdHd0fH5c3memewN547aG99ytvGjj2ZurG5XA1FZsySjbHZLLYvKVlMcPXTT4ur+7EImaXwyBiOCQPeVbq/2ne7HetvWRry2uY5E0qzEMrAgrpqTkenDqP8Anmyku9on26IK1pLbtr0ui+vYwalFI/EDivAgdao++tqRbS31urZtLmKXO4/aO6c/g4M9Q6jSZfH4bKVFDjMrTg3/AGK2hp45FNyV1EH8D39x/tlzBNzj7b7HzPc2729ze7VbStEwoyM0Y1KQaUqamhpgjr5U/crY4OV/cbeNhS4Ways9ylAepbUpYOMitaV0g1P5YHUXZe+N19d7u2r2N17nH21v3rzcWK3nszOwF4JcVuTbtdFkMZUnxlfJFUzwiGqTVpmpZXjYWYj2r525T2Xnbla/5R3+JZtl3G2eCVD6OpFeBypyPMEY6Q8u71Jt+4QbltZEN1akSihIICsDTioJbFc6eFQeHX0Qvjn8n9sfM34wdJ/JXasMVId5Y5Yt3YOOTyybS7Dwks2F37tab1FwcTuKlkWEvzLTPFJ+lh7+R770Xthu3tFz7uPI+7KxksLthE5FPEgapjfGO5CCacDUddb/AGn5ig5x2CDe4SD48A1gcFcAVpWlQadvyI6MVRSo6oUJUlQx9eorc+okf05t/gfeL0MqmgLAP6dShcIFegGBx9OHTorOS/PLL/UXNrg3vzYH2Yxykkhj5fl0VBGepUUH+rHUSOZwdDlpCAPotwB9AVt9QAPz70HFdJ4fLHVDqBoTU/4P8/Unyu5Kk6gF/TpCqASNOq3NyOP8T7cKtWn4Rw60GriuOsbSGJlCLzrsrEXX/XJ5Kk3496B01pjNPtPz+3168TT7Opkc7Ne2pGBsACNNwbnluD9fr7V6mkjKkA4z1saGw5NfLrBU1DhwQ1uDe1uD9AAx/wARz7TTNpoR8PmPPra0AKYyOoTVToeVJCmxCC/qZhZgOGAt9f8AW9pmYk/0f8vVFLVz/qz1mYlhqQ/qaxJFxcXBH1PH9P8AH2wWI4Z6VjUTTz6b6yoKLqZlsygH06jcNpsqj9bNwP8AevdJJSIiycVBA8s+n7evRqryhZB2UFf28fl1TrvPtCg3P3H2ztLC7hx2a3f1rvypwu7cJjspDX1+zMkcZT5OmxsmWwU9NE+RNKy3pXjk8LMY3ZiGA5lfeG9ofdL2v5oTm3n/AGq82+y34maxuSCEmjqaaHBrWg4EV+3rJDkPmLlnmnZms+X7qG5ks/0rhAatG/GjKeBoQelJvveQbYmFrcllM3X4bFSU7TbfxFPTyZXK5jIxsdp7b29TNTvXnI7gcvCEiDCCNZJiUEfMFbBsm7837zFt9oJrgyEABaaqip4nOph/lNRTqVOT+Vjvm/rte2GK3lkGuSZ8RwQKQJZ5m4JHEDWp4mijJHRJuq+g4/ldWdidjdnz7m2stDlqvC1eVw9Oqbb6nxWEo6qkxUGTwbRPWzYXb9QkSyxR+HRTpNO2p3JHQr2w9l9kvOVHuLx3Q+I0WlV7Y9AAOpeJpWnAVyeJ6yp90ff6++7NuOw+2Xt3ttpfbINtiuXlmfvvWuHYExyDtMkwQsXJotUQURB0bL4z/LDGbA3X/suXZ3ZuA7X29iqaOq617/2otfk6LF0q0zebHbyiniasiw9LSJ4KiskZxRRnRLIYwsiw7zPyJbbZvM+0QM10BGZIriNT+mQOEgOaEVBOaDiTgdRL71+xw565QHvx7fbXJsW4TuRuWzzNFSRwwHi2boxjLs3f4SlfEoXVQwYEAPnF82MTtDt7uL4zfJDpz+6+2M/1rht1dIdlY/c9bkMfuzcOHrYazbeShyNLj3o6Tbm5VmlppUQVDUFdSolUwSdSOh3sL/d3D3X+79afeE9nd3G7+71td6Nz2lCkb2kK6g1FLdwaMK4egDBq1weuWsP3jLXkb3fh5B5yik2zlOtI7qUEJK7sAUcUGmRXOimWFCCBUVKntPNT47bONrVizWTwlaIaiHM5jI0sFZicikP3sFLTtHDTQ1mNmEimnZQGie6i6H2Cd12242/cprC8jMVzbStHIjHuR1wymlRg+hPXSnaLuG42+K8sJfEs5YwyFeBUiqkVzShHp0JuSz8WY27Fkotx0ldNVok0sbVMTVFPrDGSmlplU3CMFu/Bfni3ssYLTs+D/L8uhd3vbBjJUMOFeGPTrn0btLfXyC7YwXUXXRM+YyEElVnM7Ok0uI2RtKldKbI7pysY/wA8lOZDHSQXV62rZIV/tEDXlvlp96uhapipBanAD1r9nUSe4nuHbckbdJeSUkuCCEBOWYDtHn5/lTqsr+eT85Nt5DdlP/K0+LGUnxXx0+Ne44Mp8o97U9S4yHdnyGxcAr6/aW4sjDf+Lbe63nMdRlkBMFVuAxUwHixiKcqti2ex2ezW0s0CIPLzJpkn5nz/AGdc9eauZd25n3KXet4kaS+mNSfJFHBVHkBXh/hJPVcXx767mo8ZSbyzlPLDnMpF9xhqaa5qcFiZbGmrZVkYiHJZJGErMbtHCQv9o+zqL/cgLjRnzzXoLzGlv4hqQVr9p6M7Ls8VpmqKOleuqGkEdSqoWjp57WUmfUpPpXWrEjUpFvofZqJgqjhp059R0XOjCMFvg4f8X1O2rnd49Kb62j2nsXeqbA7D6+y9NntrZuGqo5KrF10IKDVSSx1VNX0OQpZGgq6KVHpqqncxyKQTZm5tbHcYhHOAWU1B8wfl6Gnn1uK8a2LeHl2pj1UHy44r1tG/y+/5zPUffc+xun/krm8Z178hcnlqDbWH3dj8TPRdS9t5irrFgw6UVRTieHYG8MqGWN6CrKUM1QP8nmJkWJY13zlGylbxLWkThsUyDnz9PTGOHDj0Ira/nGa1UrwPz/yj869EC/nu7A3R1V/LZpNsbzxMWN3FN89zu2BKepiyNFVbd3fu3tTcuCrKasp2AaaoxOQiaWHh4ZLo3I5XW8pWFragqqgH7R5D8+ixi3jKcrqalD5ZP2/l1qY7TQ5rI43HtKaSOurFpWnQLO8GuKZ4mVWdIpHaSILpuLX9k99MoBotWp6/z6EFkGYCjHXUUH2dDZTdbT2V6XP0swvCWNTQSQyHkg61hnkCg2J4/wAfz7AdxOqOSw7WNOhGAqoNQGvFf9Xl0qNr4be+ytwUm4sDJTSuKatxWSpcXuKu29kK7B5ZBDlKSjy1MtPU46sHijqKWVWKx1MKawULD2UT3CSxG00DTWvHGOFenIYZHcNG3DP2V6UPatTunsLfldvCTAbhlWpw21dvrkcrUYuv3Flots4Clw394Ny1eNqZ6eo3DmDStLUvGWBYr6ifbTzJJEscjBZieA4AD19OlqRlZCUFSfTzyK9Mm2cfWRZmijr8dkKNRMgLVlHPThdTAKAXjChyBf6/1P59lt++q2EbMKLU5xkZxxqPy6c1KZqzKQrGi/6v8PRwtz+jDTRrbyrXpGyhimtVqolVvTbgEXseLDn2F9kkWbeSYiDWvGtOH+DqbHKpsMESmv6a/P59A67ktWBwLho1VAyx/pkrnDsIwbNqJHH1H19jhtQlWN86+B9Pl0XW8RdGoe/Bp9n+rj00TG1LFocoU8jpGSWcxslnNwp0c/S97gj2oKXanxYRSJQft+f7evSIAoBrWua+XyB6uh/kqzIeze/lRmH/ABjjZxa8YS6pvLJhF0g218m/0/r7AnNhHhITi5LVP2eXRZu+kLESCFANTxpw62IaedrKAzWJFrWUKAAF5Jv6je4+v9PYMM0hA1EHB+0f6vXomWmoVz8x05xyBkZQAdGlbgsCjXufURq/PJ+n+v72siAgoMjifU/LqrDUD9v+XrMJLCwcaQVJ4Frfki/1/wATx700mqms8P8AP04qipalQeFc065NICASQlyFN+dRFz6VU8cD3omo1Hy4dbdgyaM+X8vT/VnqO8oY2Ba3AHH5F7FAv09XHPNvdKuVJXDcK/5OmCrMaIRU8a/L/B/h6wswKnSQZLWC30owUBj6tN7j2yZDhTSvT6gUJzqr+X5dQ3I+lyNQZwV1XAW5IJseDfgH3QMSdR4A0/Z1VqB1DcW4fl1FdwFJ9I0gg3typtwTyQfz/Qe6GdQRxp5/Lp0YPD/Z6hO1wRb6iMek/wCuRc/q+n0590R2YMQc/wCqnXsE6Rx6gN9XJN7/AF5/USbAk8h7lfz7ZMh7oJj30wfLh07EDrr5D/Vn16iSWs2oWBN7ggMAf9SP6tfj+ntt1Phg6+84B8v+K6UOCwIBI6gTAAAngKCG5INvqSbE3sT9fr+PevDidAGP6qNQ08/s6sRQCuT1Ak1G503PqZWPCkqL2t+SvPB+h9pmIUDX8I/b+fXjVRkdDRG3pCpqBsCfxbj+g4Jtz7NlaPSsb11FfInNOitwPiGepCEsCGB4JtpuSFH0UsLBh/UH8+3lZgwUCiACnrSnTbaj2065AqAwt6SLXa5FuOLcWs30t9PbiSdocnI+XVFiQCqg/wCr/L14Sahxfk3BIso4C8KeS3497jetWTGfsz69WKCgoSKefWJ3K+lQB6SWP0uwJuVH05+n+Ht8PpbS1NNc/wDF9NNC2miE5Br/AKvn1AllW3C6b2vYE3/4OrEhiD/Q290Zw3avD0HVvABWimj06T9fIFJUE2ZFYaQfTpf+pBJv/vJ9sPIRMImBqwrXpjwHU6ajjnh0mfL/ALkKV7ubVAIuAAFDX4B+o4Fifr73C3iFWXFDToxZVC1PAdaCeWq1m3PuN9ZKndm6XCgarSf3lyx5Yk/tn62+pH0+g9zjYRQrZQJ8UboOPr8vz/z9HNsnjxi4YgnQun8hQj7eo9NV6GgSRljKw6i8Z0h0IisS5LWCrx/iR7XfT6GWUMSF49OqQZKN9g/wn7Oll13VIu4sCruDfL0Ia7elF+9kGotcAMx5taxPI49lu6SmRSxwmmnDJH/F9Gm30GqpOCKft8/y6OJPLpmkOkOPuyQ1rlnViqFnWzWN7hfrz7ATtCa+DQt6Uwf5dGCFo5tWPD/2fXj1s9/y1gqfD7qdxYFju+XyEX0s28Mz6+AQFb6C/J9oIkZGdZB38fsB8uo55gcfvWQRjHbTo+tM0c2tlJAZmSNlDKlxZSW/JK2sTxb+ntbCIwpDfLh6evRGylsSDSD8/wDD/m6fIW9SIjAqCt9RsWHpGkE8XW319ncTl6FQNA/b0WGtCPw9K6kjJjjd3UESFzpYKAPpf6ixUf7D2epbqVDqc0/yf4eiJxRs16dgx/DhQluR9DGzEf4/qI5/x9sMZlj7+B+XXgWU46n00j6XZLsukMGfhdKgfpU29Vufe4DSPPxU6U0NMeXH/V/q/Z0ST5j/AMwfo34a46XFboqoN8d1ZDHpXbY6VwGRihzbRTqDTZrfeV8c8Ow9sOpDrJUI1bVpf7aB/wBQE+xcuX+8yiQDTbev+ryP7ekF5dpAuKVNc8RX5DzP8v5jrUk+YHyS7P8AmrvOm3f3zuOpzmPwhql2L1ntuNcH1p17Q5Ax/d/wDEyyNWVWUqjEizZatmmyNRp9LIgCLOGzcu2e3QhIFBl05J/yen+o9BW43KWV2FSY68fPy4nzp5enAdVFdxU+a6nyX95KWtqs51Zkmaj3Xj6mnebcXX0c5QUm/Ia1HafP7ZxlSujLK6tVw0kvnvIsRIM50eGn8IHl/q/2Omz3AOMCn7f25HRqf5cP8wLPfy8fkm/YeQppt4fHfs+hotjfKPrGCOHLUO9Os6h5Y4N64bGOzUtbvDrmKtlr6B4hqyWLlqqHVpnjKoZbSO4Vqj9N1IKnzrxFPLpVbXc9m6SxsyzK+pGBoUIIIIPkBTrZE+ZnxWwvXh2l3t1Nupuw/i93jR4fO9Vdj46vmy8O2Zdy0MeZ21hsllWOufD5iilV8NXSHVIqmnmAmVWkxt5+5IfZW+tsAzbUzHUKVMZ9AfT06z09nfd1OcrVdg3lki5jgUFTgCcDGqh/EBxAz0UHanyMl2HJFht1Z9qaBvPjYMsI5Zo7RMdSSNCkpiUDmQva9uPcM3FkHl1xjsIpQ/5/s49ZBxbokMZWegkBx0K26O6t8br2ua3qqly82NoFNt2w4Bdy5PJSosn+S4LbtXJTQxwBgdU07B2k0/Refay0hKSBpFBA8sVPkAPn03PL9QAsR7OJ88cScVwP9jqsb5N/IHcfZdBtnGmsUV+2Ia6nfO01FU4nKyEmOHw5jHz1Fa+L3LFJHJFWmColgYaVQgXHv6Ov7tL7kltypss3uj7wbbFPuG5RwtYWlyit4ERBfxiDUapAwpngK9cXPv5fegk3O8T2/wDafcXi+mkYXl1Ax72UgeCOBoCO4kevy6r+qVaQPCuqCeqHjkr7+tfKzM0ghcful7EsCPqLn323eJYbbwrcrFEigKoAooAoAPIUGB6dcoIZYZ7gLfRs81waySlipcsSS1Bk1zqDUJPEdNZSCkpnhppJK5ijo07KniYt/nNAuCWDWP8AxP491S2cwFfixUGtc9FgmghnfQal1K1oQKH+ian04+mOtiT/AITw/JGpxO7PkD8Qs/XscVvbBUfyF6spJpXCw7s2XJRbf7RxlEjEIGy+1KrHZAooBZ6CZ+bsTw+/vbPaOJ+XNt92dtjP1ET/AEt2dI+EkGJiRnHcK5JqB5dZ+fdB5pNvePyncSA6l8SPzoDWgrU0J8lIFApNOPW2VSfoiks1wqq7La3NioQgXt+Dxa/vgTGEBLUzXBpXrPyUKw8Rsua1HD+X2dOpOoj06udX0/wDXVgb2J4PsxTSzUANR/m6LWCqBw/b8uuSoEiYlAHBJsv1J/JA/SOP8Tf2qjiQLrzUGvSZkUgk01U8j+zrjCzMSSCFJ41AA/4arfkDi3usLmRy1ap5fn0xmueB4eXWWQcKn+qYfmxBsbnnm4B9uSKukmvcM/n1sZIU8DjrpSq2AOoLx+bi1gASDcsSPfon1xkAEUOetyBVII4dQ6mQcr+lriyg39JP1A/B+h9tyEMxY9UZTXSfy6jBlZmYnU5Zgy6uFAFgWJHPA/2/tI6t0/HIIwQ693D+f8+uf3GkBAw0ta+olja9yQbBiQTzf8fS/uhkUAKB3N5n5dOAEsQf8HD7OgZ7m7Roeo+sexu08g0JoOtNkbr3vUCeURRSS7axVXkaGneV/Sgqa6GJOR/a9nHJ+zf1m522vldTT62+gjqaAANIurJx8PSXer1Nn2G+3SQ9sFu7DFa0U/sNfL8+tYb+TtksBJmu2e5uxNkd1b13V2tRZTIb/wCwKTbsUPReyMDjM5k94bw3Vk97vVvXbk7NyWYrkoaHB0tPLUMstjpQs65yf32nK203vs3ypyre32x2Ozcuon08PisdyuZSFjOmIKQIkQVrqUE8CTjrF37h1xzRe88XrbMt/db9v15pJdVS0BLsI9UrtpBZssclAaMQOAs9ufKvZLOvZ6diVHUtD1XlszVbE2dk8Im5P777HrKF8duV9r1a0dTBD3plKTIino2ydqClpJC0ZBp2R+Tn3Hfuvbp7pbnPNyfbz3G6bcA8pXQYhFPVVZ21AqRpIJUEAEUzXrun94TcNt+6d7Ux7LzFBZ39xzUiw3NyXkiuIryEGURwqBpe2XsZULDxGVtalSB0dr4fd8bG2ft/aG//AIyVkc+3+9aLFjdvUHf/AGCnXu733ia5ZWzu2tzVNHkcTncjWYIstPjEpqaOrCl/LHG2kT7vFhFybzHuHL21/TNcWt7JFceE4VTMjaXC1pVq1Bxmnp1jDzFbc1c68v7X/rtR7jDJbbRDNYXCwLIVspF1J4qhgBGKChrVR5Z6GT5o9jdfYelNHtzH7S6939u9cfgKncGa2u+GWHZku4qLN7t67w+88NjZ8DS5XeuHwx1RTeRTBVB3ISUt7jbnvdNtsoWjRILa/ulEet0oPD1BnjDhSoaRQR+efPqYfuv8qc3cyyrezS7huvKO1u1ytokviUuhE8MF49u8iyNHbySK/aK1A0ioWlbHWfcPUHf4wPxS7u2/Hlf4bun/AEq/CrcO6YH3LjIMNjsvOcntnG57EVFTDvLDYPErHC8IqWoBW+Gmn9axoMd9q9yPfj7uVrvHNntRd3mz7bfBodFTpMEx4dp7iqE+Ga1XPAZ6HP3ovu5+1XuPd7bz3tTbZum+2EMb77bxLn6iFFBvBGwAiZpQfFBFTQMCW1DqZ8jOiPkX1vUTY7DUnWO/+v8Ae2ZwmJ28tLunG4fOCu3LuCHCbc2icBk4Ex1Ju+qylYlNFHDkPBKyEKyMpX2Pfav3MPupcWuzHXc86TQNLMoZWZ9A75XZm+I8WAJPpXqH9u9zOVdk24Q38b2lhEwiDMKJgdoUcaeh006r47KxvbXQeaOP7L6c7H6VnyUOX+2qt/bbyWNpMxTYSBarcFZg64S1uGylLhaR0erqKeomipkKmRluD7lYbPf2zurxS+LEzA9tVDVII9KjgfOvQosvcDl7dio2u7t5FP8AC9GpSuQ1CBQ/nXq2Ov7fH8qX+UPv75VU9BTx/KH5L0mFwfVVPkU82Rm7B7QiqqPqyKZai0r7f622n9xuSqQr4pjTyuyjyIfeTPt3y/Ftu0xTOCJpBqavEfL7D6cOsKfd/mn9+81Sx6y1jbOVABwT5kU/Z68etIrp3ZDbo7EaHJ12ZzVHGlVuze+eyYkqKnP5irzP3+Uly1ezO1Rmd5biqWqqjkl7ym4U+5CeRYtT0otCeHl5nqJmckn+H5Z6P7le49r7IlWnnSHJ5M8Lg6WSzMByFmqAHRZBYfQ2SwAB9+iVsTJShrxzWvSY+G1C3Hjx/wAnr0Hdd8qt8U4mnx+E2/jsREjqsP2EkrPG19SVFRJMDKsVv9SAHNxb2YRmFGAbic58vt9ek0sTSEq1SnpxrTzx0Hf+ns7xqfBubFQ0jykJDVYSOVIIV1cpV0jyTs8BUi7ROHDAnke1qywmJo6CpPH/AC/6sdMGBlk8cGhQUP2HJH58OlFTZRseUrKCrH258FVTVdHLJGs2mRJoKikmhKT+aCVBIjqVkilUMpDAWKmjt9HgSqGkJr+Vf2dKkkkmJlUAKBw/yfPrZp6z7Cwv88P4H7m+Bvdm/wDKYH5idRYWDsfoPfFXUUtMnaW59h0dfDtHcGfSIwDNVlDTVv8ACN10spKz0VVHlY/3UkZAhucFxbXIYZgchQoFST6k0JwMU4U88UK+PTPGJFrQf4fT+XWofsmnzWG3fQ4PcOMq9u7lwu76vAbiwVcjR1mB3Hg8hX4XcWDrFcL+/jMrQTQFhbWEuDb2GN2OjWK1LLinlx6OtujAkjetakAimRn/AFfLo42MkMgs17qEAQM6sZNOkBwoPGsi39m559xleSSZGr9RcV459ehva20esNqUx8CKDj/sefEdKoS+JItbopdkXlkBLhW8hVgbXuv+IP0/PsqjuDIzPJXRin29KpoVEY0ClD6f4epi1jIEDMAOLAlQb2XQAtwb3/P0I9qTIJe2nec18qdJ+wPSn6lfX5Ux/n6XuEyMtTSVcLzMUlx1cEMhJ8c0dLI66NXKR+VFJY/8R7K7pn8TScEcCc06UwRqQAQTpOK+WOI6XW65VbGuHsry5SkdiBcL5JoHkEQUhmW5axsAeb+y/ZokG46PEAJYjAoKfPqW/wCy2KElK8Dx+XQKVahYK6SPUAs1Ml0VTfWawklbamZ1sxt9L3PsZg+I4icgKlcgZP5DpDC4aNpUOKBT5cemaqqL0aNcxrIrKZIgCpAAsHZwxC6ef9ce1JuEJ8IlhFTLen2jrUniuoZgMnq5b+SjMn+lD5AxgEMetNoOyFlazf3zyBsGIszPpuT9B7APOTKXVye71I4jOT0m3JNMCq/AKT/q+f8Ag62LadyyKr8FTdRq1XsOQb8qWT6f8R7Aqk10nIPy6D+Xx+Ak5H+qvThHJck3sLAkEX0ixW31Nyf94HuyEaSTwHD/AGeqBJCxbHh16mBvR6Sx5JUatB0jkj1erSP6fn34NqcCnbTj+fV3bQlUyajHXNmsjM99LL6xwL/QgafytuD/AF96kZEJYt2fZ1qh06jxp1jZgAw5QDRb6qQ2n/VWuCQfoPbdQXoKkU48OrKARqyD1GJvqsdKNxdRp/1mUGwIsfr+ffgsStrWmviPPqsbucmtM8cU6j8oLtz+thxwWawNxwxWy8/09sgjSzNgg+nGvThAqrfw8PT8xw6juWZAVBK2BDCw4U2JHNyL2sCPx7b8MaNUBOuv8vz/AMPVgxIGr4fl/LPTdKrNySeSLLYgAE/QrfhiRcX59sP2VUnJA/wenW9NBU16jO6+oABQWHNtKnSuplPHHJ+v5Pty28IRVmoWJp09GNSER4cca/6q9RJbFNTWe6jQoPqLLzwOLIVsR/T21ME8Idx0gkAefTqBydMlKdQHuRYAE3PC/qAA1ajq+pB/B+p9pARhjx6dZdWfl02yWsfVoNm9JJuxLFv9YsQDY/n/AGHulU1ajWo6txTI4f4OhrTggH6ghiCOCDfSCtgSxuP9h7NolcS1pUrT9hrn/Y6JgNB1Hh1mDANbSAunjnUwBF2uRpILMebAg+1tG1EUPD/J/qp1vUD12sg9P1t6Qt9JBJJ/UT+kgf0+vvUTs3f5DFOqlg/AddM5Vtf1uP6FSdLNxf6ej+o5v9R7e4jOVI6qaaTTyHUR3JOmzcnUL8qEYEaWN+SQL3/Pvzhq+GRgL8v2evVEuaDTTiflj5fZ03TzAlwb3Yc3FgoNhYFeAABYf7z7bjwuKD7OtuGZCVA1HpO5Gf1fnhQFAuCVH4JAIuD9OOB794utypBqPX/J0x4DeZAbpJPUA1UDhk4c3KgsAFV3sbtYkn/bH3SNQZA4OARX/Vw6WyEhcU60Caurvns8+gkzbk3EUGohg/8AeHI61W99ar5Abg2B9ztDjarfNKIKMP51+z/Z6Ptv0MiSIqgFRj8s/Lj1Cp5P3VAdm/yWQHRqtKwMRLyA+mwsQwIBv7cVIfDqJGINa08zXz/LpxEf6hnPAinyx/m6XfXk3m3RtsylSI8tjggQj1AVDuAGCgCNEP5b6H21uSmWMDCBRx8v5Z6XWUgjjYSZqwOPtwOjmS1KmSpP6QaxNKKGBJ1sDc2Z3fSOQOL/AF9gnwEibWDSn7M9GkCk68jQcgUyKH/UT1s//wAuScp8NOoZvIYmI3TyCLMDuzMEoL3AZSLW/oPwfZSyd+okFx1Gm7KDuEma6jWvmPl0fegqVb0gOYXQN5F4VbuLlVN9IKC5J/PswtUjkNS1SR/P/V6dEM8ixpoGo+hr/hPSghvLJEqFglm9QZbf6qz2u17D2apCyOH1YApTot8RWJWh004+XS5xqlqeMeSIag4U8c/0UL9SwH+9+zaDUy0Q5B4efRY7LqyCTTp5EcsUaJp1mx1glWuvOq7aSOR9D/X29KpJEfA8a/5Pt6ojUNaE9Vl/zPv5i2F+BnVWNxm1JMVlvkZ2tj8mOqtu5BKesotmYGikNDm+3N1Y0vGZsThKr/J8TSyELkst6SfBBUECblXld92u/FlH+Ig8fmOIz/gzXzp5odx3AW6hR/aZqK5+z9n8vXy+ft3V8vN77i3huLMVmT3Bmty7lytVmtxb23M1ZlM1uTL1sgeszFdlpyZcpVVTfRvRTxRqI4VCIAJzhtrewhWKBAFUUFBx+Z6C6vNc/qzkVJwM4/b59BPgu+exaaplroNxQyxyuPuY3EKipsgVLiVGjlW5tewcDj2sRmU+Ix8j68DT16TtpdWj4AH9tP8AD0MY7co99YqbGZJUxeadWSGd3IxtVJJH4p6eaOp80dA1Qkmgka6dtRV1AJ9+SQyFiBQCvT8fYakkpnjx/wCK6AkT0WMr4NmFqfG16GaHbWHnaSmFdTU2kyYfEPIUgWvxcJvDSF9clKCsOsRafbcvawYDuB/1Z6uHR6gjzp1uG/8ACaL5X7W+SvRPyK/lQfIWKnzVD1pQ12+umMflKhTU13Sm88s7bq2phZKqd5abIdP9iVcVbjmhiLUtLloGSy04sW39nDPG8MoD20gIp8v9WR0a2G43m038O57e3h3ULhlZfUfzz5/LHTvuL+VB8mN+/IXfXRGAyGG2BtfaNdka7/Tb2PA8m3977fhgo6zDZDYezMXPQ7n3zuMY3J0q5t6SWDF4ipYieoEkkUL43bryBfWF7P4eNrQlhIwJ4muAKsccdIovFqCp6zLuPfHYG5Zsb99cu+ToFaBCoo4wxLNQKKjFTU+Venv5Gfy4Yv5ePxO3P3Wnyo7g7H7Rpd4bM27htvR0O2trdMQ1G9c3DjZKWl2zU0O4N61S4nGw1dRHLLmtcsoQNGI10+8i/uceyPKnvd787PyTzCZn2geJPPoUAMsCs+mtQaMQFzQU48KnHb3t+8/zx7e8hXm8bFBawyyFIotbMWQyOqkkjUKgMSAKgnrXlz1QzxVeqTVLUzyVszMqoJauqnaokkZVKk65WaQ3Fi5vf39dWxWFvt9vb2Vsum0t4UiQcdMcaBFA+xQFx5DrhFzLvNze3dxdlwbya4aeUkAapZG1tgUpUnVwoSc1HQW5Cm+4pQkzSShp9DXPMsdgjASgNMzEn82X62Bt7FxjjmJjYAJp/Z+XD/D8+iuIS/u/6uVz4iyVzkt5dpNSSPnjjTh1HnhSCmWKFACWRYwjWRE5JQ/QsqlbX+gIPu6rpj8NMKBT/Z+XRdbTRST+LKKN4gapPlU1x5+WfKh9ejIfAHtFukPnb8VexoqiSmpaDuLb2zs8dTJHUbV7OWq633FTVAVrPRT0+6UYg3TXErEcD3hv99fkyPnX7vvMuxzIGb92yTrivfBR1p6cP2dZA+xe8vy/z9ZbjG/xXscekHNHJXUQOIAJAORnPX0TaZJY1eCwL0plp5HDXE8kEzxTCNb3ABTgjge/kNhEqJ4RFGjAB+0YP8+uwdzpklLBqBhXI9cjpzjaQ6XayrpsP0ghr2AJ4JAP1H49vxq3xrg+vn0XugHbShHWT/NyHkulvxyNX1YqCAdNxYe1lNI1VJr86dJZCVmJHl/m4f6uHWSORCp9PP8AqSRq+n4UfUtb3WJkCkgBT/q4U4dekk10xj5/5uubMraSReQg6AFuq8en+lz/ALH2+dDJgVJHTdaUIw9euAUpEVDAnlnY2JLkc/gkCw4PukK+GKN61+37etEE93GnUNzzEFcFhqDA8cWFvrc2AH+8+00pD1phhWo6uhOsAcT1FZmElkWxN9JsQORyD+SVNuOfaQnSMHs/wdKlDs9SRj7fX59RiQFLu1wDa9wLMCbgk2AXjj2mWUsWMnwUIp86/wCr/J0s8Ji1WpWn5fIfb0Bvb98vsbeOJqI6OSHIbeyNK0FZSrV0mQjdfJLjZqSzLNJkkXwR6lILyLdW+hij3X5nvOVeTp99sZpYNxtnjaJ4mYSBg1RpKkMD6ac+XDoR8vbfFd7jHBcRia3YUkQhSjA4OoP24HE/Lqmn+VN8VflB0tu3fe4N29jbY6++Me9tw7x3NgfjxQ5Wg3bmd+1OTnyFPgq6WhloJafrfEY2n0LUCnlXJVohWGSONF1e8kfvz/fM+6P94b7vPKex7VYXW8e/lls9pDNuUhkgFu0cY8ZHUlHnd3LDUQ4A4GvWPvtV7Re7Xt57jb1fy3EVtyFPuMk8EMYDMutqqyOKiNFFDoWgLZIpxZ/mb8Ttq1mbrckmysTUYrMyvXbi2rg5KjIYugeSr8eQq9s1VO0FRQZeWmQtPjZHHnsEBLEX5jfdv+9j7j+we/3A5U3Bts+rCQyMra0eLVwKtUMVqW0sCSeBB49nOReZeQve7lWz9tve+3g3V7N9VjcXQKMZVXSiPICrgVIUSKaAEatajB7+qMR8fPjvgR17jIdmdlbE3tsTsH5A9F9tmuwp3NiKfZOysRjt37PzNAYqHN7e3Fja0GkxsGGcsaNpaaeOGanfXnpby8v7VW5N0m4ruyTbkl2XRmd6apUb8XigkaVTgpOKjEEc8j3S927ubeNwiuNivtiu9v5fvNrhjmWOOG6llW2nioPDa3KqzSSz4Y+GysyOCdcn50fzZfjPt3d28drYDqftvfefyuzMfmMn0vmdz7Lxvxl6w3nvDalN56w5tKabsesovuAmTgp8S2OyISfR9zTlxoLeTOXI/c2X+uM6XEfLjSrot5tEkJdBSQxqwdtAIoGZlNa8adDj3T583r7qGxr7Q7a+03XP6RyKb+zjvLfcRayOxtUuGQxRayjdyIswZQrAhmBUOP5eXWG8evPiL2v8ydzw1GG7JxNZuPfWz6DfOTiKVs2czWNbGbg2/tvMslXg8RMZlrmxeuRsvJTwVM2vUHYjh5e2D7wv3ueS/u5Xs0icm7juNvFcC3bOgt+qO06SBQKDmgalQB1H/OXuHv33bvuo75zrc2Gn3U5h26ae4luNXZAoYQq1cgvXxCSAThm1ahS3j/Zquyu8OiNg57sHclBFnXrundy7woOiN042jfcdPhM5k8/QbLzXW+Khr9ed3S+0a3K5fEeSjnoFoWmVo6Y29yV70fdl5u+6V993cNh9o+X55fb+4iNraX1/HLFBAmg+LMroixuqqlQ7NRicknrCH2u535W92vYyz5h5n3CNOZVXx7i2gZJX8QgERDUWetSFIHkOqQvmJ85O2PmZ3N2t8jV3HVbW6z3Q+UwXWmKrUrp8LtX4n7fz1BW4HaNVionnkhr+/V27/E92CltNW0edej8ixIirlDy1ysk8TWkgV0SryMApTU2cEDIJyDxb4jknoLruVzZz/UQMVlIoMEHSacfMMB5DCn06zfzgv5o+2v5m7fDiHpjC7g2b15151Pmd8dhbCz2MqcfPt75Lb6qG2juPaSzKEpc9hOtdl7a8OLyVMrUs9NnVaPQwmjjXR2xtg8QA01pQeg/1fl0kll8ViASzMcknP554/nXqvCpytL1LtXGbToBCN3ZSmGWzSj92rpWqkNj44xJUzNDGPHGNIUXJ4491jgN3NSUlYlHD/P8ALpl3KR60oFFcfs/meg6jpNwZ7VJj8Es+Rm1OcjmlNPTU7tpcTPBFJJXVEqqb6B9TwbfX2ZUrIIQOxRx6TSOj1kAoy0PlnqTm+toMLRjL7/3KZpgpnhpslkKHbOGHP1+xqqyFVgVOR5m1v+Pr780CiaslAtSK1Bp/OtOqfUuIx4IOogfb9n+z0CWc3v1dA0sH+kTFCK3ikotnxV+4JHjjQmWNa3E0c1Imu4TUrkof8effnmghRkWrAj/V+fTzwPIaAaDTzz5/P/V59KXrntjbOSqH2xhVq6LHhXqsGtVTV0UxZE11Tt51Jp5pwQ1mN3INh7LFuIXYKNSsfUEfzOOlUaGJacU9fn/l+zo1XT/dG+um9+7Q7N673HW7T3vszP0249qbhx5kM1BlcbI1tUQkUy43IxSPS1tO7aKymnkjYANw7ewxXEHhkDV5N5ih4gj06atpWjlJ0Eg/s4/Pj+XU35Qb7pe2vmR2J3nQ7IxfXmI717Aoe2qba2IzFdncFQ7izmEoYt91mPr6ympZ6UZbe1PXZCWgcEUDVniVnUq5jPdYzZzyo4Ux0wKHBP2/y6E23/gbjVgfn1LXctDhad6msYLEtiH1DS7aCx8RK6hBL9PwNV/qefYCm257iSkCirZJ8uhRaPphahX5V/1cP9VOgyzfys6hwdXDQ53OzwPHU/bzGixlTlY6U6f3JqsUgknpqNL+p9LaRc29tW3K+4yB0iiX5EnH8+tvvltGngzMcea5r+XEfn0Z74sZfq/5j97bA+PHVfdGy9v7y3nT7ilx+Y3RtvfldgKZsDg6vP1cFUdu4CrrJKyopce0VMhKI0joWdVufb0PKO7qDJdNHFGqZJNeH2Z6S3G9beJEa3VpHORSmKeRr6/8X0dfu/4mb7+MlRt+k3jvDY+7l3b/ABqgxlXs1Nw0j09Ti6KnnqRkaTcFDTSRU8seQUIY5HBcEED6kF3sJgmKTGpIJrwFPs49CGyuPq4xKRpNOHp8ugaz9dSVeNkqYBUCjOaWl01JjZkmhnjppBI0RfXFFUglCNJZQOBz7LrLwRfdgOplJ/YK9SnazPc7NHLICsSnTjgaYr6486+XQL5WbxwmEObKKVSFkC6j4ajXZyWuZWUG3A9iyMmNUaIMZ+Pyp0zEsSRyk91SDTzP+YdMctQFoYAfKSVcMFZVf+wWZQRYhWHI4uB7VIEafTqBPnT/AGcdNs9IQGrSuPM9XJ/yVpRH2x8gAoAaTrDa8huTIdH99KkXZ1upZ14/wP19gPnVlbTIldRIAB8qeeOkt6ABGzEVKk0zwxw62LqWcWU3OkBjYqCblR+sg2tbn/G3+PsAyMVGtm7R/P5D/Z6J6RUAFQfPhx6eo5VBu1x+iwQKzc3LA3sVF7X/ACPdRJIxowITiPWvz6r5FhkVp8+pkbi99RazFtNi59N+VNwNIB/4j29VlHf1QtprX+XWVnBRgHIuOeAf6m4YarBOTYWv/j7q5V10HFfXz68w1rg9YpGIFwGJX1APpseByAfUAFF+foPr70zNlUFagf8AFdW8wa5B/LrDI4Yqy2AbTqIsSjWsxTnQNP0/HtCtVIKMviFvy6ckYsQQCEHWBSNS8m92AYtfTccjUtiGA5/pf6/j2qqFGhicDJP+zx6qE8Q6BQV6ws4Is+llbStyXFyL6W4sRwPaeR3QiRSAKD7D+XT0ZEK6SCUU06iSWb1hiS2rVwQCtyQLsfU2kfm1vaapZy1amv5f5+n9RpqFR5/6v8/Te5Z/IQSWuusEMrWP9ADyw+tv8fdplTRRBTNePTcZDMz0GTn1r1FkBJKn+jcG4tp+rLYAi/0A4v7aDlpvFPcw9fs6eUKxKCtc/wCD/Vw6hSXsQw1nSSWuq2K2DKQQNNl/I5Pvx0sA5rrJoeFPy6eA/ETilPPpvf1NqBRyrE6Rq1AaTyQ4Buv5A/PvTMr6kjA0g+Vf8vXlKt5Cn59DGpBtaxsqkqfWbcgW5+oIJ5/2Hs0ePVGWQ5YD8x0TScPz6zAkeq17gEEf0+tiv9lbiwvc+3g6qoalXZQKZxjqmkgVoeurkcEqp/Kj9F2Fwb8lSDb6c+9rGyxVWo+z1/PqtB5HPXByeFbgGxkK3sFA/IAUgsBwRyfzf3ZGUxhnBoRn7afy6aJcjSxOot/Kn+DqDO97/qa4NwD/AIm5A4FrD6f7b3bxQUqtSOm5SniA07M19DT/AFfZ03yMxvY6rXACkFeb6lYkDkjke/EAinr1su5wpPH5cOkzlHcG4+iouo8ByAbC9xeyn8fQ+0szOxyaafT/AA9OxF3UFweNOkPVTBXDfQJHUN6BpLOYHJLDkfQf61/dkACgphyQDmvn6dKZTRCfxAY60E3ZWyeRkLFX/vBl5CwJcRj+MV+tIz+mIswJNrf48+55tVSO2jjBrRBj0qB0a2Q1Qhq92MfID0+Z6i0Ujh9YIVJIJwH5cnlApJvqA1C/0AI9q4kEI/SUCL1PH8unrcq8pkVm0lTUHAGc06W3Xrhty4Fi2nTlKASmQnUfHNK2kxoP0lh+B/ifZRuVs6xMsTV1L68PkfTpdt5VItIFULkZP9Koz0cEylaiZmKqrTqSoIFtLEXB5Bdi3+HA/r7CDQ0VUZjUHJHmf9Xl0Zxs6ytqJoPP/D1tHfy4Sr/DvqCFRdf4fuBxrupYturM6iQ17rxxa1/ZY1DOaGopn1/Z1He+SgXrNHQoaCopT9vr0fzGs8aFEUairKl3uLqfTywDgn8AE+11rKYwwUVNO3GAfU9By5A0EkZ8uP59KigWZEQMjhNQZCDpIcktyBcgH/D8ezmEtoR5NOph5HpLoIjoo7Kfl0vsdCJIInKsHVnCLcgtYnVqtw5ueLcW9nEAVo6N5HolcnVk0Hp69RN8b+2h1TsDfnavYGTTB7C612duTfm9cw3jvQ7Y2piarM5aohWV1SWpempDFTx3Gud0Qct7W29u99dJbxHuYgV8s48q0+0+dK9bMv08ZencQRT1/wAH2/l18zH5/fMzsD5cdxdjd7brqGw+f7Ny64/au3JmV6fr3rXDo9LtDr/GltISHbWEkC1ciBfPlKqrnP8AnOMg7LbrfZ7OK1RqMtKn1NKedceXQJmla5m8amQSB/MHGM8T1XvTbv7N25SmiONxm7MKtm+zycEFckdOVAAhmdfLGp1enSwFvZmZZ0j8WJdbcOk6yCR3hqRpbyHEU4/t6zRbt2nky0m4Omd7YcySN9zX7Hr46ynNheVv7vVym8ij8LINQFh7qsxm/TZD6H0+yvVpItSlgauAaeXl+X8+lJgttbO3gC3W3a9DFlNTGq25veCr21l4Wa2mN6DIosNRJGVABSUqzfTn2+B2aVqoH+qvVquFOtRX5fl8+mntjBbkpNq1tFvWghqcnhKObIY+som8tNlqWjQSCCnq4HaSlyGOBSop5NfmhKkgi3vcg/Ro1AKcfP8AzdXVk1UI4ny666Q7772+OPZuC7g6I7Z3F1t3bjts5rZlH2dt6bHR5l497YJNsbhheTJ47L4xhXQ1CKtQ9PJJBLClVEUmjjdURntTDmoAFQP2dLABp0jI8vtPl0cnrr5H/IPBb6y3ar97dv0HfnT+4a/NZDsar3vu7Mbjw26qSuw23P7z57D5ncWfxOyqnc+QgqYchPHW5bGdgF/tK6mo4xpU2vLG23DZ6ppppBB8/wDi/sz0x4rW0ypJlCaFRx48f8/Wyl8ov5meI+fv8r7pHPzUmOwHdVP8j4OufkVs3FvbGYXsbrXrzKbjp9z4GmLmqXZHYmLzlJmsRqUiEVEtKWZ6Vz7y8/uvvb1IfvAbxzCwX6a02dyKAggySIgpXADBmqBwoeFQOoE+9dzE/wDreWO0IC89xuCaK+XhB5Dq9aaR9oIrwJ6pF3AZWjjDsFeZrLoKvIVWxZZfU7vHCvL2A/w+vv6Ett0BiVFVX1wM+nAAny65v3njzSR+P4ayO+kaDUmhqdWTUIMtQD06DloTJNGrqkQBkVJHJMdlJ/a5DA6n5UAC1x+PYoEmlCVJOASBx+39nH7OkDQSSRhZAI/DLAyHVoNKkLQ1zWuB68PTqugiD6o2KUrhnV2Uj1uoEaXjFkjLDgXFgTfke6xSSaaGnijH+zniejK5sLWKaGQK30TguWpUCowuqlAK4FcgE1NR0hKjLybazGD3XDI0VTtncOB3NC0RKmD+7eSoM2JlAHkOmTH3N+b8+4q93drG88k7ptMg/wByLGaPOKhkao+w9C/kidLbeLO+VgJYrmOoGe04DDzqPOn8uvp+4qujzlFR5ynkV6bcGPx2dp+Qf8lzlDTZeMwsLFhLFWAj6fg+/it5hs5Nv3q+smBDRXk6EfJZGA4fIDrtxYzx3W3QXQ4PCmfnpH5eXTygP61JOnizjVYAkaxcAJf8/X2mhxEHAqvSCVnMhkz/AKh1KJGkAqfoxLE6bC972/UW5/3n2oD60HkR0zhm7+B4+XXGKSIN4lILWZgpJ1N/RQSeRf21BOutoKgvStOnJU0FWA7STn8uuRYJe1/UW06hfgj8H+z/AF459u6pENExJXFfTpvrCxZkuRZCB9QbE3Nrg6SR/vfusk8xXuxny9OnI0FCXHD9g+3ptKMrkHS7HgkMLDm7AhyD/vftg1C6mADH59UCuZOzNDx+XWSWQWbSdQUA6f7KkEC9wQSdJ+vtLKWzGcdvSpz4KeJXJ8vz/wAJ6Yquo0HSBcMj+hr2ib6hl4OpmHN/qfp7L2YoKcVHGv8Aqr0aWis8dSaENUfZUcK/4PLoEexa+ppcPNkaepkgqMXPBlqRlQy+WrofK1EslILNVlMk8JjgDDyzmMEEAj3jh94zcJYuS1trbSsstwCK/wBH/Ca8Ohhy5BA12ySj9FwATU0GckkHAHnXy6Lp1lNkMbR5WfD0zUX3OAx259WUrXqctNXbGyU+097UlPMztS0EmWyaS1IlVtX7oB55HPD6aa2DMpAhVFYEmslVJVqEeTNU1z1LNyLdfAt7pjKwZoTpFEOoAoSDWppQDOTU8DgBf5gnZXZ/UXSW7d+fGyCPJ9nUOR25UZeqpsHg924ja+xJb1+8MtmdvZd5YNyvU0Ef2sj0gNXjtUk2sGLjOj+7p9l/Yr3v+9BZe2fv9uQ2/lPcLOVLcDHjXb6fAQSNVVctWlTjI8+oP9+udPcbkv2rm5l9v9vN7ulhOjlTVGWNGPiP5MqqorSndUUpQ1r42PHun5lfHDDd3dDbixm3uzOs8tkR2N1th6dsthdmdtVccdRT5nDxyzU+NydTu2jxtNk6qjSojkq6CSPzhJZFkeTvve+xPNf3F/f1vajmO6mv/bpLg3e03AYK/wBLK9VqCCA60CSA0DUJofPNf7jn30uR/dnkwx842ypuO62S2k9zIWcxmNGTwZyKO8UJkJgcZQkUYKQAW3D/ABZ6Gpu48p8wf5leC6h6cpt9Hau0tnbD2ZsHdMu08jk+ucaKivq9ibTzg3DuzI7hzNc4r85nKyCGko0eDH0McUK6pBLyFsfvh96qaT27+6dssxFgni3UiyeGlZAELPISEjBIJCdtSW0gj4S73z92Par7tEE3OvPvMFhzV7l37CC1muEjkSwtVJMKDSrG4mCUoXaSQBVMjLwktf6sHR3c6bUm+P2yNk706L33nsth6/CbmgzL5zdkU+K/ge5xnNj7hikrKCOhoTqjgcQSyBI5I7N4z7w+90/bj7yP3TPfm12fmxJNq92dteO4ilhlLPpJWksciBlcLQV0sQSAp6ie7949m+8p7bHmPma/Td9hmtTGA6JGFjJJ8IqUTiWJ71rnPQE/Pz4XdIdbfE/5I9m9X9a1FJWYfqGt686ozHV9bi8Ns3qnfFXU0Wz6Dc+8dsYjLR7rzG+Z6fdlbST5zcIqqqhgIp/GiPr99D/bz76P3l/cy0tPbzn3eo7+wvroNdXF0YJruZTpXwYwUJhiK1GhBGSasa+eIE/tF7dbHun795ZshYXEMZ8KFC0MIVV1a+ISSQECh7hTAA61vKqLbBwW8uvaiSsptvbb2pCqTYjHY+qWlo9t0f2hSSOvKRx01PQ0EZEiuBFpNwTYe8/Pb4xPtt3AUKqlBSmKAGmfsHrjoEbgZ1nSZWzqNPWpFT9v29Fh6f2vjqCnXduUh8GGxpth6apEbNO0KNPC0jEKJY6CmYSyOBpZnCH2A76eWWYiPCl2z5U/1ft8ujFI0VP6ZFTniegu3R8g8NgtztRUOFn7H7E3DVzVGN27Q/bQUlIJn8MC5DJSQSVFJDTwooexYtYlU4v7sj+BF4JAZyR55z69MmMMdWc8R6/MDz/n9vQrYCj7U3JRLLvbedDsijq1Drs/qSk/h1VHBJ6xFlt/ZGlqs3PVRk2f7WOkHJAc8e1UcMuvSSKEHhnpkhY+ALEnFR6f6s9JLMdadd0lVJLPsnDZiuaQt/GdyLW7szMhjAIkq6zclblZvuCwJDXFvx+PbghNRig86+Z+VerPKVBiUDURgjy88/kOmqXEbcpFCxYmgoKeNfKIqaBUgjaRbTSRLEgQBVaxUAWB4559rv04CK6dBFDwNM9MqHeurWT51rmv+r7PTpJ5KkxaVlLNSZyWglo5RKIKKkWMyyHSDA5Cq58i2uSSoF/z7RXUVvcsBIQF9R55qOHTsZliXQoND5GtOPz9elFTVuh/u6hCgJWGlhhMqCTxixkDF3IpozwHcWkckg8e0cob4vwjAGOHTyOVQKFJoa+fr6/4BXoY9rVFPujHUGCr5FiqaPK/xXbFTYeSiy4jkhmSaX066HLRSeCpQfVhG4IZAQGt5sXvLN2loH8uFejGxvdEqOQa14HyriuOmDdsE1XjZopWaNzHLDyrgRNGZI2R4gxBY+PSQSCtif8AH3FkLG3uWb8QAFPQgniOhXcwu0YCmgND9o6ITmulYdybmRo85UY+epqJ1Akoo62AxFNGnxeSCWy6woBfgf4ezq65ifb7ZS8YIY5OfQ59P8nSJNpinkH6h0s1OHCvkerOP5OXU1R1n/Nf6I2+dyf3plwnUvaHYVZVDFJhv4clfsqsoYqEwrV1QqFpvICsmoFtZFrfX1tuw3jYHuoUKR+NpoamuDU1+fTd5afRXsVrHRpVWteFccDT0/n8+tg/+Y3lY6rOdQxBgzGu33U+lraYxjtv04lINrLqbT9Lkn/Y+4i32WN9xZmJCohH5f4Pl0N9oJ+kGM16qnycqDBVkZdVRM7XSBiCwYjJablBYMy2sL8gEk+0W2Twy7pr7QwSg+ynHqTdpj/3SA1JAkJA+3j0EmRmVVmhLRM3kgNOeFMuiOfTpEgEmux/I08X9jKd9SLClAx4YyOrRUUOWXu7an5V4dMktSVo4ypZl0MIkABlayEepSGHkBv9SfaTXMsmhfLJpTh5/n151LQCVOIJHH+fVyH8lSqR+2u9tH+bfqvbDM4v9f761P8AaA5+p5tx/j7A/ORQBaGi/MGvSS6Zi0avTTRv50wOtjOmqGDIANLX1MpOrgc2+tv0/T3HVySzU1Axk1pjB6LHj05WmK1/ydP0E4fVY86Qw9JBJBLH1XYEg/4/7D2/4gc014zwpg9JzrY6UqSTXpxjkNiQdQDApqs2o29SkKdOm31/1vdwWKMNQJ8vy9ethatQip/1Y/z9Zddr624FwLauX1DgC1wG/wAbH22ijVRqk+fnX/V8qHplMPT7eumKrzfSG1CRbA2C6HUH9XDMeb+9/iHgEUDD9nT441PWHU+rhSVYE2LA2dm+nFiSoB/pb23pIcMwrGc0/hPp1pdWnPr1iZixDFrFrWWwFwtwCRaxta9/dWVHYqS3cAQD5HOfX/J1tTmq8R1HYvYg6lC/pYjgFgbcE3+n1/ofbTlVoZa6wP5/4OnP1GTvwvHh1GZybRiy8kBSXudN1IB/IdT/ALD2mArxJC+p/wBWetozkgNgEYH+fzHUI6Sb/kEcAsfp9FJvfXp5v9OfdydOZGFK44enSgoOIGBnqM7s17qW1AH0/wBoG+kOQT61AuD7b7hVlH/FHpxaaNWa+XUGQrzy3C/TnlVIvc25sOD/AL37opAGeq1JFOoLlrkEg8WtpDIVJIKrYagx/qfp+PdAJFOaD19etqp/y9CfHnMabAy1BDnUX+zrwrnTpK/8BfqALcexdDy9uqQDVC5yP9X/ABXQdj3axL6WkTyxUUzXz+XWT+OY22nyyrxbmirmAOm4JP2thf8Ax5v7Uvy9u5NYoGCU8+vfvfbvKVT+fXA5nH3BE0rF7DR9nW2uBzb/ACT1Fbc+6JsG9mNWETaF4n1J/wBXHz6S/vWy+IOufIeXT1gqaq3VkDj8HC9TUwxGorJp0mo6KhpgWUVOQrquOGmpoiTxcl5LelTY+zKPlvd5CE8IBCOJNAPmemH3ixVjNqJK+QyehUoOmajJTLSHe21468xGQUtHFVVVl1KHPmL06yMrOFuo5B+nsRWHIVvORAdwgEzZpQn8q16KrnmCRB4300nhAnNafyp1Lk+OG5i9o9y7d0AmxNJkQwBuPUqsRcXv9eD7N29qbppCiXsNR8j/AJ+kY5wiTPgmoHmf9jpnrvi9u2ocyDde2kFtNzR5RjxyBpDhSDf3Wf2ivkUsLuA1FOB/bSvSkc7xhaGA/t/2P9Xl0laz4j7+mMvg3Xs4q8U6oJafNxnVJC6JqtHKANT3P1Nvp7Sj2o3RCojuIGWoOa+R+3qx51tnqrQsCQfP/Y61a87/AMJw/n7iKmqkw+6/jXu+Oatr6xZKfeu89vXFVXVFUkJgymzqpdQWYXJa1wR9D7kROS90VQqSw0AydQyf2+XRpY8+bXbN+rHLp0UPD8ui75z+RF/NF23NO3+gLau56RaeU+bZ3dHXtX5HuF1xU2arsBXSSEC6qUHB/r7U3XLm8C1C2yh2WldJBJ+w5HT8HOuyiZg7SBXH8JoM8OHQW0f8rz+Yn13mqXM7p+GvccWLwtTBVZGv29Sba3hHBRUwlkmnEO2dx5OvrI4Y7lvDDK1v7J+nsi3Xl/fZYi628mkLn16PLHmrYFIR7lQdWPsr68OkS7MlXWRSxz09XR1hpK+hq6aajr6OsppXWooMjj6uOGsoa2nb9cUqJIv5A49x40cq/ptVXVvTOPIj/UehobqOUCSMq8LCtR514f8AFdbRv8uFWPw86dsTc4vNE6yWKlty5sMSTa3III+tvx7Krnwlum8E1UnjTh/sdR7uwIvHA+EGtPl0fqhclkAKvYH+0dVx9FtypF7H27AWZgseM5P+TonniXSHXCgdLqifyhCeLWQqDYpawP8AT+yfZzCzFqD07cYH5dMt+nbkr3L5eVK/6uPQj4qECnQvfguPT9CRwLADSwIA+h9nsDfogNk0z/n6DxUtIQoGrjQZ+eOqMv8AhRZ3fWdU/AHGdX4WvNHlfkr3HtnrvKpqVJajr3Y2LyPae9aZzYs1LlJsBjKOXTYFJ9LXDEGQORLNZNy8WQakU0/l6faVoSfIjos3O4olCdLaSfzOAfyz18+HsqkTcdXiFqcolMaWGsjgSaolp5jNNUHXUlQWV1lsoJJsnJA9y5JFDLKiTn9Qk/6v9Xl0GgxBAGDQfZ8z+fQcYym7B21JfbO8MdVxI5b7HJz0FdSS/TUjQVciqpuvpbjj2/DCyMbeFqCpOfT5fLrTyxqSGHd6j5Z/Z0IdD2BnHZTu3qbJyMgs+4+qM7Ga2Ii7NUT7eqjU01Q0WkNpjlQn6D+nu5MsakPlflx+3qiqsgMkdTWuK8ceXXPOZXbu+Gx+NiymJ3rU1CscNBXwnrTs1JVJEmOxeWqoI8LmssjAB8ZUszvJbSLke7MEYHFSPLhXq9fDcRiqkj+Q/wAnz6CjOVW8tjusi5nI7r2YK401dBnsa+N3DtSva6T4Xc+KOuKklnhdkDqDHOt7EfT346iaPTQf9VOvBImJCDS9c/l13VUcVMpjxEry0f28dVipJGKokU0azUUUrKCQ1Kyql/qvj4vf2gmjAYxomoetcAenSwSaVCUx58OJ4dGsgjx82Nqt+wq+48rujZefrcRlN35pqrKQ1+Vp54N85rPV+O3BFjtudl4jKU7SbYwUVJImdw881ZVxtJHf2NR4Fvs/w6Q0QyuRqrw8644n16LS7z3IYfEh4fLhWvQgfF3cdVRdkVOF8skdJvTaVfSZSmVyIWzOzKRcxgsisBvG1SMWtRCJAA4QstyvHvMP+7z5qk2T3z/cCtWHdbCVGrTjH+oBX58afLqDfvG7VDfchfWygiS2nqGH4Q4Kl/l6E/Po78+NyGczFJg8LSzZnI5Vo6fC4uigeeqqaxow8dJRxhw809Sq6QFuWYWI9939w33auV9iueY9/mW12iyjaW4mcgKka1LO2OC8fs4dc5tt2vcN15hi2XZ0+uvbpiLZFU11aR2qdQFHAKk1OQKinQhdn/E75G9U7Hj7E7B6uzO29ntnK7DVGcqqqgkkxmQpRQiNMriI6h8tiqSqGQhFLUTwxw1Ra0TOQQIX9rPvi/d193+bByZ7fcxW1/vzRBkjSn6gqQQpBNSKVI4Corx6lHnf2L9yuTtsluuaLApJCTJKBKKxxkCjyIVHbQUBHcSMDosrhHWPyMXW51qSR6voWANwRbngX/HvKahyABWnUIWsgadY7ln+mLCtDwGc5rw8/UfPpGbljimpMlD4Eda2inx6qxICpVQvCjhlZj5GRgOfz/T2E+arRp7F4mGGjYZ+YpT7M9DnYb5Le5aWFF1BlWOg4Ctak1yaChqOPyqOvo4fCTfq9lfD/wCL2+jItRNun4+9RZCoqiS7NPBszF4SruSAfIa7EyhzwQ3v4y/fnYTy772c0bMV0JFu0tPQajq4fn+fXaDkPcE3bkLa71ceJaJqr5EKAR/KvrXo1AqCqJDZPqA5ILaQTcC/AY/717iwShQBHig9MHo9Zi36K8PXy6lTxiUAjT+CH1EEhfUQF/tfT88D2oljLxCSOlP8PSZgQxBGAf2jz6CjtDunqvpPBZXcXY27KDDmhwNduCm23RyLlN9bjoKH0SQbO2ZSy/xvcuSqqgeKCKnS8sgb1WRiE1ukAmXx2Eeqo1HH5ipH+Howhsdwv+2zieYDOPhXHmaEAfPrXe7O/nx/LXO7mNP8bv5cVZjeun+9joN9/IzfJi3VkY4ZZYIcpUdfdfVhpdvxtouKaXJ1NRY+vQQfe7+5t7VGjttT3y0JwSCDxBJ0U+0Bh6EjPQ92b28jv4Ul3G+CKa1RAMfLV3V/lX0Bx0FuJ/nrfzHKOtDVXwj6X3rg4RGtcuPz+5doZKmmo42OWgjmfcuZVIKmRo/tJmglYhiGU29lEW9NJqSWGiBiD8wKUINcUqa49KZPQjuPanbRD/il66ylcE0YfaRThw8x1bj8Nv5q/SvyqosvRdh7F3V8UN/YLHNkMhiO59ybMj69yaQMkdX/AHP7TpsvS4zJzwFw4o6ymo6zx3YKwDWULNZ3OqSGUEqR21zwrUAgGg4HHHgeHUeb3yru/LswDr9RbP8AjQHy9QK0+2tB1Z3JpeJamnkSphlhgqKWoheOSCWCriWaCrhnjLRzwVVO4aN1JSRCCpII9o7iRo3ck6qj9nRNFItCZVDcfmMY/wAPHz8ummvUlQ3qv4w6ycaebBl/BBJPH0sPbOtpIySDWn+of6vLowtBVBp4kH8jXoo3yFyWcw+38ZktuVphzNLuTGyUcbotTTzVkdXStSNVY5mT+IRUta8Uka3sJUBIIFveHH3rNwntdo2y1tiFneck1GrAIGVBFR+fHqUfbq3tLq6mgvkLRMoA4jPmK+v2eXRWOtod1bkxufoMjlKrVt/Z+UnxdPj2FNR1ODfIDduTeuEJ8tRNlopKuadySpkjFhZbe8Tdp2Bb4WUaKzG6icCtaBiSw+3Vkny6knfL+x2q6kljRVUTR1rmjEBRT1IoB9nz6KB/MN+TO7fiLsra+f61xvX1a3f2L7F6erdu71ny5fb27P7pVBy29tkUmFmipshjN0YjKwysk6GCLJSpIjETOvvrx/dUfdJ5L+857vs3PrX+0b9yNJb7jbzopWGbRLQRSMB2liNStXI1ACuesMvvZe8HMPtnyQ0WyRRXtrvEjRMte5FYEh6VGsK1FKClarqYVPVhf8tfrTqranwY+MtL17kcJUz7m61xG7N11mNp6akpK7eWfo0n3zV1WPxsUbTZunykbUT1VTrqSlEkcjiyqIP/ALzvmnmDnv76XOD82TTrd7ZfGzt4Zm1LFaWwKr4S4AWSviKckgipPS37uNn/AFc9otoG2QqbCe0imaSMaTJK6htTOeOk1UigyM8Oi9/MrqT44d9786uzfyXzG8KHD9Mz55tsYraFNer35t/K5DDS5nYW6KUUrzY/E1eVxVO9JXU709TLrenjlZjp9vf3fP34Pef7qmzc2bb7Y20Fza7ysSvcugrbNGx8Mg4JIDMAOBLCoNOh97l/dM5c+8tzJse0Nr/rBE7yiLxikTr4WqR5SagBQgJ4DByATUEfhTQ1PQmJyeNqsbFSbD3p2ZuzbHX3Y+Hjr/4fnq7sXsmu25iMZRU24aej3Rh969OVFDT4qtpquIRz1EEE8EsySNpyb/vCt0T7wXN3JnudDJNL7vty2n1lrMmhkgt7USSXFABqWaVWdeFK+fQI9peR39oNt5h9r91e3flux3RvBmgkEkckkk39kjCuEU6BnIHTn/NJ7N3Jt/4Kdz9xbXgSDeObbZ3QHfu3aakSmXP5fNbjxtNtzf0uON4qaXP0dNE0FUqx1EFRJ4izxp6MLfYWE8ze6m0b7txP9XVNJ0b40uNNQQcHS5U+tDWpyB1NfOW2wcl8qXPLfMFoJ5b6H6rbrpGppUAq8ZOQfCNQVINAQeNCNROCoyCY7sfb0lfqr8rlsHsLOV7FXUSLj8buTsGouzsRAR5ISLhfEgt9ffYTbNya02q5WAFTOdI9QB/n6xLuIXkmjmlodJqfXhxp+zoBt7d3UVV1juHLYOkmosdBi5cDh6CV4RVReWtmgqJAiKESpyMVMzqCBZpF+oHsqIUihzT/AAjpbGqI2omvy4dAJ0gJ8LN/HsXsmuzm5NxVD1ed3FUViUsUeOMoBwO2JZV8v2tE0fjqclUSRLVzBhEjxooLcGp5WlJwTj5dNyqrEkZ0g/z6PbQbiz1VSRJLiMBhk8SaaTHtnNw1a2GpEnyNZLQUTSNb1lI9IP0Ps2RnhYSGjChGDw6QkREdhIPzz0y5HXVzTrK6gjUiRAr5VdgDpRYtcYZQp5Yk8gfj3ajMpaT4SMCuePl17TG2GbuYfl0jq2Hyt9tGzSM49IjUM2kMpIVSrEmW5JGnjgX96kq5RkU0UU4V4n5dbVhECjMMj1/L8umKuwTRqKqupFoqc2iVzFEJZnQeWRTA8DSuSzaSdYYe2Wt6I0jkBieH+r/UOtq5lKw8BUDj6dMiVBkZ20EKreMqz3RYonsBI1yY0Kf2B6mPHAv7TFiSBWtP5dKmHdTyB/b0ttu5OSlq4alZXiemkVlEo+3I/dDRs4HLOxI0gfq+nPtieMtQ/EPTq60I1AUqOhL3tMJ6aDNiKmhgzkMpdQ6kR5SnWNcilSnH21VUKUqVAAt5W+gHuK92282W5eIQRHIa56E1ncfU2hStZkFDXz9Py6KhIn8Qzq0UWQyNLUIxghyNA8KVOPaZiizQvPqieWMEFVkVwCo49h7e3omqVVdVHaDUDh9uf9XDpdZowCLWjah+X2/Pq23+T5tCHJfzJu8d9SVWVr4+m/iVQ4qnrq6ohlqpsturIbcwPmr5ViVPJPFDO5VAgBv+PZhtKCDk1ZTQeI5OOFeFB8sdIN0JbftQqWCUPl/Ly49WH/O3cQquxuoqIt5PFtbd+TmjDA6Urc9RUUbFm9A8iUTAfTge4k3yI3BlaHDo2a8aU9PToeWMIitUxmmfz6INunITz025UlmV56bd+api8qRt5kpsuJKMyLH49D/aToLWFwBzz7VwRkNbyxBQkkYNcVqBpz9tOpA2i4SXZzasf1UfFPQ5GfPoFMhIzNOU1TAyU4vxq0iOc6Fc2H6uP9f2fuJFlEjEdlBj/J1aJBGXAYlDTjmn59Cf1d8e/kL37QyVHRvRPbvbtDTuqz5PYOxsvmMHSzxKySwvuR46XBVEsD8NHHUu6sDe3tfbW893N40ULsKZxj7K+f2cei7cN62yyQRzTRpLq4Vz+foP8vV5n8pP4U/MDqfsruHMdofG7tbrzF57r3A4zC1+8cTiMTFkMlS7petqKKmUZmol1R0rmX1ogt+SfYQ5w5Z5ju1jW2tZGjLVyKY8hXz6KpuZdgkIcXKkrXHV+VB0X2zOI3baf249VvvcviYGJNh+4q1Ur8f0N/YOi9veaJn1GFIQDjU3889Fs/NmxrVQ7E+oUkdK6l6C7NtaakwUH5/czUZIPHKvBTvYAce178gb9JWNvp1bz7hnP28ekJ5t2xFIQuCTxK56doegd/kAO23kCt6ScrO3H/IFGPdrf293lqgvBT/TDH29aPNu3AVKyFvWnTmvQO9XZScrttFUC6ipr3N7g6Sy01tQPN/bn+t9uDEq08Ab0Den58ek39bLESBgkmmvpx+zrJ/svm83tbLbaIPDEvkP0/QAE097ADn/AB9qrf213mZdSyQ6gR50x888OtPzhZggeG/Hri3x53g50tm9trr403yThedVgRB+T9SfqPdJvbm/8URTTwgmnA8Pn1s85WZSqQucjpmyvSOdxcVTLNufZ0stJGrVMMtbWUbxo4Lq0okhcRq4UkEgAgH+nstuvb+4tGq13AzL5aqH+fT9tzNFMQDDMqkVBGf8A6CnN4HN7eqUpcxRNSPP5JKWVJIaujq0hsJHoqyF3gqUQfUAhxflfYN3Lbr6yk0TJ+mT2kZDfn0ILS8iuoiyVYgZHAr9vTA2nxuxYEfrGsg3vwb+oPdf6eyx1mFNSkAdL49Jo5YV9PTHn1CYWB+jX51F1spIsTrU8gr+Db24IZUb4CQV9OlakE5I0/4cdRZVX+yxAF7kEEkkc6VYm6/QD2yIpyKhTStOB68XDAjgR/q/1V6hyp6W0gj6BgLagLi4Kk2a9/x/X3qWKWI6QhJ6qHCjWSMf6vz6iSXUF1XSWB9Q/HHpC/6ofge6FGIqa1p0q1IFDmmlvXj/AKj0Ja7bwJX/AItsB9S2fy1en0ggWb7geoMP9v7Fa75ubNRJ3IBFc9Bh9ssloPDR/wAvPOevDbWDJIjxcQYqLkVFarsT/a0/cWt+Oeb/AE97Ted2J1rMzIfn/sdNLttoq9sKD8uOOsf92sLey4xCSBYCpr7uRe4/4FcE/W3Fve/33uJQos8mDwr5+vTI26ADSY11UGOFf9Q6WUFVNhtuYzC7QXyUWSqxMlTReeqhm3hU+P7bF5OolklESzCnEEMspWBFMkcgS6uRat/cixjjEhaR+Jrw8qf5ei4WEEczzOqgDgP8v+TpUHA7kx1BU5nHZfCVtRDS0lFUUWFr5q7KYaerqKSFJAWhjirI6CaezSw6lCxhufr7cTb54rc3McqtIp7gGoyj1HTf1cVxILaWFlHEEj4scPzHr0NOzezca8JxMMdfnGxc/wDCqjKUIEmNSelPhngirppvJk5qORfHUSxK0YqAyamZWsKNu3xbVfid5iPI1ofmfXonvtkknkMsapFBXgeP2/Z/g6GmDKwVUYKuRJZT43UxMur9Js31It/r+xnDzMzxBGoZacPl/n6Dc1i0LEsO31HUzyAWFyb82H0J+t739r03NUgEjmq8fz/z9JTCKaRinXX3Icix/SSXvcW/1J0341f7b3cb4hUKDTUSDXyz1toXX7D/AKv9Xp1xM8l7p67c8tYH6gAHkXA+vsum3e9hkJhbA4H/AD9bECHD1/1f6uPTf/H4o5TTzrJTSqwC60Ygg/0eMMurj20vOlxBL4c4OvjXyzw6WNtTmMSxkMhH5/Z1Q3/Oo+EO0t99TZr5jdb4agxXZ3VtNTV3a0eIoFg/0l9ZrVU9HkcjlYaaAGq3dsNZhWU9W4EkmNSogkZlWERlu/RQb/t8m522ldzh7n00GtK0av8ASBI4fEDXBBJFvJe+3G23y7ZcEmymJUVzoY8CPkeHSc/lzs6/D/p5VY3kw+WlVlKkNq3NmgWViSWsQDcfUH6+4ZnncSMY+BP59CzdK/Ws3CvD+f7OrCcKFSMvI6CUx6hHIwu8Z4BsL2uR7XWLeGpfUBMM0PGnRVIVHx0A+f8Al6WFCIoyHA1eSQG63BUsLm/J9Nhb2aWgo4lYij+nl6fZ0lnbXAfDzSnQmY4SxxwhrsHJ0uLlWW/Flvq+nHAvf2eo7QoGHl+3oix693qPXrS3/wCFMPyX272J8hOmuhdnbkxe4sJ8Zdpb2ruz48PLHVjB9xdl1mFWo2tU18MrpJlts7E2/RjIU680UuQEbES+RVm/kDbbiG0a7lFDIM18yTXH2CgPzr8ugrvE0Mh0tp0A8fOlM/kTU/s4daoe7HpZ2FTWYqsydF4zF93RzFainiqD5fGYzdWXRZieGB49jCclpwIs0FCfMV6LlFYwaUPp+VB/LpF09d1lOV5y8FSZPGwrsPUyqjaSVHnopHDXKkkFPofrz7UrLEhRJKhgKV/LpoicK7AAqCOHGh9ehPwO2dm5QoKZduRanVhLHX1FBPGxP1EjtQ1AJIFiGutuD+faxRUEVz/qx1WQS4ktjprXUP8AN6H9vQkT9H5HLUtZJtjcc1THV04jyWE3Ji8Lv7b1WinUtNUUmR+4y8ZBF4546haiKwMbggH22IRJU1ofMVx1dpvCSrEMfM04fLz/AG9Fh7gpOydkUq0W4aeSOanp2okSuORrqbObaNqeowy5LMpHk8tBjCVlp1qWmrKJUKrM8dtOpmkEdY8mvDy62ohdyyg+PTV9nz/zdNuBjkXD0MzTGVEePFVUcsy+MTxxCfF1dpBcEBpIXFrMWT6H20yq1dNQSMj19enVxwJrXo1uJykK9L0lCVpoBjs3DTzUVNU+itqMhuFaDFdg5LHvuqJm3tjI6uo29AUxskcG3pnma7MH9nVlcPLsWhSBGHIyM/6X7OkjDTceJWrFcft/ydK74bQbTzfy72TtXe+ep9t4nLYreOHxOXyVTHQ4yk3pW7PzOM2pDkqyVhDBS5LLVSwOzmzs6ILarhXyd7sbz7Fc27d7pbPAbg7ZexNMgH/EV2C3JAr+GIsQT59Dzkn205J94d3b2455uPprDdrO4ggapCm7MZNupoCSfEowAFTpoPXqxKKs3r1d2FRVWOmn2x2DsTcgkxuRnp0qZ8HuLG1bx0eRWhqUeCoipKvTK0cgZZIxb+17+l/d/wCqP3h/YW9/ck6XXKPNGwSCNkbik8JOksODq3YaZDAjy647b3yrz37Ce8M/Ke8xvBzry9uLIXII1gMQtxCvBo3i0yeYpmoOQ0bM7L7I7G6ozOU3pu7em8t0ZvGVm0935vJ5TLVNfl6fa2VraukxmepazI6v4Lgcnh/uYYH8ooi141Fz7+RL7kc1x7N/3lPKfLdxM0FiN5ltJIjlQFMyZrkMWjGSSaCnDAjD3a5+503P3UuL3dt6vngvEtiySXUhSSAqhii7ex1pMQkelY2er0DGpDQxtJIGKlS1nlBCWCOQwdQeFBJAH459/bgHATtyPLpiwsZLi+FrdAopILGgDAHPnwrUD7TSnl0kc3TqjorPrTygWWEpKochlRl/U/iILEgXC+yre6SWDEUB05rmv2fy6F1hZJa3aBWJjDgZBrXJWo+ean063rv5Ku9V3b/LS+NMU06PVbMg7E61qGMiuyHZnZe6KWjj1AnUiY+ug0gn9NvfySffy2b9xfeb5hjChPqXScACnxKOH29dcfYncHv/AGrsHYDUmpcU8ifTzxU9WYTbywtP2NtrrE01dPuLcWzt1b/WshjjbG4nb+08phMHLLk5GPlSfMZnPRwUqqLao5C3A94gRy2/1iWb1LvGXPpjH+x1KUscpjN0o/SWQJ86la/mKVPS7kjQsoHCgi+lubKeQbEW+ntZKgwENAvl/sdJQRrBNTXz/wBn5daKf/ClHZ+e68+Z+2NwYTeW598VfZHRcvZGNoO0M1HmsL1c1FunPYSbYHWsNNjqGTDdeTHGPXRY+eaeVMhWzMsojbQC66urd76JbwHw2AUgClBViSK1yQMH1+zMm8gWe43m03JsWjjSCQ1J4vqUHPrQUBpinWsVkeyOxGxVGtLtXYiVVStLTUzUceTrYoo5yXkT7SpdqXxMFZZwqEqCbDn2e6tgmuHEjyqoBLMwUHFBTiflTo3UcwWqpHGoLNjSBXj/AJPU9Sn7M78aDGTbywWI27gZqSGba+YqtqU2Gq8nHGXpokwGUqoTSS49Cja3USKukqp1XtZrHlI1isJDJcljVQQdI864xnpC15zQ0jNp0xLUA5p8656l0vYPaeQxe75spldjUuH2/tyskgRdv4bKtkpqmnrY6KmrvvKaaAzVM0YSQrp/bYkAWJ9pZbHYrG5gitkm8eWTS3AUFRUiik+eOjGwk3zc45bi7mRYIAfnXGBTz6+rP8POt5eqvix0Jsis7A7G7TrI+stnZ3Ib17X3NDuzemRrN2bdxu4psdNkqWgxlFT4Hb38RFBiKKGnSGhx1PFEpaxdiO8VDLpiH6JAP7QDnJOOFa1x1FayO8zzyqqhpGBAwoIYioHqeJPn0NG4Jpoo1SIFVWMcLzrBFgoIHoK/4/n2XzBtJReP+Tz6NINJYv8Ah4V9c+nVXXyD776zxXZ1VsfcnYG39mZjYVfjaWtpN1ZzE4GHI5/MbRTf211xr5GZHqqGqxdYrSy+hg9LIi3YpfF/3a9k/ez3q5ih/wBa3Yb7drHbIQZzChbMhoowD5jPA9Sby1zfyZyVtgk5pvre0uL2X9IyMF7VPdx4fz6KN2v8s/kR1NnNs9g/Fro/b3yD6am+P+2tmZLtjaeRo9946i7EjoczTVe5qfbuyKutz+Pw2CpcstLJDl6RFyMkTEiNQC2an3MfuUfdw5s5Ystn+9PzDdcj+89hu6mOzu42hWW1BUmMuSF7wGAJGA1SD1ix77e7nu5tN5dn2v2aPmDky4iMn1EMytJHKCaELprRQEYAGhOoEigLauvYdTmd1mD+8e6M3Vbo29WTJkIc3XVpraCcVAqZ6yh2/kJUkwVSs1m8UUUICqigBUUD63+T/az2X2zlw/61trskMc9ksRnsxFqmWOPSpZ0NXIPdXPcTx6423fuB7iycyKeeZdyl8K48RI7gvSJ2YMU0kKoqMUPyGBjqx34DfPiv+G2N3lXbxyvYm+NtTbTyOA606uxy7cx+wcf21kBkTPvvP53IVAzuFfGx0UqVmPoYplrWdJ3tIgLcIvdT7kOyffM92n5Lkh26z9xOXt4J3HcJpBFcXFmpZJ4VAr4pjJUr3DjnBx1N3L3Zm9oPbq25qtmnm5R3e0Q20Eaa0jlZQ8cjUFYg4qpwa8BQ56v/AOhfkph+w/hjgfkR8sNwbA6hftzOdc7S2NurdtDHhqbecOy8ZTUP958XHLj5AV3x2Rj8lk8TQVN6VoZElRlDxsMKvdr7q/t77ee8m/fd2+7/AONvV/Y1urv6cCTw0oJUj1ioL26dsowAwIxTqTfaD3r5mm5bsfdDmcvtJuEMABOl++sT6AchJyf0yMlGHkehvw2y96dgP2VsrcPUAwm1utNk7OrujNmQZqln3DT7k25lpN8UvYNTX0s1RBLuHce6WSs+3SpqhTLopWqJJmlI5Ze53uNzBvHuJPY8uG7/AHntm3m01yt4bk5Ei0oezOkD+E0r1lDyzb7bsO22m5TywRW19uLeKJUMiiNtSaXqaqV+JnrUMuoigINdX84/fPWOw/hLhamaLc1F3R39uzqrYGS2t/D4qTHrmMHuzEdoZ3cO88LkQ74eDYZpqiKmmhLzLNk0p2Bjcssjfc82O5vueWO2yyV28LJdHTSIse5kycMtaJxqCRXpH7ncy7nZ7JNyrvENtc7EZHawlVgxhqAmuGXJKyIo1oaCtG49aW9Vvg4/ae+8jYx1W4+2tzYPFtIS0lYuQpMbNm3jqQpVGjxFG1Oklv1ykAfj31wVqxiIk+Gxqp8/XrFmUMAQn2f6vl0T6OPIZ1n2JRhY63IZ3Cw08sg8dHHTV+T0yVMzF11x0VP52d7+kqDc291Mq62jeuqnD5U9erjvUFzU9H4iqtsYl4cdiUdsbj4YqLHhQlHSSwUiClp3j16DIrxRA3Oote/+Pt+28NgNC9lDx6QXMxSTIKgnHz+zpQx5fMTRquOwlc0IU+D7DAVWQZhqFmNdmajEYSFkH5cyi/4PtTMscSqq1oa1P20r9vy6beCRuNacR8yeI+XTTLS7mnErT4zDQwxfvVNTu/c9QKanjUcyzYfZ1LhsbGqhRdXrGA+mo3PtR4YRhL4lY6cCK0HTbRuAsWgeJqIr8vl6/wAukhV7lrVgnqsPVvXUMci07Z6jo02N1/LWSExxUWIhx8Fbufd9QzkkLDUev0839pWe5I7Homqv8/8AJ09BGkBOv4qGgI+eaf4OolXSJift3y9Zk6zPzQBmhychghw8EgYrGMUkkr0UrEl0Sd3qNJBk0k+0s7aCe4Fyf9Ven7Z0mXxkAoDT9h/1U6DepzlLR1k0TiZ3qBLUol4/J40mKSqAXiipYmblnkZY0BuWt7ZjWZyAKVPp06zEt5U8+nrGZOWpnpzFI0ryyBVrdLyYWijLLf8Ah8Z8dTu7MrEePthHQRH9c4W91EpWKI6jVwOI/wBXH59bBcsCp7COB/mehQ7CG5dx9VZ+i2M9VjN07boP7x7dqUqqeaeeCiVBuCDJUlVTSUWeyGTxRklkuIY0kiTwECP1BLd4rW6UTyKXt4/yI9T0u22Q28pjWrTSV48K+Qp0AvxO2Tvnt3v3407QyGayr7b7UxdXufeMyU2KcPicBVRfx6txzU0HnoliLeN9QjUMOD/QC73DBNZX3iIA0UiqjDyUkgY/L5dCiyZ0ubXxCBE61I+YGK/Op62K/wCUpsGm2PvX+aj2Hrllp4O6ts9E7cyVWAZKjGdeLmK2aLVqZWlBrqbzBSbOOeffnK2PLNlaqQToJqB9vH8uHSQus+73LDgTj1/I9AJ8ue4NxZv5/J1rQ5ajGyNifG7qmoyGNGPpZKxN8b83Lls47jKECqjhbb1TH+xfSeGAB+oBvrKzPLqbuwY3sty6g1ouhBThThkVNehfZXM8m6fu8EG2S3B+eoioP2+X59IPdM8ceV3NGW1pW5SnzEaobFbV8mGrSpYupLPSQ8AXuRfn2VWDiewRWAMsMrAfJSKgftNR0O7RVhuRGO0TwK4HzXtP+Do4H8r/AOFtP84/lRievt1Y6sm6R65o6XsTvKqpqiWi+827E9dR7W2BDXxTRTwVPYO5FEE4jZZv4ZSVZQqbN7P7COIzRtedtmDqatRUDgOBpqNACcV49F3NO7Ptm1sluaXkpCr6imWP2Adb+2Bx2z+vNtYTZ+0MHhdobT23jqfE4Dbe3cdSYbA4TF0yCOlocfjaGOCjo6aFRZVRAL/4k+zncecI0jFtCQiKcKoooHlT1+01J9eoeh2+5u5DKas54kmpJ/PrNS7moq2oEKSWX90Fi9gDGPobA8/4+w/b8zSXdwx1kKP8PSqbaZoEJOXHl59Zps7AGCq0ZQOYzIzhFJVbstjyGBNrf19uT71O7eGeA6pFtpcEtgjy49Zjk4o6eOaoYRF9X5OhdP8Aq2a1iVP0PuhuytusrnLE0HoPn00bVvGMYylOPlXqLLnqZQCsgYM2mwsDfmwBB+pA+o49sSbsUj0x/ASK/Pp+PbGJOs0p/h8qf6q9ZI8vCyhiCiNci7KWIWwuzKbAMTb35dxXDEUTqo29q0FNXp+eesFduKGnVh54YURNckruoVbC51uxCoqk+1l1zJcCIRRvSPSB6Hq9ttAY65RXP+EnoNcx2LQtqpcTurFHJTs1HRw0VXj681FU0ZYItHK8ZqaqO+owI3ndVOhT7IjusxEjI4eSleOaf5Ps6NY9ttseKjLnGPn0A74XdW/4cjnzWYva9fLjMxsvLpXzVxjqM5i81TzSVmFhSGSSuw0lP5WhmkYNH9wImuUb2VraybiPqnkWOTI7jxp0drdW9oRZiFmlBBqvCh9PmaZ9eg8+7y0r5jr7eSY8iqMy49XMVXPBuMoJKLN4BpSwTGUKPFD9xIirV3kRUYn0kq3V1t1wbaXTKRwBFR9oPp0tms4LiESQsyuQNRGKY4H7Og1bbRV3jmr0EsTukkZwOJAjkjbS6sBCGZhIpB/x9lT833isQ1vb6gafDxHz6Vw7FavHXxJtRA8z6Zp1Dm2wCdP30S6fqv8AAcQVAFiuq0d7Enj8EDj8+6/1zuGXT4EFQf4etnl2BiKTTAfb8uPy6bJNtaGu1fG4JvpbB4kqdLW49AtfkG9wP9f223OUjSk/TQhT5UxUef29Xfl2FyGE0tftxwpw+fWKTbS6HtkIAo44wGIOi5NgxIsf9hzxf26ecZicQQf7zWvVxy9b0oZJCPtPp/h6bJdsWkVjkaYhRcW29iQw4sdDX+tzY/Q83HtiPnJjIytbQdwqBp9OvS8uI1P1ptAGO7hXoyhN2sbh2K+kEEDVe4JAuv0H/I/ZHHNIuOLNxHy9OlejS4jJyT1zAuPIbmxAJta9gdNze7ah9OB7VW4VAGQkKTwPkfPrXEGnXWpRKLL+j18m4b+gf8BiBb6g/wCv7Zk1GSikjPl59MiQFtTAEeQPSIrMnVYKajghp4IclR1qVGDaPL5Gnn3RSO9R9xjPsaWlFJkKsrUNGkdQzLA+l9VrexRaXCNAqj+0X18/9XDpE1vxOk9x4jgPy6i03ZWS3jXts/ZW3934SSUCg3juvKYWsxWE2PiI5BHlkkzNRHFTZncM9LFJBRUtAaiRp5Fd/Eilva1XlnkVFXSDxPCg6ssCI/6jioGAOJP+TozWFyGLx5Sl29RR0NMtNFHjllURx0iQC9LTpEtgvjA/r6mNySSSTdJUhpHbjspxPCo/y9F00csjFy2PMVwf+L/l8+hNwucqMgT55lSdAJoysnEjBkEmsP8AoU2PJJH9Ppb2Y2t340hilJWYcPmP9XEdFF5ZmNC6AkfyA/zdCDBWxTCXXM40a1UeYF9X6luykjxNf6n6fn2I0dGBA4fPoomi8PCAE8Tj/VnqFNlvDLbzhjLaIwsrtaVdMiyxiMByTEpBDEKRZh9OdyTCEUB4/wCfqnhJI2mlB/hr1KOXQJA6zROsyhxz6WRTZ0T6BWciwPPvzTV4VPW2tY8ilDU5/wAtemDLZGtilFbHpL+MGSmL6aeQRlihgmF2jDXAYsv1F/ZHuVw6MHAFQOB889KLWKOngtUr6+fHz+3puzNLhuxtn7i2TuOk82A3rgczsvcFFPGGDY3c+OqsHX0tWj6o5V+3rTa1tRtzY+1O0bgiXKLKAsD1Vgf6eKmn8Na/aOmLiErWWL40ao+RBqKehNKHqmD4GbTzGwPjF11sHcSzxZ7r+feWxcrDUKVqvvtn7+3Ttqs8yr+iSZsYZGseC/8AsfcebjE1teSoRTS9B+0/5+h5cTfVaLn+ONSfz6PJjRKZlaMcsh9TaWYh3XRc8k6G5tdfblsiOyso1SkD8uk0hCqWILH5cehAx6yIsEcqI5PDBSysoX6GNm+pS5F+R7O7dmR1Rx3A5+Xp/LpD4SGBhkVXh8xw+zoX8Ir+fElNAkjrKQRBwyosgqI/F5CnBhVgGf8ANgbexFCwqmnB1Cn21/Z9vQddWCMjiooeHHhXH+rj18o/+YVvPBv81vlVubo/OLu7r/cPf3aeXweD3XkY1zO5dvVm9M9Km56DIytFTS1OQrPupKVZ/FUSUXgZtZawyR2c/T7RFGaYHlioIrn/AD9Au9to55jTUTQEmvwmnD7Oib7c3dS5eOXIQiWipJqiWkqqWqilinxOSUCWGCtppbsHeJxq03QXDKSLn2tQoXZ2qGpUZ446tQn4yeFP5Y/4rpUPLglljGV2n92WaM+fETJTTSnQrGSSJkaCVgCbgjUT/QfVTBOkp0unBajpNLE8mI2OKgjyP2/P59KDFjr2oRFnxPYYie5MsNFh677cXLFYHNTAB6LgFluFNgL8e3A0RDF1NGHEeR+fDptU8Ijv44AHQ1bc666wzyq+A3hu3A5SCMTmevx+RpYljWQSjXUUtRJTSFQFBcEFTweD7dRFVu3+z9PM9emkkC91DEfyp6VPQddt4Dc0+KoMZR9iU3YEVPLPK0cqxboo6ekXTMoyeIrGeVacSprl8ZSoUgNDICCrOshQsAD4f4T/AIajq0BBBlr8TH8uiqxUv+/e3nil/wAjymOoUq6QUE3kUTwK1VC8ErFnqIS0cbRXLEobN6vonkjEiEE0pn9nSw5GKD/P/s+vQ69e71bdfR+eng8paJqfPVlFSzV609LX08+LotxtLS0UYgQ1UNFSSiaskKaYFjijYu59t2sjG3eNAQpaoz04ygjXQA8P9X29BlvDIw4fsStroFpkqcPPBuCijyT/AO42arxklHnKBKukCMauGGrkgeSFh+4yhQRcD2nuLaK/iltLupiZCrAcNLCh/kT0p2/cJNpvLXdbLN7aTLMnoJEbUKelQOtkT5IV21uwOp+vflfSVdNt/Fb42rsLMborKiOrajoxvfH498Rk6pqOmq5Yv4dl6k4+WVlSJAIWkcC5OSn91v8Af95Z9lH5g+7d777m0PL+23Ek+1TyAs1Hd2ntuI7TUyKKGmfXrJP+8i+55e+/PJOwfeT9prGNuc2sIYtwRCQGtpUj8O4YgE67cOsTPg6dIFQCeiodXbn6Hr8Pm6Oh+QvTePmymc3RnKylqc1vCGuoKKsn8qI8ceyYmp67OLUyvJTyNIWeJ/UqWBwC95N72zl77+MPvxyLFcz8hx8zpdxyKlFMIdKuAM4VnIFaHIJzjiPzF9xn7xvNW/R322WlndCK2iXM1CGTgJQyHKUHhsg4ZI1CvSnqOt94P1BTd30A2xuXqabflT1RFvbA7nwuShl7Cx2IjzlZtf8Au+tVS7qhqKDDSrK9Q9CtH6gglLnT7+tP2N+9r7Ge/wDuz8v+2e6SXm9wWa3EsZiZBGhC1LMaipLCg4kZGM9FXup7G+6/tTZrcc82dogZkVWV9TOTWlBRcimaU/M46APOtJERJLN4xFrqpJ3bSqQxwSytPMyrK7QxQBixsToBsCbKZ+5u3GDatgut0uQfpbaFpGCip0rk0Hmfl1FvKW37hfb7b2YYpeTldOtj3VGO7NNQxUjANM8Otmv+UJ/MD+D3xQ+LuQ6m72+Znx4p9xL3JvDdGy8T11ubd/atZk9t72x2263WlBtrYceTpK2PP01Uj00tOrxqpc+k8/KF9+/n3kv3b95P68cjPM22CwSKYyxNE3ioaHjUU8h3VyKA9df/AGR5B5t5L5QOwbjb6maXWhjZSmkjtFa1OMVAPDNOAsF2J/NK/l8V/wAo+4u2878revKfZ0/UHT3UPU9WuC7UNXV02Ize8d+dr1mdxzbAR9tPLuXMY2lg+5CyVSURcegKThgRFazm4lkRJXiQKSK1U5bh6H/Yr1Ls+wb3Jt0apaO7rI7ShStUOVjHHu1Ka44eeejk0v8AOP8A5UzCNKT5XdeVIYNp+12f2XWLaK4d3mj2PKiLHY6ix0gcn2MYtx5cht11z27S6c9rE1pnio+3oLnlnm6mo2s4jqeBX/P1qIf8KHPlj8a/lZ8qOid4/H3f+J7R2lgugsl17lanFYvPYJKHeLbz3JuWnx0+I3PhsLW1SVGGqYKiKcQSU0kD3RiLkBDmW/sr2dJNp0nwYULkLpFakV8/M/nUcD1Mntht+5bXt1zFuqNEJJ8AkaiCgqeiLfyq5ular5Hbpx3bG7sXsNY+q9y0HT+5dw4rH5eix3bMmU2bX43N1eQmxWaosBm8W6TQ42aspJaJpddOy3lT3DPuRHvo5bjbZI2nvpbpC6rUHT3VRB5ggBifLB9epFvrqHwpEgGmOKuoilSKDNflXOero/lX8d+gNp9E9p535DZfqHFYPB9Oblnk2XhdkLjd1Zb5L5DI1VFg+ruq6ahyOfqNhdKbF3HnHyuLwNHHTT43MZmd8pMaZ440jDljfd/3PeIF2O3uo7qG6VGfxKqI60KkAZc/jcUrQVAGOgul7EZVttQMUyZAORUGjtX4uFKVrnrT92pjW3Ltfd+Pw2LikhqcbTYenqYYzJV5MQVuQpqqed61qeMO8JJjlPpKAk8e8rt53Btvu7aa7YeIrBz6R00sB21NfJqZwB0v2HbEvba4tIzQMDmlPlUj+f8APr6Smwv57f8AKJ2L1J1zsLP/ACs2xHuraXV2zNrZGei6w7azeOiz23Nl4vHV1NS5zEbCqcbklpK2kaFZoJngeRLI5Fj7HV1c7TfbURaov70FsgIMdBqCLUVr5+tOPl1jxccscyWm5NrhkFv9Q9CSKEazmlemfLfzyP5VVXdU+VVUWqIRLGX6N778BhaFJ0mkqE638JhKuGEmopz9T7AAsZUjM5Ks1Ph9M+nHjjoTQbHv60j+mbjxBFaftwP+K61sf5ovyB+Pny2+RVXvfpntLC7gxDYPaGNxNbPtvf23MhlaHB7dqcdXVq02V2XTVohrAsGgTWZlhslh6T0W/u+vfr2m9h7zmN+f7yWzsdwWF1cJrpKg0lRUigI6gT7yvsV7j+5u07NDy1awSbhbSSB0eSgCMSwNApGqtPs6JH1t2dv/AKTzMG5Ol+3K/aO4qeop1r6rr7cG5MHXwOR54Y8xjK3H4mCrimVCCJYahCSVNuR76xbBvf3RPvvWl5yvJtFlzFBaQqZJZrYLJGrNSkc4qQ9c4yPTrA3mnkz37+7Ktrv17fSWMNzKyRpFOZFLAFiHiIAoQDmnqK56vA+PP8zbbPbdXi+q/mr8YerfkFHvjO7X25Fv/aXWG04+0Mlk562mx+16HNYGeOjxu8MjNuKrQiqhqsbMFlYFJCbnCv7yv92N7he3PLV37h/cv9wuYOWH2+1lnO3T3byWiIis8nhUpSqimVqAMHoXe2f3qNi5w3qLlb3q2Kx3A3cyolwkKEsxICiVWrwPAqQKnIxUg/DuT4ZdZ/zG9xydb/6Ca/4jbtrdnTdmbW7Dqtr0uH6p3WmAzPUXZ2IqOsMtlxlduZraW8evsTnVahSZnTL1jEyMJF98QOZ+f/vL7Hy1N+9uZ7+393dVw824QMUkmdzENLurEszEvUE1oiseIUdY+Wfb7lDeeVvoW2SE7X4aiC2CoRHCvdEqBwFC6ceQ9KdCXvbs2X5v9jbqyu7e29gZjY+N3vmdt/Gv4FYHsvadbufa21uots09FRdkYLrfAmq/j1XvHbsNbnKiKKp/bxdOg+2iWORfan2i+8dzp93D2v5jn2W0ur33d5hhjW53qXXL9NDcAG40l0UiYylVJFSXD6WZSvUw+3nsP7Qc1e5+wN7mSxwcv7PMk0MMqqllc3pINutywaiwxUYIjKV1tGDTiDYdH/Mej6m2BmMNkYN4VHYVI9Y+yd30eUWsxM+HnpoxHszeGPmmFUMU9VCPt5qErNSs4KgBSp5z8wcvnd55d3R533m5kLtOHr4hepYSA5IJ+FlNR6ddI/dP7rx9wOdbDetsfb7flJYljvLPw/CcMGzc2jKhTWq0LLJRX001dx6oN/mifI3c3fvyE6rh3FX1MUnW6VNLBgIMrVVmPpcjkcc+V3AtZJUSvUV+RaeREkllBceBFsoW3vpb90v2vtORfbVr5ldd03GYyO75coPgBJNSCakH5165M/e5ttk5a90W5A5WuPqdh2m3Qa6AVuHB1AgVAKppUrnSfM9U47yyNMmx4KDWVyWKptv7gplvZY8nvTcOer62um1HVM4wWLhjCjmzj+zf3lUC4lRRUxItSfXFOsVKUqy4c5Hn5f7HSP6y2tuDe/b+Bx216ypoq2PA5jLZPN09Ms74XDQQCLIVlVPIGooKidp/BSmVlT7iQafUpHtbM0calj5j/UOtRyBVOvAzU/7HVgm3cFtvZ7pSwmhimgjjNSayesyGTkLRiPz1dWuNq5pCT6iwbknjj2psopNCqTReP+x/n6Lru6iifS41U4Hj0o8vvfAUVK8b5mminkDJGtVht0VCk29TLLHhJIfVx/ZJ4J9mMiKq+GUrHTJ/1enWlKhCBUORj8+i/wC6M7tvNx1Bl7l6wWugkBgw+ex+4KzwFSoaobA11LtfD5OopbftLU1EkQYaihAJ9sySWoAjEh16ePkB5dOpHPIS4FacaedD/q8+PSZl3CMVLHUYlcnurcMdMySdjbu3DRZiWGCax07N2rgqSl2ttiCGABYlpotUQF2ldjf2US3AVe01YGh+VTXp+GF2ZvGzGSTnjx/Py6BvdG8abFt/C4q16nPV7TTeWu1VVTJJUyapK+qZCzzRI1g318hst/qfZbWa6k8LOgtlvzx0p7IlFBRBX8/9Xn1xxWAwgiTIZfJSTZCVhVJksxLSPVSz2X1UOItPIsOrgK9NpCWsQefYk+nWJaSMNWM+v/F9MmZJeAbH7Py9ehJw9TTVN5qSnyUmpVgrJaWPXXyGJmLQ126c34qClidfUIadJ2UW4HHtHOjOvYKITTH+HracQadDptHMvjsjiHUUWNpw8ImpaR5cpka6mk0Rz/xLK1aIjU9RTO6OqRopNxa1/ZHNBNNbNbx0SPIPqfn8+lCMqSBvxA9FuyvYj/Gzf+0I6OCp29R9fbmzZ2vuqgxNFVZLA7Qz+SBzmNzDRQVP8UwBpJmko2bX5EdYnh8saMY6Oz3MkkkZLFiwqCaqxGAc+eTUZ49CX623ESLH8I4+o88+g+fWx98Ts0Opv5Ve6O88fA2Ty3bu7/kJ8jqRKyKpFRuR6/N5HG9f/wAQTQtdKmVnxtArRgeRllK8En3Td7F5EtrF/hUaSPnxI/kem7KeIGa6AWur0zTyr/q/wdUaZDs7d0Hy77r3R2gmcze8M/vXZu3cpuOl2tWUOKrouudm4HbQGMhxtFLh6Sljy9NWaIIZAqW9QBvcOc1WMabbbWW3MpSBXOkkaqsxJNPljNOj7Y5ZnuXuplbXJQDSKigFB/xeejt7llkeTHSAgPU1NfSSiRDFM61aw5SFfHY6ZFqqL9Ngbkj6/UI8u+EvjwShvFKggnILLkn7aYHUo7ixsorK7OaHSR5gNhR8snPW2V/II6ppus/h9uTumWlWLcnyS7M3DmYqqo0K69e9X1FRsPagXWiyNQ1eWiytWrqTG3nuOQfbW8bjLFDHHqUlnJz8QAxT5Akn7SK4p0Bd+b6/eWX/AEOJAtBwDNk/mBSv206uhr9wGdp5ZG8j62RE8qlJBHGSssgDaftxYkfgkj6ewlc3EktWJ7uP+odNxxxx1SIUFf8AAOuGHysIlMiTWH20rShHHiYmywLCWAMjksTcGwtz7Vbexr41aAg+Xp/n6anT/RfP/VQdZshmntBJG2uZmeFpDoWR5U0lZtUbBPMFBsSCCT/sfb1zctJQ+Y4dVSFWGlQKjPyz8upkGbiemippJ5ZEUkF2uQ8oA1NJ5GJChSRYgWNr+1EN0Sg8Q1YDK/OvTbQrryKMDn59Qmrw08egnxhJNba1VIgToBsQNWsC3+uT79LMzkIML8unBEmguRw/wnrKcu1yfIga4QojkgAOLrGAjKQACefrwPdJbiQU0mop5/bmnVYIHYFmSlKUp8zn+XTDlNyQuwhV4nUK/l1qZoW0HxiNkJ0WUfgcgn+ntJcXfiECo4Dhjz6NIIOwuqkCvn0no6PBZl5KbKYGirKKsZElpxSQeN3UgxVBTShgmgkOuORSJYiAyFSL+7WrR+NlSFK0Pz+zr1wXCBoiS4IPrw6LRujf25Ood0ZXbO/aLdWT2tWVtXkdg77osPktyY/JYKtm80eBytXi6esmx+6sDUO0Ei1ap93F450dyXsgujf2srIUc2daqR8/8o8/Xo2t0tdyiEkDRrdAAFTgVHE/OvU0ZLJ5CZNw1CZPCfxk064qGKbASyZXHUMKvFV5CpowmbpZRrJMTT+KH6AatQ9l807Rp9XMdNBj5n/D08kEZj+lTuatS3AcMj7PTrI5dgfISF1lrE6yA7FiGNw5Zi1yTYg+wVJM00xlIOqv5Z6MY1eOgqa/5PTqNIrGzFluTySWAa/6S3+qA5/pb22IxqJr3Hy6fyRQdNUiklgDcqCrn6lTe4C/W6C/+sT7o5omioLj/Vnp8pRa19Oox1LdSRYm4JVtWqwLMD9Ct+P6i/vSBg3ccHh1RsLw8+o0y6gQEW63N7KAXIH1ABPpsfp7rIJddUoKHj8vP/Y6UPVowq0Lf6uPQvo9uSpDKFFyWKkn9JtfliP+K+zyF1AOKMoz69EDFmpXj6kddqwHqI/rYEE/QhmJP9ghv8PflkYqCaj8sGvr9nXlanpq49dmQ2ICfRBck+k3N7WNtdx/TkD28zZomVHH9nAdNnS61FA3TdXUVDX07UuRp4qumdkkEMglJilT1RTwSxuk8E8Q/wA3JG6OpPB9+jOr9NSwU5rXz9Otq5RaxmlRk/l0sNsP91Q/ZSgRLjv8jLKlo2pU/wAx4F4jjkK28iD9Teokkk+xrZ3STQBHqKYP7M56JZSwbVxWuOlfTmkpYXlJWQGYJErNe2gnxlyOdJB+n4t7V/ppATr1ITQDz6b/ALRtKHPD/V/l6e6Of7cpUys0bTAuiRIgkaMHx62RuFUljY6ifqSPbaM0R1sauV/keHXpArgxuAxIp0ukyEcdOJGQkpRkrJ43DO8iDyylvo93Xlbeof0HsS211H4YAGpQowfUevr0Qzw6WrTv9P8AD16CslOqQeuu8ETtTvIG1QtcKz6AGZZWTgDlRf29GWJ8UfFmg/1f6vPphhpqGHd/q4dONVULpSOGeIOhCzpFcIHKBo/EbsdMZIuDYj639uvISKYElafZ/q8+tAGmryPTFWVsiSRRz1CqQzInLkNAyFGBBGlrFQSR7KdwZkorUPz/AMvSm1TW5A4Uz6g/LrjTVskAJZlU6FjYu5KH1BGXWCDpPHP1F+f6ey6K60/2dK18+mpQQ2K6aef29FW3dtal2r2JulcZTtTY3d1aN9RRRBEiiyW4o1Of8KgBViOepJpSLcPMSf1H2UbupN0LiRiVkzSnE+fR1tba7FY2+JGI+dBwr+R6dMUPGTIf1BDyQw1OjDgBbfUeq30BPtPbAI9UrwBrX+Q6VFiKr/P7f83+XoRqEF2gd9bNcFVQhdK2HDHnUCG+n49nULeLKhJINM9JZm0R6+B9OlTubJNt7Ym+sylLUVowvX2+8yKHHxmpq6ybF7RzdetNSRqQ01XM1OEjUEFnPFj7Fm0Ist/HG2YySf2An/i/l0GbubUuteBK/ZxAPXyB90z1eewxqctjdtZqCvhgrzVUNR46mnqK5VmiiqE1t93NSGURsW5JUjgD3krHpa1yF8FI1FK+WkU6B5AV5FUmrEsc/OnHz9KZ6BejVdkVz1cVDNFtqtRKfMRNkZauQQfqp8nElQFVayiLEsqWDxsy/wCp96RooQDCva3H7PPrYLuKE5Ax9vQ77ZyKJNS0EzwVcbxiqx1braRaygMV0lifTqmdIzddP61JuePbniNHSVR2MafZ9vp0mSEOrDOsV8/2/wCr9nQ1YOGvrZRJt1sIlRGFa08qSSysp0oRHUsI42YW8mlNNj9CfZnHAzkHGTx8vy6RrIullNdYqQTQf5eI/b+fQqUuVrIqWfH74o6xcS0SxVC4NUo6gUoYOzagpEkblbOqkXUc3Ht6jRCopq9f8nTiaXlLcV4j0p59JncW3eoKfGvuDqjY24eyewlaWHE4HDZ7+7kNBUtDJ5ctmsbJLFLXU1GpBaKAOXP403PurvI8epckca/zPTiMwdl/0AE0Pp9g/wAvRKt6dfdhdbu9fvvCrQUO8sXWVeBzWOqRXYGpZYpHrcMK2kMkFLmcTKzCopGdZkVgwUryEciSmufL+X/Fft6WIwY1XOf8vQL9KbsGOxW7dqVSCalyyY7IUK6aXyUVfDkKWOatR56GsqVWOIKWjp3ppZPzKFDKzVjUM1OJp040mmOjUC1/PP8Ak6WfZeax+N3RFk5ocLkG3HgMOlRBuWnnrKGjShEdPUyQPRhp4qs1OOjlaWzFzZT6RY2mUeN31Haf9X2+nTSqoqVoa16sH+Of8xDdsHUm8vjZ2XW4DOdYVPSm5+test20+24MdV7CzD46SHamD3Dk448Zjdw7EqGqDRxioirMxTyNE6yPGjL7xv8AcH2T2vdt+g5z5f8AEh5gjuklnKt/bRqwLj1ViBQ8Qan5dZx+yH3rt15e5YuPbHnXwrjleXbZYLNwtHglaJ4kR61VkIYUIoRpAJIqOgqqsdiK7D0MtHuqmOQ1Tzz5vBUtM+NgyJnjFTissYmxs+Ox01NCDF5VM3mbXHx6fYIivb61vpUngb6alArkgsCTRlrxPGtMUGR1dNptLqBTAwSSgNU4BvKtOFOrkd05LA4n4dfyZes63a9GMl2xsb5G00+7sVl6TDzY7MZf5BZDFY/J5+lXb9XV7vlkMEa6knjq5CoiUkaffQX7jP3s777unO24bNt232c+377fWsc00w0vBH4jKxUhWoiqdRBIGOsMPvA+xtr7reNdblcXP1mzozxRxMSskmklFORSvCozno+fw5/k9wd6ZelxHyi7trPjzuLJbVl3vt/q/ZOO29uLtDE7cZKRqDd3Z8ucnmw+x6OqnqoftcYsVZkmvepekY6B0d+8z/eycl8m83jkH2ks4N78EEXl3ISYBihjjWg1Ag1LVAxThk43e2H3EudLzkwe4HOviW7vcotvaxECUhskFhVmYEAZxTV3FgQGT5g/yXewfib8UN6fKvL/ACS6vz2I653Tk66q2djNkVuBzO6Orn3dTbVwWcod9DJM/wDfqdqqDIvhvtWpp555qSGslZYmbgf7j71/XrnTdPceLwoJd5vGkSzT4IjwqCQF0tQ0GKca4oekfKly1uln7dx284h2+1RZZ5DqYto16XUkmgrp1ZPCoAIPVVWC3DhoIoaV5aSrkH2cTw/dVkjzVGRLx0kNX4aqOGm/fkBl8liBYaQTzjrfybpLeMTJMrLUhdZpTPDP5/y6yI2Patn+mDTRRmmBjzpx4cOsmX22m88y2Oy5mXGw0i1NKmHnmoMjVVMQZKqeN6Ksi+yx9MAS4lgaGdmEdibn2ng325tIFmWSQkkrUmrZwcGop6Hy6V3nL9pLdMnhKEVagAYwBgfb0W3sXaeMweR3RRU8+Ur6Zdrx7gxM1S0dXPSZbM0FdTfcPUpDDUaaCGIiHWiAleSQORvs99PfLDdRvVVajVJIcCmD8q/6vUB7ptv0Mt1DoGh0ZhT8J04/1D06Avrrt/f/AExv3a+6+l8uvX+bocW8K56FYap5vLR10M0kUuVWWppqwx5CoB02SRaqoWRZFewkS5gtrywntrpS7SVFFJqtQBVSOAIwR6BQMcYmhS8Z9EzKUZTUHIYf7PRmO7vnd8wflltP+4XYe7dqdZ9fvTJgc/sDobZWP6nwPYeNxdVQ1dBlu0p8ZkK6v3PHTVOOhkpYCY4aeztHGC7ewtZ7FyXyNMLnZLZ2vpe5mncyaGpkRoAqqc0NQymgpTzMdi2PcNylHjlVUHtpxoP4mNSf5U9SOi8bBxtBtrMT46pDxJWRYuqpqynZIqVpcVLUSaTG6SUlJj44XAijN3nZgWNrj2n3e6m3SzF0rDTHI2oHj3Upk5J41xjqRdqtbfZbj6RjWRhg+ePlwoft6Mhg8FjMttvAQRYnGPk0U08tXTUNLJHXQPC8lNh8tOYUGPqUV/O01MFZXjtyD7Bku57hbXkjxSsCEoBU0U4qRnJpXj5Z49CiOxs7jw450QrrJOARQn18q9KhuqdyNFS1WEn2w1EuNqoaWOfLZmkqhJG0NZSR0sMdItIrTSp4HaUhSsmpgtj7Ytt2luF8Oe4l+pZgdQP4a54kU+VK/lx6UvsVrrEtrDAIeFCBUmvljjToE+5Ng5rZeMk3fja+mrtvw0NDVVUeTzmTwOe2t/FKtsfLaixE1RkKpVqitOK19aUjSAsFA8gkLk+6TeZ5NviuDrUipNCGINQCCaY8wAQeB6j3nRV2SIXc8IMgbtCj4R51Pn6dOnUG4JMx17g6ipyNZkaiDJ5mJKmsqpKt6iKCWnEc8lW8siVlYsYCzTIqCSVSdPJv9H391haQbV7L7rcmNI7uTeDkDiACCB50rwHl8+uL/wB/a+bc+e9rMYpANuftHAEuM04Anz9adD/BnYqfH5KlFShmjxtbUtokVJoCaWSSNnSMiZb2BVgRpP0tx76otcWc1nNAxRg8DgoSCSCpwV40OQa0qD1zqbbplv7a8g1K3jRgEAjIcDtY4qPP/L0hv5iWG29g/nf8k0oduYfGUse5Nt5TE01FRx46gpTWdWdd5LMSUdLQRxUkbVOUrJaiouj2maSWxeRifi794Kp7gb1Y2mmNBulyGVQME3M1Kj5j9vDy6+on2lh8bkHZLuZme9O2wlnZjUjwx9tRTh0vP5YU7ba+RHY26dl5bJ7dyz9KZ6ikip8xWO1Li8luLbMdXkcZkq0mbFQV9K00NSsMij7WXQXCl0948+7r7nufJ8GywQySM92BWJQGwpqjaMkE0yfOuc16zG+7JsvKN/z1uN9zUsD2NvZxyKt0VaFZBKp8RVkOnUoBIIHbg9Hu7o7myu1dm7ni6dWnzm+YMS823s60FFkNr4/L08qzSwzY0z01fn0FNFJAhpJkbzODGzFV1HftB92/dHktN95tPhWCSBhastCyL8IPpX9tOPRt94v7/HLG0Q7lyP7Za7zfTA0Q3FGrDBKwoSgP9oy+ZwurgSBU66m5/kLuTfPZGFj3FhKvb2Qye9qrL10UFU+SoJKuuxuUhrVpcpVx02Wp4K+pYsYKiJZlYFZBqU2zspBa26WtsoigjFAg+FVAwAPKnXGq7vL3cbyTcNwmee8nYvJI+Wd2yzM3mSc9IvLbhlyW6u0cOskXixNT1riIZJLoFbD7OmoZ4qaZmBjljqxJxe0gJ/Nj78iz1YRDy9aEE9ejYBc4Hr59WZfHfpiHH9ObRr8tkp4KDsHE0e8s1S4CeSiyOQq6qWqTF02UyUWsVkOColAgp0KwQzNIzKZCx96s5GJaGSpoKZ4fZ0mkKksFGaH8uh5H8L29BBh91VdXlcQQafb29bxRbgwkxJSPC7ieIFMlR2HomIAUcHkX9ie2SVwHFDGBj/Z+zohuZiJfpk7nJoSfQ/yz9tcdAzvXcez6Caagps9mhXoZFbHZTB11bjq5CeJKOshM0MQkBsrKTxa4PvwuC3xGsY8vXpT9NMVMcWRmpB4Z8iegH3BuWklin/hlBiS8l01V2EWGrpQA6F4qmWII0VOh0hQTe/8Ahb36W5hCHw1WtOBHD8ulC27RqFQmp+LJ9fX06ADc+fp9r4qeopqYzTMGlpaGNJGepqZAQzRRLo0xNYFybWRbkD2EZmkldigOsmh8gR/l6WqPDFM6fMn7fP8Aw8OglwuSpFmnyeTrsfLW1rLLUy1T5LyR8LaBY2odCw0wJCgcAXP59r4tNrRaFoTxNDWv+weHV3AC9xHhnz8z/lp0JWM3HjF0R0lVRQqFIIo6SJVMer0NHUyKhWVwTqX2uWalRWoGaEE9NMAqhkPYKcD09Hc+Ogqoo5ZJsnJUqkVLTxTzyVBq01aVpUow8gkdSt1FrleRb3UuSn6aawONOPWtKgEu+lONf29DVisrlMXDSF8ZtrbdVWxmRMbWfcZPclSmjT91XQ1EgTD0c3jb0SqGv+lf6prmqxa6ZNMcafI9VR45SUqWcefAdT+095b9x236PcGL3dnaJMjSYOCSnx1WKCno8jt+TIU1SkNAZJ6WCLI4ippln8SKahYQXBIDewjuqzwKhNBJXy8h8+jizeK31ntYNQHGSPQdbG3V3XmG3F/K1+Pew9ymas23nuo6/wDjKRy/bVX8Dym5avNTvQShD9g9PDT64SAfG4BC/j2CdxvZYiJyaurACvoTT/B0cWUcUwaAhQjAlgMeXl5Y9OqCPir8xsdsbbGM3X3N0jm/lF1pvLcO4+v9qbFwPena/UTdX7y/vZrxu95MdtCh3bWbx/vFgJTAaGBIqmWvPCurJGUvMmwwbnMUglaHcUiUhiTRwQCVJGBQn9lfTL+w7hfbfoNu9Ymk05ANAPMfP59Wu/H34H/IX5udYbw7R6Oxm3KXpfYdFkd51XdO+c0MVsjIHaVMdzyYDa9UkMeS3duSPFQmKpk8VJj6Gey189PIzxgHbDtO7G+lEcOv6eNi5Y6QKD+bEUIA8s9SHzNzLtdntyQh/FuiA1APMZqfTP8AsdbmHxz6v210h8d+mOodnZWsyu1+tOp9obcwm5a7Fw42v3Jj6jH/AMZqNyVeEjnq4cRVZ+uzD1U0AeU05m0am0k+wLul08l3Izt+mhIGPLiP5noit2Vwb4AiSWhYH1oBj9lOhORZWhjQRzGKVmCtbwpFHoZXLG4MoHJuB/reypAxk16uzzr0olpq7ePXVLWRiKWXyrT6I1h0xxzSRxt6wGDrcSPIgOk2sDbj2sglUKQnlx+3piTViEDuOa9dtVsIo4EvKheOSRPIqF9KN+36b2URmxH5HtWJXkGhqZPTp7V1ZAOcY6UFPWNTiSREDySgQxFhGUaJUQFo1BLRiB2KX4uPa1XWOshGqX+RHz+fy6RzOJmCrU/8X1FerJLSyteE+SJCQVjcpquC3EguLkWA4/J9stOnxEUU1B9ePl0pQaFo2c/s6a6mtcU6RxOY4wSgEigKoK+t1Gos2pDcE3HHtESVypr/AMX08EaoYHt6ZRNHGUBW6KzBXNtDDQUQgJYBtbA25tfn2xIA1GHAHP29K0DKCPM9OEdVJFG5kEiumh21uA0VlBOoFSeNNiDe309vwvIp1V7h/g68yDDJUg/4fPp5m3Iy4mpWJkkliiaeGQSSUumRImMRjnivZ4z/ALSV/qPZs+4J9KTGQ0irU+mPP/Y6LWs2+oDcPhx6fP8An0XDH4ujoHqZYaaKKoyM0tXXyRiQeWpnd55dHkY/bQ+WQlYowka/6m/uJJ7p5ZtdTpY1+X+x0Mwjhg0hrpFAP8vUzx6WULbWRwEDKSNPH4BZBa9iPaUEicL+Gh6eVgCQwPy+XXF4wnBPANuRywKm/BIFja2n6Ace7Cust+Ejj1taVo3+ry6Z5kLH6A6QTa5ubGxW4FwVvyBwPaesBkKH4wKn5/n0rB1JQjAz1EkSzLYGxIXi+v6kkMlyDYn6/T35WQSqq1FQT/LqqqVqDSvl+fUKY8amNrEsCfqOOGsDwTawt9PeyQ7CQuQR5eR6936dNfP/AFfl0LWoEhwSRbTdfX9R6r/pBAP+29nSumvWPipx/wAn/F9FDSoVCgUrTPzz13IQCLeptKqLXBKgf21Hq1Enn8W9uyuxNA3bT9vy6aCnVq8qDrGfVdj9Aug6SLKL/TTawA4t79GxcEk0FPy4de1I7agMnHDrhquCAW4FrfQ2JK+leCL/AJ/p7vb0bBz/AMV0yyUbw14U6zYk+KsmWMtpqJFZ0ZjH5HjhWNI9Gr9XHJtf/bj2JdsbxIwgOQekU40nShOPX1px6WDiWOCJSruQ7tc3UktYgNb+0l7D/A+zWVWjHg0FQeI/z9MxsrEseI4g/l0IChPt8e8rgTw0yxxn1hy8aln1hbhx6uLi97/19qxGqqFYgSD9vSVlPcKnSTx9D8vl9nTrDVvUzLIkc5ptCDQVAIT0tKdLXFpOeONIX/H2utyrgMqkGn5U6Q3CKnYWqaVz/L9vTsopVlSvHkFRI8sWpCVjYyMjMuo+rxwPDdbfQk/1Ps4jMaJV66amlP8AKeilyx4juPGv8v8AV59SJZLQt4VJKP5neyhWBICFH4vyLMwvx7bdMdta/P8A1f4Ot1ZlNMUz0l86HNFTNVGMrDO2tjGwgjEzyqCp5c6Y+CL8jn2U7gP0AGqKHj0ps5GjkwKgj/L03YZhDLPRljMiSyinkckmT0pKEB5RnaEm1/1LyOR7KoQgcZJSn8+lkpLAmlKeX+r0/n0mu3KKOppNt5M+mqxEtVjKg6mDvQ5iH+I455Cb205ChlTk/VyPbe5oGtEaQnXGT9lD1bbQn1T1PxIDT5j/ADDjToPcQr1ATkgr6SQAVBDAEer03C/kfX2V2w1IGJOr/V/Lo2lMSAU4/b/n6FHFxJDIl3NvS301FVJHIsSNRP8AT+nsQw6Y6OMnT/qx0ilU+FRaV+ecdFT/AJpffeY+Mf8ALr+VHbu0paak3lH10dg7IqqsyRrTbu7XzGO68xtcrxFJFmoINw1FTFpF/JCLe5A5Usob3cYxpOgCppjjWo/MV6C194UEYLcC3D7Bn/jVM9fK93bE9E9NTtjcJRJRfolxInp46iOKnDRRyo50P45JELf83LfXn3PjW4hQEYQqBp9KD/N0DIi7E4GrJx8z/m6Arcs1PM0kkzNO6ltIqCXjRdHkWNYyzKpW49QW/wCD7TBo4wSGOv0pjhgdKAileNSfy+zpz6y3WkmrZ1dJ4p4jJXbTqWZDLFOjGSbCiRrXWQAvADxbUn5Ht+1nDqY566Cc/b5Z6amEg/UAqeAz/q4dG12jksNloVx2Zb+EVglCDIKzJJSzMpUK+hLorkalJ+lrH2ZJcBWMIrqXgOH+r7ei66R54aKCAeI/LobKWo3hsd6V2zO2N27em8fipslmaIyPBI9rQ1UzCeItH6fVGbkn6+1IVgSy0px45/w9PRSRUCEHxAMnPy4+X59B93hmetlxMWXqqXauRzkmRo1o8Tm8pmMDs2BB5WmrdwVu2IYs3uQUXjASiozAtSrNqLEaW0zHwyqfH/qx/q+XWkV6kMB4RJPDjnFeuNB/d3duOwP+kjbOR3bjajGsm0cblWrNk4ujx5zOLxES7J6921kKOh2PhXpa6UwPVNVZaphTyVEoN0FAHCguSWPGo/wf7PTqyaBpA4E0FeOf5dARN8SM/huxaGs2Zubake3N5Sb1zXWWBymYrKjcWa2dhxXS/bZCqpsd/DKXLy09PpgjlmWSYgMSp9o9SwSk1+VPt6clbUnlkfs/1f4OknvXpPvujz+2d0ydP56TCbfxtGJ/4zR4mfFyzLVVGQamqPNWtGjvHIqkyHi3AP5cZ5GlDxgEBf5nH+bq0WgUDEcP2no3vSvZ3bce+KKXcvWdTKh2jT5DF08OyqfHbf3BkQ0NPmJcJW4mjrsVWNiqiUU6rGddlLkXNvadKByrAAf58H/V5daKvGdVSW1Vx5UyOHp0KO4s3i83kpaPJdZ47qXJzun3Ob1YHCVdRM8zFDTU1di6V6uOoXUs8Et45VYsAjWPsK75yfs29W7QTIqy4o4GQa8SQOhlsHPfMPL90tzbSs8Aw6Maqw9P9nq9r4d9j9H9ZbR/l7723v1HTfIfsD469Y9ubC6ixiRQbsx+2K/eHcNTv/Hds4zZtNTZCQ9gRyVv2GLFWsq0VFGaunIkkVkxy5mv7nlve7rZ9nKzlyhkkAzUajpA8hVsg4JAJBIBGU/t7yTZ86bVLzNzPdPtlrduDGFdVDKOOsuRxHmCGGaMKmtuFfnv5qLfJPZnee3Pg+m8epOrdh7521vetzFTsuh3XvHZnatThd05fE7A2iKnE7l3vkdjZHFUstPSeJErasVKIxfSWRbPtXMc6LuhTWsYeieGCrhj3A5Bxlh8WRwoSQNOYt/9jbOM8oWm4y273NxA0lzDNITDJBhG1HUq1C6ZCCBpY9wNOgu+VG9+jut/hB2PF8v97YvfO190YXN7b61+P+e+/wAll9o5/IS1ibLr9wPCv3OO7HwO8Zo6iKc+LH4Ctj8YllqAPZTtdIrhxbOXm0uBFU9i0OrzFCKknypUHFehHzJbfvDcWuYLH6TbFKMb9FQG8agoF4hkYKFY/FwYUorHUg2LNiNq4pKDI9hU/wBwskUFXUT7Gyjio+6SmkWneGmR4Z4/uKYPDJojkA9Z5APsJbx497uLPDEI41UgDxNVQPSvl5H18vTr20XIgjEZqHY0J049elpjN64XbdfXZQ75qcnKkEtOa7L7U3P48nS0zpVLVU2RipadKloZpDG6lRcKL6uG9pJdll3OFYoxGklBhWFcfnXPzpXoyk3k2GqWQswBPcQTin2f4Og43rujYm88xurKbg7Lo9r1KUOBxCUkO0dzoMxjWxFWWyUEkBjkVQtWfq5knKkaVAFxly7tU20WcEMcTTFmYnhQHAoc1Hl/h4HqPuY76LdrmZmlMFY6DBzitcDz6LBhqbqmXLxNJ2XHE0CSihz+4thbmraCimVwg8KUtfMYZXSPTGrLwOCwv7kaaO/t4vEiiqzEFkVlU4Fc5JNONaEfs6ia0WCacJJIyxUP6hB019KEf5B0+4fd3WVDUw1ld2DWR0qGU1slV19m6elqq5Zljhpa6ZMlNVSHIInlEcbIFUaSQLgl15y9c3x71DXDCoAZSQPXBH5n9meAn2nmC22wCQsBbgOCTWlcU8vP06ccfvLpKqy082W7WqnherpaiOePY2UpqZ6eSYyZLy1E2ZWqsIm8MhRE0Iw0W4tZuU7yONPDicqSdSCnEcDg+fEeZ61d83bTJctIzr3DtbIAp+Va9DZtfvfqej2li1h3rt2mylJWTUibfxfSu9abItQ08dRS0+Um3qldJi8mYKUQzPG0ZqJAdJdj7D+5cizzw/USlo7iuRqi8zwNWr6/5ej/AGjnKGH9OUa4CPIEkgHjwp/l6VVT371tDQVUlP2Qs9dWNWZOd6DZW/sS2FDRxmOtgys1PVRQVkMtO4llKGFoywdSOfYdXkC4MqSCXRJqpSqEscUUANXuwMVOcfI8uOd47Y6Vhd/NW7gBnB9CfLq7z4k/yttofOr46Vnyq+UPfua6W+I+PeqxeyKXaGypNtb17ZzVEadsr2bT7h7RoBSQ7FyFXOtPjJ4aWdK1aabxvDEA0gm2zbNt5Rtmvd1cQzxPwUKXdzTAAIoRXv1NqWtNOoHoE7zzDvHOW+xcocrWi3263KaiWYiOJRWrMRU8QckcKGuR0cvo/wDkJ/B/vXY1avxQ+QPyH2ntPaWayuOl3/vWj2n2Zs/cu6GnSLMUeCAw+0zWzURh/wAoGPrJKanlIRiWuvvPH7q339udPZnY7jlzbtntL3lyS58UNJVCZOFAy5NKZwR69Yj/AHmPuubRu+6wTc0XgXm1bcJ4Ns+oRRtktKNNM8B3BqZoKdGW+V/8pbdGzvi7svobrHq7qXu3A7UmgyOOz23q/bnSvyA3luugo5TkcbNu3OYbdFXWS9lCoqIa0QVFa1NeEQUto1ZEW2ffI+8DtHvve+7O3bkt3tO7eLB+7yzmOBZdITw427SISBkLwNTkmprL7X/d55j9pbXkO82mey5j2uOJkuKI0UphqSWcVkjZ6kk1Fa0JICga/HzG+JeU3V8ne992drbJmwu9N25jb2Yreo8L2VgM5j+qpjs3b2Gi2jlN77cqHfO7sxWMwUS1sMwheiqJP3YBJ6REcnJEO/7zc8yb9I0m53MryPTA1O7SHz46nI4AUxnoUp7o7ls+w2mwbJAkNtaxIgNa9ijSoz5ADoBcL1Ht/qPHS49MfhNt5LLQ0RyGazW6nyu48zTSZGGipKOqyNDTxw4zFQ1ssKqkKRQNUMGluWJ9n+x8pbRtPdaxgzk1BYA08/Phw49BHf8An7mXfpCbmeRLZUApGxQHFDXSRWvmDjoNMzluyN0yZyg602LNRYimiqslNvfsF6Xb+yYYcdBVfxiWGrglnrq2ropaOQvTxwFyq882PsVqZWYuVqFHl/LoGqiMlAdC8cYqDx9P9VfPqr3aPx3+RPfPYmG7NweCyVPtb+PR5CbsPfUZ6+2nlcPHUivarwdPnI4sjl6KspJWMD09JK8uoE2a59sCOS4NQmk9OeLHEQhNARj/AFfZ0ajZ3wv2Ng9/7vi7I7PG46bPZFN1ZmHacNRgsbV5Y5SrbH7DostkhJk6aClxM6VGQyYhjk0VEcdLEdMkxcismB0hiK+f+fpqS60rRVJXh/L5fz6HrYm99t9RtktmNhsjtrrhtzVuAXx177iHXeQkSiggzlVRvLNWY7CUefqIYM1JH+xJHXw5KwVpz7WLam2l0Cmk+v8Aq/w9JHZmjapATiaH/UelTvreNVgTVYXKdeRZiZxpqlp8+tHQ5SIXMFfQSPFNHPSyREOhDE8gG59mwBQ+KTohpwHnX5enSPTGAVgGpqgtXiP2+ny6LhuHs+rhieGl69p6Sni0pA2V3E1Q9Oo0/tpJRwqZEAHAcXsLfT2jklZJfEp2gGn59GaqkiFVdm1ea4/wfzp0Bm4d2Z/JSPLmq2kjpoQzwUlFEq00VOyh2bktJ4l1a/WbWBJNvZBdXVxMWkWlB6UzkenHpTDCIk0sWZfnk8c9FqydRV7uzbV0OSeip6VpqXHRRyTKpiZ7tVyJFYlq02s17eOwHtqKO4lcMBpCip9a18ulL0rQfCPI/wCX/Y6XGKod+0ZYU26qXw8HwVVHR1TBTfSCJoiHBQ+oEG9uR7Xot2pAL1B+Xl5dJ5I4ApLA1NPM/wCrj0s6Y73dFWt3DgOG0xquxcHUPdyDIY1em/cslyb3Ooji3t+JpYy2pgdXyz1Ro0aMUGAeA9epj7n3hQppxWelMqOreal21hMVGkicJ4jQ0aTJIxBF9QtzcEe96mWvhEj5Upnpvw1qK1YfPz+f5dKnC7g33i1V6vJ7Uwv3czzmT+79HVZqpmYANLpfyvJUykXudX0I9oT9SldWkJxr519OlMaRhNTDuIGQAPX/AFf5ul/n5tw7q6v3FSZrPUeSlxy4/N4/+L4/F4Vce33KUVVPHk2FLDToaWoAeORrMALENb2HN1gnmTxZGrpHl504Y/wdL7bw9VRlv9Xl8utjHFdnbfxv8tjpiTbeSxObyWG+LNS64rH5SmfKPNjNu5aklngxkrQ5KqaXIC8TpC61DuPGzXFwXuG3NcwRPXSSwJBHlXhw49GFpdrHM6kiminln0xw/wAv59akHV+66Dr/AKVo9nbxoNwU+dzmeym7KCCloGEmzsTFT0Iwm9tyVC1VJkMHUwbxoVqccrqpdqNJSyrbWb7jbJc7gt0jr4UYKaQaayRpKinGqmh/zUrexkmtrYoFA1NqqRWnp9mc/wA+r8f5cnyx6e77230N/L67Xr/lJ2UnyJ+TVU+w+k+ue0h1D8X9u1PZVbtLe2+Mz2Dt/bm3Y9078j2BvwZ/JyYGuzE2AqzL5Pt2SQkAvfdq5hVZJrN1jtlhJkqa14ouhWBpRNKggBgwBFCAenJHspplJBNG8qZ4lq0+wkA463+cxOJI5Y1ZDDWVFTMhVPs0liMxWmjhiTSsdOsZVQikKqAAce4LuJTpIfJY8fWvn0M4IRGyhS2lBw8uGAT8umypq4RAJYru8ULJGsjrGqi9jGCCdBXnn6n3d5lSHSP4af8AFdKFQag9ckEYPUPFqjUtdLMwUyzPaEyal8ccegTLEdJVndb8ixH0F+fdrWLQG18CBTqz/EuM0PUurj1mB0jENQ0cCvDdSSqr6JgoB0zEf2eAV5F7+1dasMio+Xp1QNNp76AZ4fy6l6rQEyVKHxJHGDqEYSSxZUCD62ZhyP6G3tbDU5bgc54dNjQMCmP8vTNWVraYaQSPIW1H9sqIiTYNZbarW5/qR9Pr7QOWZycHj0+Iq56xGTSzo7qknjRZNYB1RsOGNrBYwthx/X3RAvhlWHefnw6cVTwNdP8Aq4dYYjKG8egSaQpUIL6bglbarrYr9f6f7D3WgZccK9PgkVQE6v8AVTp0p088iq4S1g8iFVLOOVZl0kngfgn9Pt23XxKSN8FQKcOtykRkhCSppxp+fTRnYRTYisYHwzSWUGA2uksgUqFAIYsn1/I9pt2iS026ZlFJMfZQ4x1W2AmuUrUg8fy6DdxZtCEabg86dH6eb8E2ub2+vuPFbQAlOymD0JSA5GaAZHz64trksHP1Om4Xi6g6nsCWsPx/h7YMieIAKlyKfZjj8+rPSleLU/yenWEpyQOSFuxYmzqQTc3YEg3H0+o/Hvya1U6M+oJ6uiVIA88dQZUYEKPRYAhha2o/lrksSL8D21JEviaPhLfyPVySO01x03SobHgPyfUBZrjnn+tx/r29+Z2NxQj4Rxp+w16cTjkfl03z3JbSASVblh/Swb6EXYfg/n21cSUasYOqnH7er5DEYJH8uhWszEAKRe4Km44B+ptcXuPofZ6zk9sagA+uf9X29FHhMBqFGWlfT/UeuR4N/oWuA1yp5sTpvxe39fbqOH4gLjj5DpvK5X48Vr11qugH0ZT/AEFr2B+lrG/9fx7UeF4cWliCxNfsx02rhieJYHjin5dYfJYsSdTsNNvofUD+lh9Av1/x9+jYAFtP5Zr9v2H06pp7ixNP+K/w9SsMIzkWlkQE+FojcJqXVIh9Z+t3t9eD/X2ItjILsZBRQK/Z9o6LL+J9IIOa1r5YPD8x0tnqoWUQaCrxStKjga9SllGlSXKrcL7PHnjaPRwYn9nTGhqmUntNB+fStSpT7lD6lEKLO54DQx6WILmzXUn8fm3tXH4by0OJFHH1/wA3VW1GtAOn7HVLyRSQytJE8wMkUoUOvjf1eQEenQDYAckf09mFu3boTEY/bX/N9vRRPHpypDD/AFcP8nUyaRPCpR7AGORSpYjVGyq7ICRo1yk2H9oXPtafhANCv+bouPcSTX8+PUmGpQBoXP6JH0gXctqXzFQALEaT+P6c+3FkNWU8AP8AD/s9aqpx59JjPVavhKtZ2ClGjfxuAjrpnXxpdmEfpD/W5/pz7L9wBntmQeWft6U2jVcxjzpX16Q23cqk9ZX45pJY6mnaJ/HIgj8ZibRHV0zIfXojIDr/AKgm/wBPYOtpXeRlOZF9P9Vf9jo2dD4ZzUinTF8je0Nn9UdJdwdx9gSZDH7D6l6zyXZO8shjaGozGSxWD2LUplM3WU2GoVmq8o1Fj1mlEcKs7qG0g39ndvDPujixtk13TAABmABNaAZIFan1/wAHSKDwIJEZyVBanAmla/nn/VxHVGVF/wAKFP5YdGHSm7t3EiqoKyT9L9qTsY9V1aNYMSiyRyHm1+b+1I5T36IKUiTPq64+XHj0Mf3S0illQleP2f5+lPQ/8KE/5aU2moX5HblpddmPg+P3aD6hyQYmkxjt/tv9b3b9wb7A9fCRc/78Sop/tuq/um4CALGXYgYHA4P+odVgfzjP50vRXym+N+2vjj8Vc9uTtfBb13XRbw7n3fuHY+5dlLtaDYFbSZPYe28Fj9yUtLJkarOZ6pavq6mLVHDBQxxCzSG0se3Oyzw3kl/csW8MCiggjUa8SKjFTx6jvmmG4sT4c8JjkdcA+hpU0pjNKdad26ctPPW/5nMuXhMMCVrDxO8lTN5DRwrcLExXlrn6ccD3KrSNI7eMDp8vT/iv9XDoHRska+ev1+XQY5ajeMqcgkkLEDUmtZJ/WC1wguCIlsdRN+Tf3swR6Cyk9xr8scfs9Otohy60Az/q/wBWemelws7+OvVZacRuk9LWREQtFJG6vFUeVkJRonUFbeo24FvbhhjKhoQQajif9WPXq5lFDUZP+r/V69GS2nuGLc1G01YsaZaJVXK00V4vuk1iKHJ08baXWCZvVICbpISBa/sylSPXrausGlfWg/l8umMaif8AiulXSU9DTVSzztVSPDpQTLK5jkc3C63b1qUQjSeALe0sKHxFOqlxn7CP+K/PrYAK6RivTguKwWY3DJu3c0ividvwwJhcQ8kbQzTIheSeVSwWSV5CFQkC/P6rezb9LTqXJr/PpoV0FSKAE/n0r8tl6HadC/YG/clUf3iztLUUu3NuxEeSgoKiFoKSHG0baZHnMEvlmlItGwjUck+2XDJSpqT6+XTCpAX8UV1eh/w/8X0qqTs3O5Op2zm8nt+k2hV1mMG2OrtrNKanKUmDenio89uzIl1QUuPgoI2SNrDyVU5C3sT70ArHuArT8+nioNJB5ClD9vHoesn2vHjdt5KkzORpJNq0lNE1d98sMlRkYaJTIaehDK9XNFddL8FSL/j3V4iTigx8/wDVx6ZV0aYoqkaM1PD5U9fz6SXWPbLdP7Egq9p7Hra3d3au5dxbi6s6hp66UJj8LnKLGU4zWZijeNcJh5ajHrWym0aa39P6iPaeKBdGiT4yxp6/l0oDilQDU/6v59GD2+lENtTS/IbsnZ4y+dc1+49vH7TdOPopJx5BQ0lHOlWgSmjfxqVYWsbn3sWSxI0bMcnNf9Xp1USgkCPiwwer2f5cf87roLobdW1ei63rbYOfwUFKlJSb2686321sjc+B2/t7HKuZz+6s6IYKfLU+FwlKrl2MLSKmlpNbRhok5j9vYoDPvGzOovCS7KwFT54alf59DiHmPc93gi2rcZZBbKoRKSN4YofNA2n+VfXy63E6XvXr9qDG5U5tK2j3FQ4/OYioxryPFXY7I08FXjKujRf3X++pp45AD9Vb8D3FEXM8G3IY7yokLVKg5r8vP/L0Kbf225g3WPxttirbrgs1AMcSWwKChz/n6qe+WPx1298l9pfIjYPTeO+OnWFf3xm8bR95bz7fr6/bGe3ftfw0go6DDblxmMz0lNXTVmJLRQItOtOyvOq+cl/aHlrboead3vEimt7VQQ+twAxBIpQ8DniOOM9TddX+9e33L+03e9i/3Mrb+HDHE5MMBAYMTGQKsEIUMark0zkVIr/IJ3NUtka2fur4pVVRX1MM81TF8iOwGjj8EKU0X26SbEkhpI0polURKPGdPI5PsTSe1FiyIDf2ZiQUB1ip4nJrnj5/Logt/fLco9anbbwg5FI1/wA3Sfm/kBbio0kgx/efxapYhJHUJF/syW8DBSVKesxwxVWwJHp6aqc63VGS7W4KjT7Yk9r7bXrtr6yEhxqEiggcDwIJPpXpVH713jArNtt+yEV0mKorT7OHQP4H/hP9252BuDtXbub37sXbOAwmepdvYHt2k7W2Vntubso5toYzK1OS23DWUEOUbAUGYr2pDLU4+jycM9POnjeIRSscWnt5DDexyS3sIt41oCsgo5+eps/l0D773V3AoyRWMzSO1aPHQqvoKDojnz4/k9534cfHzJdtbr7k+NlLnKLI4HEbK2hsD5A7j31vPsjcFTNT0mYxG1dh5frrEUFTLDh5Z8jVTSV0KY+np7iRiVVze85f2XZLJrmW6if7WU/4KnpHs3Mm+8wbsLL6WVLZzU9hAXHCpH+z1r5bh2duxaA0uMhrp1ieseOKpKNBWtMyiSSVArrPUwLCoWS17AkWNz7JbPeNmjm+pu2RWYU1D8NPQ/OuadCzcdh3trfRFGxRSToPAn7R1Kg603JDRvbbUkZqKWOWRaqallpYnmMbTTRU9QdTRSDkKSPUbk/T3s75avOCtxWOmNNQSDwJ6L4+WNzmiDzWxVqcKigNfKvQ0bY29uH7vDo2zYslX00FJSQYWeXEiOqoZk+0ljSqSuWtheopwHMqhvC9jpP5C9/9NdsY2vWVGbFDSmf2fy/n0MdutN4tCpS2FQtCKAg0+zhj7M9XufAz+VVmvlf2X1lS78i6zouiKLbmF7F7qzvW/fWO3icD1rjq5nw20JNs5DZeKFNXdj5zETYasoKiRVpKSWrMkhdVQurslpaxSbrDIZIbWh8ZmI7mFCwGqoZS3YaghqEUI6DUvuFdTzvtFtFJJurloo4PC/EagcEJoo7uBGM46Nr/ADP/AJpbn72+Y2I+BGFylJj/AI37M7V652oMV1tSUmKxlLt6aowsOE2PPjsbUR4rwY7DlaanVY1SnJiZogI+I4vlut6uJt2vsbcsreDGMrQY1AjifIEk4HrXrJbkPadp5A5bs7Kwg8LnG9s1kvLh6mXxH7ylWJKrU1ZVoGYZBoKbbfT1PtDq/qvZmxdowYHaW2toYGmocXsvbkSfwLDQgGQ0mNcaWqR5pCZJ7FqiYtIxJYn2I7O7ax29IoHoi1OkcBXOP8vqc9Yy80bXfbvzHc3s8Esk88v9s+HamKsKCmBgEAqtARUdEB75+cm+arc38xfoPqTB46k+Qvx4+Dm/vkT0F2FXyNKy5M7Gdo8VjcS08hXJvWStIKmJ4KlVsrRlQjtLftf4Nzeyz3Wl7lcpxqA1NWOHD5fz6jfnnYbvatutZowyW0uHGKawWGSOOQQPLrQCxP8AMh37u7HUNfSU+3sJWVIp67IxNLU1lXXVWTJqKyvmyNfJNVVtfU1kzTTTTM00krszksb+8hrf6RVyCVHp59RFOtzNL4gKqPzpQdL3GfJ7b3euChxG6IKTCdhfeZHYlazVK01K394o2p4UjeqlCx47ctMsb0kr2EGShjsRf2oYwUEsI0yCmD5+tf8AJ01SZdMU1Ch+IgHGDnpY7v8AkQu2Nr7cxHYNJX0FdgcRBQ5uqlhFOmWohNJtLcrSFjparoawa6hCRJpqEkGpXB9ujwVTtNGcZrwH+o9JJxLKB4IqoOQP8H+c/l0G2c7gzFxRnIVVX/BoKXHQaZnmRqKlpkjoJKOPV4VoqvDNDLHp9Jvb8W9uCDtqmnA4jptml8QBlOk/bUf6uHSUi3wk18lVx1GY27mIaHF7hamdky+HqqVnXA7txLH9GQxDStS1sLDRV0TaTYop9+pGG7RX1/2enWBT9NjRR/m/b8vl0lctXZ3GZpchFXVL5qjVjjcjTM0LZ2BMdUU1PRyEao5hlMVK1LaUESFIla9h7SziR3Na0HTkFvEYgGzxrnNPKvUSl7l3bU7Up58bkMdu7ZlUNEKbgoZKmswtZd1alFUGFZQTQyKVeFzZG9OkW9tNO6qCMsOI9fkft6UeDDpYgZI9B/LoOc3vDI1cJqRR4+haccrSRMIJVVmD6HlZ2kZRYfj/AGx9pL68aWJnaoceX+QdKIIdAoukR+nmf9jotXZ295EipduUDv5q2GN8l42tLT49yPHRPIrArJXn9S/URqL8EeyCM6CZVDVBqB5cfPpQ78VoesGzJ5p0gZ1YwxoIJQFHkaSJyySMSLRSA2IH0tx7ND4viC6OU05UA16TSB2IeuAc/PP+DowWDqUKRH7YI+vzH9t2RnBUmXyMxdmZr/pFyf8AA+3o5XLhwG0sOBBFD/m6alVnYSJXUtK58q/5OPS8TJUyajUikACC8yzhnuwY6JoZAXTQ/DBW5FgbD2a2cgEtJ0Hh+vz6SPCXBljd9WrzwKemP8P8+pkc2MrIytLTFnKWJgcMAxbxzJLFKIn9I4AAINzY+1EjRTvWMDWOHl/q+3rSu6INIqQB5/bx+3qbisfh8dIlRGhqcusgp2lrCJp4l0+WEp5f83HoUqAAbEEcm3tOYIgrSMCW4EcaH/V6/n1sXMgorDP8v5dCPhcZRZ6DJbZzVLBVUO48VkMbVUc9JDUUzCqhd6RWpqhJIKoQ11PG4V1YMwHH09kW4wF4TLF8aiv20HRpAoLquqhYgfz8vP8Ab0APb2N7Mzu9usdyD5LbP7JXC9UbTo4a/EbrGBrun6HbGQylLtrr6owtQKenNVtSaRZI8fBH4IPKAeQSI6n5hiFqBNGRdUFAaAGhFeJFPyrX5dSPD7e3jhZomURHOo1r8vKhFfsp8/JS5d9y5Vmrtwbjpt77hyW2MXT57KS776+loN0qu3xj6qk3O7yUmcpqpJgsrQgsIKlAq647n2Hprjc5JnkiWMQlgydwqO4E+fpUDOf59HycuIkQhuFY3IGT+Fv9Xy6vm/4Tg9WbL3Z8kML/AHiwPW9Z2d8c8PvruDG7pTDUWU3kcLmNrDrrbNTNufB5+rx9BXY/du+6iGnWSghjfG0kSI7TarE/O3Me6CA2aogsJYtLPX8QNdINfsqOPnw6Ds3LFvt8i3Cs3iPISVIxQZOPsGPLrdor6mGpq4IiGMdL+mNwqlB4yIlmRWKiRyC62IuB7hJ5VLHUufz4cOHQhVGKeKBQMc/bQf5OkhXyxSNPFHK5uUkVAj2ZlssioH+kaajwTc39sNpp2saA9b0rpqPz6f6BWahiad2Z5NSQxuQAjOSsSliRKVSP8fi1vZpGmmMMzVI8/wDY6TsGJLDgD1wNTItTEnmCidoFZ35PggWRY2vxpkVmC3/SQOPd0DmWpwpHHr1WIIpRiPLh1IqJYWMcEJMEbSMy6FVrxalT1Lcq6gIWuLWPtaDD4QqzFiPLhWvSYR+I3iH4P2H7KdQacyS11SyOVEcKFLFSdSvYMADxqVLNbk39p+4nOOlQarCgOn7eoL1H3Ez2bQJHMTKur0KgBYSfUKNYtc8D2zRjIxHw4yPt8+lvAAeXT9jYPWAxtMEXheAvJVOSNJBP6hySOPd1UFhqNAcH7OvAhe4f2vlXpzhh8U8ZRL2ZFcWZWC6iWJFtQ44/w/3n26shWVEYYJ/Kn+DPTLNWtR3dF8+VXevWHx163h312r2RsXqrb1duzBbUodydjZmnwOCqsxlEraumw0dXUgxS5GspsfK8cY50xs34973OxvNytGisYnkl01ooJoq5rjJHn9g6X7OInvwJCBRa0P7BT8zw6r8j/mm/CgLH5fl38VZ0u6ax2hQ0qMyDVoDC6sUA/wBh7BJ5W5jPY9pMWIrQK2Ptx5+XQy+gATxGrprg8BTPGv8AqHTrTfzT/gowLyfLH4vFWFrwdy4uJ7hb3HmpWQDiw55HvR5Y3+NwTZ3GoCmEY/5OrR7czxeIvwH19AP9XDpzh/mh/AJ2tUfLD4+wM4sBF25taUKD+VEvh8l2+gvf/D2xLyzvrESpaz48tDD51OP8PXht0798VP8AVw/1evUk/wAzP+Xq9lk+YvQFLY6VMvY23ZBqtqKF4apvXzwP6X90XlffBJ4zWsztxHa2Pnw6pPa3EaDxqBScHH5/Prt/5kH8vCS4Hzh+MkXpVgKzs/E02nWbaixDKjE8ck396XlbmSUMY7W5BPloah88Y6ZkieJqH+HV9v59Cz1b8gfj933Fnp+hu8equ649qCgXc8vVu9MXu8bZXLfc/wAK/jqY9i+OOUNFN4C4HlMLgfpPss3Db912fQu5RSQuwOnUpGr5ioHWg0YqFqCP9VT/AKqdG1JcgspK3GlRbWDySRo/Uo/2r6cezb6jFeIP2f5uix3KCq1Jr9vXH1erUAGNl/SGIFvwGsCAPqefeiS4GP0q8B/q/PpOayjSwAanE1HXduQOb2LMQCQAR/UAryf8Le1Evgs9HJB8iPSmOqABVoANNeH29YHUr9SdWg6Tp5sFsE0qCdY/HI93yH1qxaSmKU/bjyr1UAg1rRfTrLQyeKuikbhXQrYkBGYD0s5+rfUXIN+PZrs8rm7MchoSvD1+frjpJfACMHz6XUq6/GxUM/CtosNDkG0bkX1co1uL39ii4RXYVIrTotTU1UJx08QNNMzvDH+6lE6kNp0toOt7r9GuDb6cEe3XE0khMYGpUyTgdXoFoGJ0k1PTrQV4mp0j0lJxZUUBwqs5sJY2bkar88hf9h7W2U4kUKRSQYH2H7ekE8Cq2vGiuR8vl0+0UnmhkicIXaYQyN6SGdFMupWBtYsRcA/QcezQHz86dEkkLqWoD61+VevNNMRI6IEWpbxxBU0NrGpZJJG5WNC63BNjY+91p2jzHTQoFr5mn+D06TOXnvR1iVMKyeeGcuSEklCozNIyqbLYEegAXY/09or0UgdK5px6MrVAI1bFSfz49BpiX8Ocpq2ASTLkKeoTQ6qrTEkGZJGBAUGP/Wu349hCFUSXUGBf7ejCVW8MnPEf4elHvXZmL7R2r2T1Xnkhn2/2j1nuTrXJq8YqEkx/YW28htRagQuBG8ssOTYMLANNALcsfZxtl39HukUoyAw8uFcV+0cf2E9IZk1Q+Iho0ZDH7VNf2evXx/sntvduz8hldlZzC5SHL7Izma2Zlo5aWrd0y+z83kNrZFZmVHAdMjh5L24uLe5cvhZJfyFpY1ZjqpqXGsB6DPlqp1L2zz3M+1wyRRSFVjCkkGraKrqOPxUrXzrXp5xOSqRR/vUVXoV6hXZKSoN1RWkEsgSHTcOCLX4I/wAfZJdW1sZa+LGCQKAsK14Yz0aWdxO1AyN4dcmlKfb0YLNU42h13iqat3XgtoV+4qSnzGZyNfJ9xlFSoiC0GLxeNKvUQrR0LIXunkllLm/0tMHKm02+37WndR5u+vA8D5etMenWPXPvMMu972yaf8XtuxSfM/ipTyJyCa8OijzZw1E9ZQbAoclnaqaZkq905ZGjLRoGiY46jdyKOm8lyCCNAIDG9/YjUKycOwcCfPoFRmIsdZ45/LqbjNgRUR/iW6K9shWVC+iBZfIHnl1FhHFIbyMSOb8fQC9/b0VvGGPcdPp1RzLqKLhP8IPz6fKnCPLGzVGmlB8ogozCgSmhZQvmkXlvJKn1NtKH+h9rI4grFzTT5fL1/b02WKUT8Xr609Ps6BjJ56q21k4K/ESLFV0UhYRzf5upQSaJKaZToElLMv8AsQRccge2Lg6VCChYGvz/ANXp1YF6gH/B0Ybbu7sbuvBpkaWRYRUaaSppCVaamyZhGumm5XUqsdSaiFdPUPqQGA6so10VqHz4f8X16kmVOBU/s8uptBn3xM0XhxcG4q+M+egx9W0YxcdaCDDkMrKF8S0lLfVoIuxFh9D7M4jH5UYDiK/z60QxNGJ4Ef7PDPUCbd1HBnHztXEvZvZVexSOtrVvs/ATAMEp8fTIv+UQUjLZYKYePWCZJPr78V8VaH4T/g6qkaEYJNCakin7OnSn3cm3ayuzu4aip332hmY4oGo6ZFnixsegrTU0s1ODQ4ahprgRUy/j6C/Pu0cdAI0yBiv+T/Vw6sx/DwAPSCymfpYcjBuDtTcQqpo5EfH9ZbarIoK2sSGUSR0Wbyxdl2tg5JB/lR/4G1UeqKJEDFwmm1RSMJj2kcK9VB8RQEzT9nzp/qx0/v8AIDVU1+8YjTZXfm4JI8WDA0WPwm3MfSU0rUOHpa6plp8bS0kcMTmKnaZS4QMQSPfjcRKtKjgPPI/1cOlCWrE6lBIJ/KtMjoFM12Du7OzvVZCqmUSVMdO0VOs8jhno4qsqumI6migkUPckBn4vyQje9tdf6jAJjJPl9nS1NsncrpiYsDTAP2/4Oj2fAjuHrrq3deZym5/jRne+u0K6tpBs/O5Lem6dqbR2Htqixf3FSK7B7cxOXyu6J8xuSOFquB4lWWhgESyKryAgXmnd4ILVilyECq2BktjzwaL6+fQ/5U5S3HcpEtpbebvdcheAqKjI+I8R1sp7v/na9nPSbT652J0t3DTbwp6WlxbbkxHTtYtLgmTFmog3Fsrb+UqsRis7tjB1QWkjglr6Vow8TokqI1oBt+WNsuLZ9wnvrYTyVdQXBapJIxWo8zny6y1Tc59raLaNv2m4eHQscjMDoYBaEmooagAHTXPEcesXyY+V27vlN0TtbpnMdbbs29j4MxtHfG5d0b62t/dmoyO6MQcjUzSR4yGqycktblKyveSSWWpv6WK6ySQFb62toF8ETjjWqVzUEH4TU8ehY806xLcLZUk0haudSgYooQ/CMYp/l6IzB0vRtNO8QwFMamaN5pExdSmpqeIRMZmSRlssahSdI9XPJ59hS6d4KRAytAq9oq37Wzg+dOjaztY5B4hggGsV+FcCnUWLpfGxfdUzQYFxIsvhePG1lRIS5DCoItJH5VFwo5uPqOfdf3gUh8UF2JIAFT6d358T1s28RLBUtwQfJQcfs6SGQ6X0Umaw9P2HR7cxDzUkS47I1eSxNBU1ORxwqaqsmoqOkliaWreERl2UtpQKTbj2Z2s80hW3ieQxFhguaKDk0Pz8+iC72nb0YyzIoc8OwUP50r0gMT0ps/yRyVPaHXhmWOayl8oK6OSO8citp2/onMqC4QS2Yjk/j2/ud2ZLOUVbxBgDUTp9R+z1/LpDa2qyPQLoj9VUV+XlXrDXdM46tiip6HduzvOnk+3YVOTWtlQIsbxU0Ax/kKVKkk/RdV7f19p4GIRZFYBCOBNanFSOlTxK7GAFq+WPT19OkXgOmIJciqS7ixldDTtStJDNDX+GpWeeWnSxmpkZooZYipUNbTz+PZ2l2UQyqEaQqRQGtKEAefp0le3DHSQVQCuo+fy9KjpU4TYlZT+KppI8W9ZLWjG0tRXZSTEYxKmur1xuOiqcxOsdDh8OKqSNZKyYiKmgJklIRGIRizSaaNS2kSFSTU0UsRxNaDPrw68ZbiMM0R7QCTjJ88CmT1uobR/kq94Q/EGLqKl+fO/+u+yexINvZztrde39hYPfdFT0eOxVHWYfrDYbTbhwlXFtnaOVmq3hyX3LVGXkqDNIiXVROtl7NWotESa9kIl0vJGWLRM1BjDg086hgCeApTrH0feCh2bebjcrPZYHuY1ZIZiKTpk1dQYzSRqUoVJUVFcmldC/8JcfkFtXeuK7H63+fW183uOizlBuOfLds9BbklzOVyePrRVGbISYff5mpJKhAUkKMzScG/A9iA+21nEhtA8fgr8OlWAU+VCdQIB9an5+iSH3/FzN+9pbW8Ny57y7rqOc0UqCDTAIFBg0PDq3nCfy7vkztlYafH947HymApPP9ltg0HaWKiwyztG/ixmQjatrp4DJqskhAiFtJ9kTe0N4/Yt1bGMGtKEZP59H8f3idk0Cm33ol8yzIc/LsHRad3fyxPnjifmL1L8tOqd4dE5eXbWzs31F3Xsre+S7Hx03aXR253EWYwVDuI7Qy7w7ixcTGWkSdGgqJIo0kKpquKeWeQ73l67+ommidAKDQ37a8aj5YI41pjoD85+5mxc1WwihhmikBqQ9COBoQABmpqSa/Zmo1qO3/wDhIp/Mspew9+VXTO6fihX9bVW99yZTr2hyHaW+tvblxmysnna3JbaxmYx9b1hJi6evxmNnhgmWGrmS8HpPuRUDon9I8aH0+3qGZHhYkRHifMHgflmp/l8ugDzX/CWP+dDTyK6dWdK7paWA01RXYn5F7OpErKVydEU38eoMNO8kEh1RvpOgkaeR7v4k3mSain+rP+Tr2mBk0l1qeNdX+DQehJ2z/wAJkv511fgsltbd+z+jKXb+WhqNB3d8jcHk8piK+WmjpxkaSvw+3dwySLogiE0OlllWNfowB9qkuysYjK1p8x/q/n0wLe2VxR1AA4gMf5EDz6X2N/4TJfzmcXT7Yihpfi1X5DbkKY16z/TzX/Y5rBQSGTGUtTBN10lVDksWrPB5gCslMyCwaO5ei3CSIEKMH5/yyD0zLCkq1ZjqHywejG7U/wCEzH8z2o3Hh6uqqfipsnB5wiDedFlu3t47liwwl/bqK3Gw4LqyCXMroYyLCZKdyfT5B+r28m5hUBCitc1yf28Ps6q1nDIKSSnHCi5+yvp1Vl8/PgX8uvgVuPcm1vkD0L2BDsLB1GQG1/kP13g8zvTpLc+EgfzUu4aPeuCoqs7KWOHTLPjtyxYmtoCD/nYwJmefcBKDoOmP0/1f8V1aOyYN4sGQRSnmPWoqTT5/z6q+2H2hsymnzdTS5nGpnss1RTbz2dTSUmTw28KhkEi732zUY+oqIcXl2RQ2QhdVilYM6sGJHtEbhFBYEn8vLrTqAgUireX+r/B0mt1bzp6CkrM3ViGGmpUlNDQ/vaqmUqVo4AlmiY1EgF/ppS5/HtJM/iZoCQcAngfU+v2dOoQgBbuAxUU/Z9o6KlDksnlq+pydTKXqqyrNRVSposzut4kRpOEgUWREPKqAfr70rOcnz44GM9UbB1Zof59DvsnQKiNf1Qz+BwbNcSw+mUFS3qRrixKi7L7sryg6UIyck9eDhcUr0ZnFNL4CYYFqHuJBFIoXxOp/dWPS11ubG4H1uPr7M40agyGJ4/t9Ps6YkdKf0jxzTzpw+zpSUzip0qKRmsQAfEi6uSHbySIo1jm3Iuot7vG0olOBSvVJIiYQykLGT+ZH+b/iupcho4Cv3MclM+sOoI/bXRrXQiRWlV5k4WxIvc2t7NNFtjWtK8CajpIXJbSg7ccKEYOPl1Enyn2skElPGJo1JhlI9Uwim9KFS5YyNDM6kAXIGr/D3uSZYRphFcivz/Pr0Z8R6vSnz8j69KLG7jWlraI1OYGMqqdoaumFSEWWKWPSVusep0u4GrVxexI9hrdbl5F0A6R5gUGPU9GMUQRQyjvFM/P19ft6CXvva1Hja+p3dt2OmrMHvqOtq6VcbTGpXFbgilpn3LjahUidl11Ewq4HsAY5iByhHuGd9236LekeNgYHbV8XDBxk/wCqooMdZHcn8xJvHLhjl7b2ABCT5jyNPLH+z0XumyFL5Y4Z6SmmsqvLF4lDTSvdSv8Amwy2ABYcE/4e0TJIULhiBXGeFOj1HjLojqCwGfmTx/1fs63Mv+EpPV9FBt35wd9x0Jjhrsv030Hh62FbkQ4nD5/trc0CXVTqNbmcOrG9hZb+wRzpc3FtYW1rOQ/i65OPCp00I/2gNfkeghzDJay7isEaEPECS3DVUCgp50EhyfXrbBpzO9FUTiOMGWpkMmsi6guYvWFLAJHGGOo2FyBx7iwI7EgN3HPyH5/z6RBo9OlgMfP/AAeVR00UkREk8xV5KUNGgeU2Xxi+hlNwoEkluBcHj3qNXAEbGrE8em3IYlQPsI6W8SRmopVuYxS00b1AUAqJZF/zagO0pkbjkmxPA/Ps97YiI8afM/PpMzspoKHPTFWTPNNNPdtMQjjhZY0sjEjx6I9LFv2w3JsFJv8AX3srIVapNDw+Q6speg1cM8ePHHWCqmaMq7tKIo1kMKhV1HUQJSdOoEF1/Jtx7saInhn4B1WSPxATG1B02U1auiZmmcu0plaKJCU5PAIUXVmLA3uB/sPbUrkIdGTTH+rj1dBoyKDpxgaFvtkUxuGAbW7kAyXJfVYAFv8AHke6K66QrVJ41+fSsVIqOPStoEIj0nlv7ARka1gWuSRe1iAf6X9uwRvqCg1alaHy+09U7Gzxr/L7ft6dWZjZFcrPeISMALyNc6dLHlRp4I/PtbLLI4AkAAHn69N6SxOsUXy4/t+zrVU/4Vgb9gx3xz+H3VFRW08UW8+/t6dh1sDaWk+36468kw9JKULEOk2R3iyAn6MP8fY35XjuBbXF2AWKxhV8viIB/wCMk/s6N+WY1fdSJGUQooxxI4kcfmop1pEVNfi/BCGaiWnWSZvGHgK3dY1ZhHpvqMXGpbj2axwXJlJGvxKDOfL/AGfI9SkZY1g0UqK+f8+mx6nDK2kLi/GPQUC04EYYgCUAcXW/0NuOLj2rMV5So8TWc1zn5HpE7RO9JMQqKaeH5jqSMphy1MV/h99Sh9SUyjyDxiQRqTcqukWIH+vb22LW70Of1AaGnH50J+3qstzEzJ4QIANCDiv+frNVZXb7pL4oqC/3NgNNKyglSvkKcglb/wCLD8H23FZbgKai9dP9L9lf9QPVpLizIMdCaHzHA/b5dNctdg4mn874yOGOD9zzfZwwIVAAtNwiR6rD1N6j9fr7Vx2l+zqE8QvXFNRJ/Lz/ACHRTNNaJ4kk7KsQXieAA+fAD+XW1v8A8JYarHV03z8koJMbMEo/jXG32U9HN6DUdrsjP9pI4F5UYLf6WP5v7i33jtpY4tsW71q5MxGsEcCtaavyr+Xy6D9peQ3V6ws2R0VRUqwah9DStccB6dbloOlFvdr3As2lrN9ObHgW4/r9fcYI66AGoKYApx+dermq8M54ddlWNmv9F+hubtY3F+FYKo496U1YZqteHCp/2OmmhZm1nFQKD7OvaWtcAgOfrzq/pdrji/8AxPtx4ipEslDXiB0mz8XkOsTqw1EnSAAq2FyrWsU4uLXH1v7cdgjF0wNNB8gR1Vlb4gfy/wBXn1hjjjNVRh2ZEaqiZyVCjSjg+P8AVbQ30/H9fanaypu0ZyddaD0+eek12f0jVa1PQj0czMzqlODAjMGqCwUySsTay29XjUeokm/A/r7kCKSRWIKhgBj/AIv06KMIrH8Z6dKef7ao8xuwkhaMEHyDV4SgVjYAKHAPHC/19+WVomdmBKMtPsPVkj8SOjVIUZp59co0kjeOZlMkZiDkDVoaJCqso0AMdSfUH6+1ECVCk1EemlfmPX7eqvTTUEhdNPn09wuXsnjCkSJLouBGCroyoun62iA5YhR/T2ZkKB25HRdMQVGnjppx9OnQFdbK1yzlpGjL+ZlNT/bRR9FUqBwbD/D28K0qc1OP8329FRV1ywpXgf8AV6cOkxm6OUTxVRLLSCVVkMh06PIQjs1w10CE6he/0/p7TzRFstw4U6UQzGOMIVp8/P1/4rpFY3Eq2QqBJJKs+KyReDnXHLTzML6gUj8q6blV+gP0/qQn9OsczJpJIJ6N9TTRnV50p/sdKyqo56GrbK0yGNZ6RJA0bM7UWUxMkeQVGvpukv261EFxxJE68avenYpMHI7QRUeuetRxhQ6SU0sKfKvz+X2U6+a7/NYoIejf5l3zd6yj6+xP8Dg763VvjBiny0+PaTb3btBiuy8fLE60NS0MNRNueoZtHGvUB9L+xPuPL9pfSR7taX0yLJGO0KGClSwANTkqpQEf5KdTTyPvV0+wQxXUMbeGmmp4mlOPCmaimeFa5oCZ7U7CxNTUU+G/0c7fp4J3nCSzZisFNi6SlhlmqavRFSRiralEOsiRwCwAJseUe0cmS3u/25lvp5qyqWUqACK5rkkCleHpSmehVzHzLDs/K11ei3gUiFgpOCrEELT1z59BtkcZs/NVdTlKueavydVIGnydVrmQGUnU8fkMkUMaBSdIDNYAAAH3mOEhWIJikYAGOHWCLXMksjSv8bHPpU8TxwCfmeklVS09NLFh9rUEtRUTECGWYIlNRrzd4aKGMCRx6dQcai3PA96Xv/SQYHn/AJumqL8Rp29Kmh2jJh41yeckE9dMF1orRM8SlCzgBzI0MYZTrezFQQByQPbv04DFyRwyP9Xn14SusdVGutaZr/L/AAdBdvjdFLDFNSwmVXBLeZWUGTR9ELsVaNGXjSNRBAJ59oJ5njYCGoGa+fljp2NGcB5h+t5en+r/AC9Faz8jyl5JGLO0gZRct4/Ib2LEkKdI5N739oWDeJ4rGpavSrST8KHTTJ/1evUDa1Zumny/2u0qatyGUyCil/htHjnys9Zdh4StAkc5aWB2BRwt0uQDYm+pZoIozLcsqRDzJA/w06UW1hebhcfTWMcksvkFUknNOAr0cfY/xp7R3VFFWdi5ek2NhSyLW0kXjy24p4hbxrUY2CX7GiRi9h9xMzITfxcEe4+3T3I2Xb2P7tElxdqeIB0/b86fl1M3LHsrvG5abreytrakV01q7fL0Wnnx/Loy1D8bdg4LGxz1ePkzuNiVfvsvVZat1z0qlkElVLR12N/h6BGv4lVYv6C3HsA7l7g8y3kvjWzsuo5C4AHlg1/Z1Mu3e1nI+3xgzQhpADVpM6j9mMdPmK6C2BX0MdTsja20qnHsdVRNuChrpYTC9tMlFCtfHkMvduA7CKIm3rPvX9bN9tV1NdSs/EjUP83Dq39SeVLpvBtdvhSMt/aaTj5gE5x8+PSiwfx76fNW0cO2MXRZuoKxzyZLDxVGHldR/wABlhaldMQ1Qb6QoZC3DSfn2X3PMu/bm4iFw8fmArED5edf59HNhydyltc5na0ikOMlR5fL58adClj/AI+YGGOWkoNvU2MyNJURzz0tPgIRSzu0bRRVcNGtOYDURUshUyaGGlyt+faIbZv9/CP8ak8RDQnWcj4vXPH8ullzecu2eI7GPwicUjBp6k+mOu4uiqeAvHLiMkLNFqMGNhgIVESKJ10rGLhbAOthf/H2sbYt0kKubhqriviE56RpvGzq58K2QrwH6Y/aejqfFTrjZByVZsTOdN4/feWz+coc9t7I5iuq6Srw8VFh5cPkcZjRjqmF66trZJIp4FlkEUc6n0Ekn36fZpbWwk+om11yzOa4zX0z/h6R3G7SvJG22JocGgooGa4NP8vWy5XfBXaub2lt/BV+z5nppsRQ0+VjKQSZCiSZI2qKeOSFbNkMepClkYI7oSQQbe4lM0vimOOrL60wB5Y9f+K6lrb+YrAWqLdzxLcooBBwCQMmuRQnz6LT8n+iKjbPRlVRYHbNLCmxd7behzWXNQYKlNtYWOtbHvLQFSac1FRkIFcD9sAHRwPbdrILiQwt5HJJ4H/Z6Nt5uBJtaNbMhZ4xID5MoNCQeGOBAyPPqvqm2zUmQf5or6WK2llKJ+qW7hUDswTi9/z/AK3tZNFbvII8l9Ofn0DkuZzGXJCkYPnj9o+35dOkW0xHUSkBQDEF0LQ6dam7CSQGxbk/4AH6e2JLVUj0xJ2VJp58P8+fs6tFuCI7DxKE8P2Z6Absra5dcrKrL5Up8WyI8QAjNFGyyPYMpCqZbKRck29sM30qEJGwYnjX5eXSlWa6BYOClCP2D/Vj8ui8L1tkazcMhpIRI1QzOkQW5NS0gMhHgfWQSObD6n6H3U7laWUUhudIjZiSW/DgU/b0hiik8MlSyn5Y/Z/lHS8yPVO6thVZm3LtvIYg/ZVjwiujq6CRvIVhEtK1VBHNoVnH6TYEgceyex3jZL+4ZI5lMgFaA4U14fn0tgluWekQUlXpnjinHpE4zY7ZBca7U1UVRoUXxRCaOULXGV5XQkEr5JL6TYf7b2cqwEjiM6gacDn5049GM0TPIVYLp4n5Z6PT0/HQdebt6w3bl8ft/IYbb+5cdXZzCb162Ts3a+fwL01VR5/bOb2AZaU7uoM9iK2ek8EcqSpLMk0RMkaowj2C6j27cI7yRQ8MUikhxqBBPwkeY9a8OgrzPaTX+03O2pI6PLCwVo20MpGQwbiKU8vLq1bdX84ir6B+TWR+G2Eou/NoZvNYLY25fj70/vvZHT+0ut8Fi8sifabfxHyJ3NubHZas6QGJSBqLH1m3MfuXCS+XFSsFp0SLP/kbeOSd3vtvtN+g+ntNOiZ0Y10EdrCImviCoAIIU04VB65zc98tc7Q2N63Lk0Uu8NV43dT4ZYE1BYUC1INeJFanj0JeX/nh/J7A11RTZD4dU1eaeVo2qcDv2izGPmKSePyUdRisxUmWF1Fw3jHBt/j7yDk9sfZJ20Rb9usdR2lrHVWv2OP8PWN8d595WJdUm3bFLLUYW8ZVGacTGSajPACtft6gUP8APz7hepFNk/h1uyORSA8OMrdyzz8jnR/kkkcgBIF1Ym/492i9nfae4WsHNNwrE0o+3sD/ACn6dPMPvumLvY7FXGT4e5KRX0GqHh0v5v57e/8AHxLNUfBfvyvhQapKrGtlkpuALgST7Vry2gm5BFrfk+1MXsZ7aTp/yuVtExIxJYyVH20nx0guOcPfaKSkPLLSwih1x39uwb5KDGCSPTH2nqXTf8KDsXCn+5f4ad/UL6bkHLYZCgBNyVyO3saQCATyeLf149oX9heRnNLPnfZWevwvFIh/6uno8Xn/ANy7W3Q7hyru/iMtf0nhkAPmGoMHzFK48/Lqb/0EVdVQuEqfir3nG4AYq+8uoaQBQbFm/iu5MUyGwuA1ifZTP7AW6Ei25p5al/5vlW/Yel8XunzEHVLjlXmFGxUaI2/koNa/aOuU/wDwog6ckkE3+y/9r4mBNMUlPkO4fiTijLJyfJT/AMd7fglluCBy8YB/APtCfYW7jiL/AL32ib0McpevyxTpq893tyjuEVNg3yNGFSHtyCP+Mtj+XnXp7xv/AAoF6fy7Wovj93fKsWlpGpO3vg/Uqy3AJXV8iU8oN/oh1f09pZPY7dUQOL2wYHyDPUdLpPdC5TSJNuv465qQgH51p/n6nV389/rqsQPi+g/knSGKdIZhDmPhrmoi730o7R/JWJ4rjnUBpFvr7ci9k7+OQJdXFkQR5SsP56T0ll92VqywDuHEMYwRjgKtmnSfq/50NBlknx0vWHyNpqaaGWGthye3vhY+OqqWqidXgnlrPk7JR1MMsLaWQX1K1j9fatPZyEAeLPar6H6g5/Lw+i6b3juolrEqNISABRK/Kn6gBPQL737X/l+fNfqff/TXys+J+8ajpCjoB2Dlcns3AdCbLq9jbk23DVT4ndK7r+NvdlduXDVkElSxhnrWjxxqGVKovESpT8xeyhtNrbcduv8Ab3kRhWNpzqKkZpqRQTXyqajoz5c96Jtw387TuNjexxlDSVowVLY+GjsePEkD5H1+Y52vUvF2HvXAU0+VkwG3N37mw+3KbO1eJrstFhaHMVlHhjm6nb1TWYGtzv8AC44RVTUkssDz6yjspuYJuYZdvvHhkA1qaEVBH5H/AC/8V1N6XK3UKyR/2WaClDnzIPn/AKh1g29BHIVZ1YF2VjyONZK20M2pJCUsCGOkWP0t7qgEgNVpExJp8gfXrZNfy6GnDyAhHhXVImgp4GkVvJq1BTpKGx5P1t7uYgw1KQpB4cfz/LrRbTQDj/q/l0N2Jy3gginikkiKjy2STiMoVWVQwZpPLTOPUOfV/X2tSQ26Clc4B6RyxzSAHyJpT1oeI6Eeg3DislEv8cXPFQpjjmpchLTUSKLKzmihVZS7cG+o8/jn2shNvXUwbWRn/YHVJILpiFRwYgBUefHp++32D49cGQlhVAFlaeokbxXDkB1kbyO4itp4DXJ+vt9IbRyRrNfIE/6q9Ma7tF0lQI0OSPMep/y/t6bqnH7elVv4bmMbEZidcUtagaRFMgRSZChZ9Lm9hqDC34v78ywIunVUDj9vVm1ynxNOkECtTw6hUOFxca+eopZaqaJ3QTU/70EshVry1MtnUB1IcAXZj/h7J7i3jknzlPUf6vLpXFJpVRXjwBOT+f8Ahx1G722bLuno6ko8LknxD7Z3xt7PNNSvOimizC1WCyjCGneKSR6eaqglKlyBYgFfr7CV/Lb2Uct1PGDGimgNCT6UqOhJsEF5e7lDttrK0Uk0gFQxA9eAoT+3j0uar5A9d0lD4sZ0/k4KqGio6cSmq23NHI8MMKPLI6RrVo80yM35bn1cD3iRL7d3N1dzTrvEqwyyMwU6+2pJx8hXy6zQTmWOztkhlsIzKq0YilTQU1cMV63s/wCR7siDZ/8ALO6g3lS4n+BV/wAht29k97VtJNTxQVlRjt2bil2Vsaeqqad2jn0bM2HSyxMCR46gWsL+2N52+XYpxs1xMZHhCgsak1IH8yan7WPUKb7uUW/cwTX8YCxqgVQBgADUeHEnVk4GBj1tbrFlxtB9iPUaWNARFfXM1UBJEzhrFhqubauDb/W9l3akZ0fEcdFClGNWylOoNVJPDTRwgSFvGH8zxshkamEbSlwLoNcjgaT6Rb/H23qqAQeHDrzuKYOKcen+oqDHSzTkqrVFKkixxRqzJI2keGRzxpK3YkAsPxb2c0Uwg+VK9MRMGXUy1AJpX/D0nArLG2uaQSNZbIsjrZoxIEdyVWJmW2km/wDXgge22LyEMfip+WPl14ENk16j1krRqnj8kk5/TpN/GSigIxe4bWrHngDn3uSYFajj05p1igGD00kNTrEUUIqt+7LGBrZ9ShUvchb24v8AX2leqqXmJL8BTyr06iKB31J9en/HprV2HqGogtcO0j69RJBDCM3P0A0f7f25CYygjGWH+fpQkWoVbtHl/gz8qdLrH2WMPIVOpRx9XKSN4tPFgPofpf2tjTQe2tPXpogldWCA1P8AZHUyaQQl5At2DRFVZirRodKL/qWJOn6AX+nvbyNWlMEjqpDunDtJH+r/AGOtP7/hSz3TtTAfKD4w9Z7h2a285dtfHXdO/bvV0kMFFU797Gnx1MBHPBJ+/LTbTb1Er6Rxf8b3rl3c942yKfbNwezOtQwAJqCHNcEYGnOM4yKZlT2pntbVbyS6tfGZmFHIFKLjTnzqSf2/LrW7PdHWDERTdNxSyMuqn81Xh2jjYgDUzmAMLHki3JFzcewx/UPmwKXXfSBXNFkqR+3/AC9TKm+7SY6yWCMRiopT7eHDqM/a/XU0SiPqSlpJUlZIWSXGhyItCl0ZYWUKPqQU+tvbycmc0pJqbeXeMrkd/wDn/wAvTUm67TNCqpZoJAOOKn5cOvRdm7BRC/8AowLQIkpeFquhMymNFKMkgoD6RchgSSb39+PKfMTNpbdiHNKGjAfmC3+ADr37z2+MAtZoy/lj+XUWu7V6vqkg1dUI0jusJUnDKsbWDqy66SSRbsPWNLG39Pp7UQcm82Q18PeDgVJrIa+opUD7M9F93u2zAgx2HbX5fn5cOl38Yflh8dei/kd093HvT4/ZveO3+qt/puLcW1KM7FydHuXEri8vi5MfT4rdeNXb9XJJJkkk0Vy+IeM29QUgW2PJ3OCdk28RmCaMDKSF17lavFs9tMV+YoT0CuZdy2jc9ruLO3sTHe6SA1RTI+RQ+fkwPoR1vV/y/wD5Q9D/ADP6CqvkB8fuk36L2rX7/wB2ddZXbNftDq7audrs5sKHESVWTr5uqqKmxWWxQXcSrStO7SRMso0rqu0cc57XuGxbyNv3G7a+JhSRXNaAOK0o2V+fr1He1KoVwIxEyuQRxJoxGr4mFDTFD9tDjqykyNZWPBvwPSdNj9foLgfT/evZc2ogFuFMdMBQBQcOuLMikF3Ki9tN7Xv+k3X0n/W90Z1AAKgmvEcf2+nWmj1MDrI86fZx/wAnWM1S6SfGS9udQZQLcXQi5IH+Jtb3tLokeEq1A9f5dVMali2D1EeolcMAhVQbKNHJXiwH59R/3j3sXAeoeviKfy/1DpkIHDVAp5AelMfz6bpKhtayG2kOrWt6X0uCRawAUAG5+oP+t7ftZSsysD26umJI2aMjg9Mf5f2dCljmMiR1azMiuFCwoLoFdLsrm66XQ/Um5/w9yRDiLx1ajU4eZHRA6qHoQC9MHz6fgR4JW8YPjIZLWI0EhXVTwCpLW49qiH8HWooAAcef/FefVo9SjQONM5rXqfT+SoSNA5j1B47ITc2Viq2sQi2/U31/Hv1szMmlRWMkn7Pl8utSpUFcaKfkevU/mo6hywEsEkRViDpUA3aRvqbsXX/Y3I9rUMiyUwYvn0hlijddIOk8ft6dafxyCKb01F4oYiz3UqY3LkMqrbQ1+APz/X2qVkxpOfLpBKDIx10KD/V+VOnKf/KPNG4Uwu4XWU/ULalAEgb0auPoSwv7UFWZqL+dekkjF3qvqM+fp/xXSKq08e4CYiFjko4Q0cKIFLorqzhC3+cNgText7Dd6rxXxIoFoKfacV6OLJ3a3AYdykitfP8Azjp5o6o1Hlp7a704SpBVCJiGYyQoTzqaM2+nH+x9l5bWShJZxx9enmI4vTT/AJetDv8A4VDdTybK+f3VHbVHTBMZ398ZduPXVCQeOBt3dL7pzmycgHmvasqm23l8UZTcuIwv4t7kGyrccvQvJQPDIVwPwuPX5eGPzPzwPPbu7Uy3FkdRRX1VJrTzp/xs/kvy6159pVE82L3TVLRJWYsJjaKumiRTXWnqpamTH0ZIugqYoPJIq2d4kAJINjIPINoFvnmkQVVBR6fD9h9Tmv2eXSD3i3CMbZb2UMvY71KjgacK/Zxp0oKmhFYIKTGtR7WxYjMlTlsrEr1sZJX7qPGY+MfuVMQtHI0h0xPcMfx7lt4WaqxlRGxqT69Y6SZbBqtP9Q/1fLrjUbm2hsanqItuqtfkJU/y3PZA/dVchBBZ4pIVWOmgKE2jjAF/9V7dLpAqqlKA0/1fPqrKT2kVJ6AnOb5z+ZlnixlDUTTSeiSqkUrCiFmMUMQCkMoW2sWXUx/ovusk71pHXWT5/Z0phCg6cEeg9adBtl4MxFDJU5AwxPKDYePWw0tcrHI4LH6c2sb+0bRzPNpkUaaE44dKe1jUKB/q8/X+XQl/G/pTZ3de4d1Q7yym4KSg28mJnjpdttQ0yZVq6SpWVK3IZBZmokUwqF8cRZtR5Ww9x37jc3S8nW0bwopaSoViKhTj/V/k6ln2o9vYOf8AcJ0vnbw4KGinSCPQ8T+w9Wf7K616166pJqLZ+3pNuRNT+CeqoKGifN1cKwGc/wARy1TOa6qWYgXu+nUAQB7xv3T3Dut0Zpbl5HGRTyz5U+fyp9nWX2ze3Nly+v0tjFBHEvnTuJpSpPqfM+fSuxwx8bRsmT3RHpV2EUWK28+pH/WsvmqGur6yLizccn2ltOZLK3hEC2rPK3Fia/Z0Yzcr7rcTFluVWFRgUxT5ZHp00viNuS5iHKQbk7Bxzo0sf8MXHbVyONjmdQGqKfH1U5plqGA03kD6FF19q150tIlKrbERKckUrX06KZeSNwuJdMt3Vs0FMfkK/t6UST7ep8xFWQ5nsxCgBrxRYzZvjyTRRhfII5qgLSaFBvoFibWUe9xc1bSQ92LZRITRiTU0/Z1d+UN8jpDHd1ReHy/1efS/Oe2HT05lyL9r1KVEYgppo4dlU80KHUskjA1fr8TPxcepR+LH2nXnHbnk0rbEoRkj0BzT7Rj59XblLfIkIW7HiEcKY6nnfOx58fRRGfutMtj0aKhzyxbEirPtEZTBTzxRVfiqI6VT6b2ci1/YwsfcrluBWha0k040geZp0H5fbvmidiXu0oTXhw6XmB702PQUho8xSdpbgrIAddRU4jr2Fplj/QZLVhswuCeOR7ds/cbaIpkuGtpjahwXSgrx4dFc3tbzJLH4Ud5Esx/n9nRm+kP5gnVnQG78Vv3bvSubzO5dvRZCOmr81idpVnFdEsNTUY4x5ymOPrDTkgPpNlckWPunOnuBsnM8yrtttNa2YUDSKGvzr+fp0YbP7f7ntdu9vuswuHJozBip/IjP+qnA9We7e/4US9cQ46aSt+Lna71iTU0Ykx+5tjx0kk86lpCsc9Z5YQCLhSSefr7jj6yOAeBECUc/Eag48vhP8j05P7Yz376xceHCoyGXWSPKh1LX8x0TfsX+ax0B2xkqjObx6M7xObymeo8juKfF7q2ZjqPMUNLUIIME9Mtc0X29JQBIIvJ5FWT9wAkke2oby2tLhZwuuQnuqONBjHoPTy6kBtq3QbMuy2TxJaIgVOPb5nPmTkn1PE16Cyn+fvxRTK5OqXpf5D0+PkpqenpqOfcHXcr46Wklm80s8rVUSVqTpIojAAtp/N+Fx3ixFyLl4hgVIAoaf5vkadBOXkzmNotEN2qEHj64+39nShT+YX8Npoxr6U+S7yohaSVMt1e6SNe6iI/c3AC/ggkN+fbv78g8QStAuiuPWhH2dJhyJzGe36yMyfP0p5ZwegE7Y+Wvx731Xiu2ht3vLZ9J/DY4p6bcOP2FmJ562Oo5q6b+HZSkhhp4KeRECOut2DNf2j3DdbJ31NGxB8qgUqOPR5tvK+/bbAySzxuxJJNeOOm3qT5adGbC3om8sxhO6NxJjaGZaHGUGH2RjitdUTa5JsjUVGVqxJTrTrInhRVkIa4e/sMc0WUO7Wgs7RCuvLMaHHoPs4/5elK7Ju3gkCRF76V9a/5Oh87T/mMdA9vbL3PtvK9Z944yqzVHUQ4PMpPs7JDb2UeuiyEckmOqcjK8uGHgRdAlWYLe7E2PsEbTyXJtN+k6zeIusF1/iHGg6tBy9vUMrP40ZXJr8/U9EcwPdvVuFX7Zsr23XSU81o5ItmYCMTO7NKpljXcihggvfkGw/wAfcsfUW6jxLeFo4jxNRX7OtRWm9hpBJLGZCMZyOjcn5s/Df+HUFJP198tYlpKWGlnUSdYJT/cJAgmqKcPkPuIYpJgSgZtQ/rcX9mcW42CW2kxKWJ8iKk8c/PoNy8uc1tP4xuIijE0XJpXy6dPkx88Pjn8kpOq907p218hB230tR4zBbM7E3DtnqbPz1mzMZRLANt7tplyqzbgaQRmRqmYmaUOQ5fj3IfK/udY224RXW9QyPHCoTtPeVGKH5ilPLHQNn9pOZILaWDbZrZFuJGdo27kqxqdJ8qnJHqeiyVPyn6vqaqWWDNd0Y9fXI1Njuq+ucYsAU+QinNLuWmaxBOkWsbj3OKe/XIlVZ7fcQMUIf9nQMf2X5w1nwf3foAFarXzz/m6bj8oupqqR4Rvb5UIshEkQotrbGo2ZixZwS+63uzWsALcezuL7wftjCE+rtdzkYNUnxBTojufY/wBw5w5tJNtQle0FPn/m6fKf5B/H2vgAzG+vm8xkPlqIcXFsSKMhw8JsZN02iuyW+hKn/C/tc/3jfZzuWTbd0c+vicP5eXSCP2J92Y4FEV1tAatSdB/ac9KzDdr/AAPeljqM1N/MCyvkSJ3ijqOqYWceQ/tu02dnkKPKvGq4NwT7LH+8h7PrJrTZdwYAGjGbB/YtP59Ga+xfu0YwHvtqWTFP0tXr/SFP8vS4xnaP8sWTypletPnrl2Vljc1u5ur6aS4s7cU2VbUNDfk/U/1Psvl+8n7UVDQbHeauPc5av2kU6bT2I93XkKy7ltYbiKRAfbnUc9TKrsb+Vo06FPjz8s6ujAj1R5uTrXI1plIBkHmly704ZwR6udVufZnZfew9rLdRHPy67uq1FWNPkaf7PSS4+7n7uMdK7zYqXxhB07/38/lLwxxzJ8SvkTWThArRVVN1PDGZH0IJpfHVsySKTa1gOfz7UJ97j2ukbQOXjpB4aWP/AD9/Pphvuz+76Ivg7xYmQChOB/k/l0m8zvX+VZXpT1eM+FXbbVtLJIKarrx1VTVEJl9MkSy00cksyuBykhZSVvYHn2Zv98D25ghaKy2KMuBkNEfPzy/7Okg+7B7l3il9w3W1Dqe0oQCKcfw+Z49YJ93fy2IxFBF8MN3xT6RI0iDYcob0FvWhgRopSPrpFrG309hyT73PJE0wtzsSrqNK+EaevHX0IIvu1c8whGG42rugqa0z9vb0quu+7P5aG1KnM02a+FO/9x7b3BiKjBbt2bUjY/8AdvduLq1Imx2dokyFItRBE5WSBl0yxToJEdWUe0d796DlSTb5Y9t24W8ssbKxMdaqRQ8W+fz6em+71zdfP4m4XNmyRsNNCK4OOCjjnqhLfnwN6y3ll83leusrkusop8vm6vH4Ksx9XuHA0eLkqq2tx9EkRqjkqZqCgMUBKzTAsha1vcQW3vKyXOi5j12kjGlBQqCRSh/2OhPf/d9stwtWubBhb3MS91T2sQM0FOHGlKdVTpm46CSWJE1rE8kI1KVj/YkMbFSCklnKXYixHHufIpJ3hDxEqtAxFfI06xNuoFguJLc8Udl4fwkj/Jx/l08wbpm1MZMlop5HXzR0YbySfU3Ok+Qkmxb6c/4e1AnbSGYAGnHpM8KMwKk0A/1Y6F7Ze8ajz09OQ1Qk7CeSXI1C0wDs5UwuEPkZJJAC2ldVrX9qUnVfDOqqmvHjj060SqLxwP8AV/s9Gn2/uXCZfH5f+LskNNj6aCkebC08SQnM1btFDi4ppXSV6tYf3dKEmJAGcAkezKKaNwTG2k0zn19PX7OkLlhIJIxWh/ZnpBnI7byeVi2xtTAZbde9ATDVqZI6HEYyVQEnqc5l/PUFPEBrbksbH6HgODw9XdqNf5/l0/GZNJdwRU9KDG7Uiri8ckVPkMi85oaT+DRSDDiohISdhUyo8j0UDggyH1NzYE29vC0gZfGkFWI4cKdI5LlyxiQUK0/P8+nfIU+N6pSsOGpt87v3qUoJN14vA5MtR7e2t5fua2tyOFl10MeajhLPjaOP/KzEredrSaFTS4FEozKM0627q8qNMoWtNP2/5uhxwde248HlMRXHF5bD7z21V0+3twYumSKlqDWURq9v1csUZKwTvVRQjTpVkdiDyPYN5htxd2csVKjQSaYIpw6E3L14tjvdrcsaBJl4fPH+X8+iVZSiytTjKmhxME1Zl8gqYjGwwRyGrmzmYmixOPp4RZWlmfKVEMdlvqYji/uEtvEJ3GJJf7ENUjy0qNTY+SgnrKjcddtZyTIwr4RIY5yRiv50Hr19WT4/dR0fS/QXx56HxYeOl6X6c636oP2x8cRq9mbNxWFzVVZwZTDJl6atk1Hku2r6k+4c3O5bcN0nuCTL4k7mp9AxIPy9Rx6i+NgVaYII9VaafMV8semD8uHQvV9VLLWJRmHUKWR5almdC8kKt4qJAbEaEiT9P1HJ/N/bTsXbTSijpOI2rocEJ/IjpjyQlkrKaBatWWUMqEmZFUDU0hBdVBVitlP+HH49ssGDDgQT5dXV6nSAAvl0ocrKqwGlaNSSsUwBkOoLGtkIYW5LWPJvfn2bs1AAtDFQcOP2dMrUY8v9WOmqCdY4TH4CjGNYwx163rxJHJIX1GwS5UD6kG5918WNe3hJw/PqzgCmimrh1CqWE876SzLExDKZkDaigLONK2ZyLgEGwA4t9fad5u8K39nT9p/ydPiox68emvm7C6vI7BFKqVC2BCCSxtqsPrf629p9ZNDlRX/Uet9LHEosUCRkmN5PW4jOpXIsp1OdQXXbkL9Df2shVK6hUOTxPDpQ66YyGwP8telb4laOnIJV1vpNwitHySliPpfn8kfX2tkIKhVOnSa4x+XTKxvqpQiPH/F9Rj45ZllQFmjZdKljFI2hruHLjTr1Hi/K+09ZBN4itkYp07O6pHoWlfTr5+//AAoc39Hvn+af21jqeokni6q6r6S6vWmkmJjo8hS7Uqt15mCBQGCxffbqDN9NTNyOfY7D6tptUbBqxOM07KV/PV1KXt1H4OyMxNPFlY/aanh8qUFft6ozUrfwnS/jku7ISAWcHWBqXU5VvqBf8Ae70ZjrHAjz+XDocRzrGDGB3Dy9Pn1ihn0PIWCa1J1Asf1uEUm5UjyMRwOR9D/X3aRKoKH/AIr/ADdNwMTIVkFVpXV+XA/5On2rkZaOZgw8zIrfWQKhRbs0ZVdRPp4Bv9f9h7L4VDTgD4K9HMpSO1otNRFf5VyOklNVyJLQsweQGoje8gILksdBbTxpjIJ/TqJP59nCQDS4FANJGOg1PMreE2r9MMan5+fSUygDPVPESGlkMhcMDEVqJFcR30hm1G402/F+PZxa4RA9KqKU88Dj0TXgRdbGgzU/P5fmOt7f/hORc/y0NSkBn+UnyA1ICRp0xbBQqx4uqgAgnk/09wt7uq0e+wOtNf0EIr500+fy6A1rLqurkxj4ZnHDy1tX+fn1sGmR2Uepze5P544ABJtdRbgj3HTuIzXUQaUJ/wBjpMKZoASeHlj/AC9d8FgSCbDk/QFiOTp/I/N/z7eWRGY6TinVCc1Pwr/KvXZC+lRqcNweLhiWuDqPJ4+n4t734nhUK5U/6q9aKaVrxrinXEqdC3I4LNwWsD9A7G5JK8WA9+HiMSQPj9PLH8vXrdKHSp7v9X+D/Z6bqi5uv1LBgo/F7BFBPpBUgHn6D25HqVhX1z/nHTT6jgCrmo/lx6WuCqdcNKEZiCE0REeny6Sr6WuHVJCn/FPci2z+JGgQk0FK16DrRnubyHSwVgsJjdv0XYLqudeoN9RYFv8Ab8ezbTS3pJ8Q+GnEfP5/n02tAwJ4/wCHrNBUqiuvqVtcciaGYFyf7FgdLEXJ+ovc396t5WSEyCnGn206emjoxUZFB08TBRH5iXjjXQ0cMfqLmQszaowdWryC9v6E+zCrABjkHOONT69FrgolVUaRxPqPLy6z08yho3FnimaKRdD6AJCnpNk4iBINifoP9v7fT4/PpHJ+opWNQD/qr/sdO0LrLGQSUkAmTQnoYxszBPqWIvfg/wCHHtatCC2QB0WqI1bsJZqcKeYPDoNs3lEXNJDHJGaRUpYr8EtKPKsjR+vyAK6AMxFm59hXeZUkmqhylBX516NrVCkAqAKmv5nyHy6fqOqEcsUwZVkkVggVtaPJMsi2A4JueLA/X2iD0AeTD/6uHSlo9a1apHWrP/wq52pjsj8cPhB2DT0tN/enD/IXfnWmPmlYR1kmG371nNlpcJEHP7iTZ3atNJpAJ1KL+5D5RrebZdWzLU4YUyw0spqPlSoPzI6NeVbo2G9u5cLD4QZq0FaB8D51IPrQHHWqa1HtrZa4fqTG5mnptwHF1uezNRQJTT5mSrpBDTZ3LU0kqy08mZeeT7Og1BoKBI2kAZ4/eQmyWFtt9msEar9SVDOT9nDz6izmbe7rft3luppNVurERr5BfXpCb0qKOekosVS0NPRUtG9JT09FG86rTU0MLpR061YkSvkZaj9yWRpC887M76tR9nTeEU8RBV+FPs8+g1wIp6dAJW48vJpp6hJGhkIOPrUjTzyQG48rxeKNnVjqP+bJW315HtqRvhXBagP7fLq4Yaqtw6Tmc3PVY+IwrSpRyJriJePRGisgLGPVHos5cgMQLg3vb3dmYUYHA49PLjI6A/cWTydY5NTWeVPURHGymNSp5J0htJVGBsPqfpx7ZYiQVViT6+n2dOghWAHE4/2ejhfBd5Fruy54XiMqwbcjLyXZWRmyVyB6vWGS/wBPr7x699WZbCzJz3txzxp1lZ92QP8AU7k6YNFHr1YqXlmRQzEOY5i6ozMYpBEEJ1E+sRhz6fpz/h7xoPim4AYKoJqPUA+R/wCL6y/0iReOR1noCq01RJqdnUGMuLKir+ldTDjXKljb6gW+p9s7hNJHMqwkA0JPHyI/w9KrUJHG5NT2/wA+o9LTk1NDIpYsZnaSYhZJIv6o0ZF3vYW/1Pvc8jvbMrYMoxTjWua/4ekttBSVZSe6px8upsSqlbI5iYo800xLMjJJEp4LKWNizA8G1v8AX900m2gWA5bGo144HEdKQELMyggU8/XqcZnrIproniWZSUHj1OEUOsaBipva4B+ove/tRHLaqhZ1KqagedOI/Op6Tzs2hYgK/wCQVz1Eo6iwq6ePXHdgxLRqCitaRYQ/q0NyQAOG/wAPbMgiKo1P1K1H2eo9Ps6tDK6VhoQhA/w9YPKqSsFdrtE58aegKpYN5HZmBMcifkDk2/HteIGNoGjNHZs/Z/k6qrmO4IqC9MY/wHpp+5japm9N4ZBH5GjLRTaZQUksrahwACCL/X2p+ojEIjgajVAwOPrx6S0Y3LLJQ4x/lx/s9dJWkRRUcJuYmhkBkMqmTyPIql3YHSQF/P1tx7tPI08SW/DQKlhxr1qAlS9aVagp5U6502nSYWCPGlUGsQyO1V5HjZWRtXCyadA+g0n/AA9lbi4PapbVjPnw6MIzGg0kVo35Vp/h6gz0kba0/bZjJI7m5uZRIfI0jE2GvVxp/p/h78Z9UtZCagU/YPM+tc9eWIBtSsDU5+09SVRIo2eNI5GMEQjgPPi1ED0vZS403vc393WWRZFZjWM5+SkZFft4cOlUkKJFWIVkHGvUylMbRzNoj9QNyPGqgsykGNludd1W1yDc/wBPbEreI5aYnSDw9B1SFdcZbBIH59ZoKdhDVr4ryFF0lljXTpgYgt9TpVn5FvVf/W97lkZmrGT4dKflT/VjqqRkwOpwT8uFPL/Z6ywYl0WBdAi80eqyaGMra9fpUX0SA/UX4B5+nukN7a27EzVLp/hHAdb+lJjADUJGajptix0nnkd4PIslXIWaLUAhMgAXSjWEhVW5PA+v+HtVJfyS23jpQQEUpXh8z6dFIs63JLLqyQD9nUrI4mZoJDHFM4khSVFkcAFo2uqNIbBZEABXkcC1j7YjnjjkpD8HkSa1J+yv/FdKpLZ/LCgcPLj/ACp1KgoZJaWIrHD5ZiWM7O3kZmjdFiBUFWe92NvwAffpJ44JDLcll+zJoT+WPPqyoGC0HEU/nx6TkuKnR5BOoLnwD6uHDRgosYNiz6wpOq31A/B9rIrqKSQwliUAHE8R5FR506r4DxxshHdX0r55r+XWPH4N/wBwyuHYzQ/bGM3SONapiXcfqURW+mn+p9pJ79rchl1eDXz6pa2b+FIs2aZGPLPTzW4SqoQiwHyRSC4kj0anj+4dnLNcqJmvxY8A39pV3BXl1FiHArQ9LrixkjjUqKqRwHl0qaGmiEUn2zIhplBiRXUkqjh47uSrOC59bfi4Fr+2J9wMciRutAwxTjQg/wA+rxxARcBrpmvl09UFOtQ7qv8Aut38bWVjKYnQ+M+oEu1xckE2P+NvflupEtwycCmfl/m6YigSVtb/ANp5Hzx5jp0CgUU7KCS80obWXCuWYEoATpGi314AP+v7tHNq8KSRv0WNSBx4cPs8+rNbxrETjVqIz9vHqa5KQxRhdWtxLILErIpCLH5Dc2LaQbA2B+nt2OWJpioNKNUDzOKfZj7eq+GyLmhB8x13G6uqARameeIzqoKPy5QDSqyllDOLHi3uhuo7UEJmV3FTXgPTh6fs69rEgAZSSuT5Y6d8fTyTVlWZRKzKzBI0LsY43R1Ry49S3dCv0It9eT7a3K6lDoI2LN/IU8q+nSnb4tUrtIKUU1FMU6hQ0SxtCzEglXZi9+Lu7IDcW0Mvp/1/b/jiSMMGJeuAP8FPTpHJbrlwKAE+nHHTKJDTPWaSRalyU66blfH9hU3BOq59dv8AG5/p7MU8ae5hDVxIop5AVHRVdS+FazggZRqEf6U/6j1rQmmZaiR5kpo/LNUsiSyM7gmokRh4ULSiUX4FgLD8++iECBbaNiQVKDh9n+o9cstwcG+uDQavGc/8aOOhV2l17uDL46bccO08/WbZof26vK4jC0VXND4m8lSIcVWZKmqcpGsdyTGpKj63tb2ogimJzVoh/qp0XFziho/+Ef5+lpRZTqKggNRR5iqyddGJFemzDrt2M1NioSWjp40qvHr4KiUcDkj3d4oVkBRmEg8qYFTkdUPiMe89pH5/7HTZVb1qslNSpiZqXJSY9XjxGDwVNLBj8a0zgKtFQ0UBWaolYeqWRmkcn1MePaiD4SGqzV4/Z6dV+AjzUn9n29G06o633hV7fRxSf3aGZiFbunJZSEY5JKmfWaiKonLNV1MfqsfGoDH6n2ZQEr+oQCo49JZyzEBGOuooOP21/wBWOlBvPsuk2xJR9c9WquT3lNSx0M25Pt4oKLbdO2qOauxlJCfFSzJzpeVnncn6r71JdLNKUhzIRkenz/1U6qLaQ9zdpx5D869YKJqTZ+Ciw2Nq3qMzkqk1uazVTL5a+srpp0M9TW1j3lapqZrgC5UAgCw93KeFH4RFeBPzr/q4dUKvdSBhhFPAZ4dLLHxQ9bZvBYLCytNjcv8Af5LFYy+qnotyUQXM7l2tC7E+GStoZHylElwRJHURoLWHsmvEVUYqoCsKfZjoxhYIcH9QUp9o/wAHRl/5efQ2M7x/mkfEzqSaCKq2jlfkLtrsysikLClyOyuvsZk+66uCYX/bjlfaaUzBgOTpbg2OOu9Rrs1zeTk5EDhR83IWg/5tlqdZIx7w1/yUl2e+QIqt9ooCR8w9KdfSCkrZoqXK5ySXz1M8sxhlcWLVFTMZKoxhQoSGITnTb6lifcEx1LNO/wAXAfL5/LoikGhFirVVFAfMdRKKsdIsnWS3vM8caHklkXTAkK6x+7NrN9QP1Ui5HvX1IBd6jQB5evTQFSqtwLEU/Kp6bBlFnknqiXjTHQfZiSU21Tk/vzqACP3bG5+g+g59vRSLIgdsL1QAUKitK9Z0qpK4SVYiMUTFIy6sXV6ePm8Zb1i7Gw+l149mCSOaoB2Nmo6qxVF00qc59epodZqdY5I5PNE8lQeXjmYkaFR2ty0qrYAfUWv9fezoEWoj9QmoP+r+fVArUqKg9eFN9tAhCIlTMJSwYAB5Cy2UgkqpCGxUWuPbzKGpXDU8+ngSFq3HqPS0bzTkMQrhzfRyi6eQOQAVubf0Fx7SLH4xPiNQ1pTp6ojkGnup+zpSQQSRC8aHWjqFVj6AGIZ5AR+s/wCFhYe1GgxJnNOAH2/4eqyOzqVp2mmfnXp7qZoCE1H1qFJN72Y6rheOfp+ODf3eSYacKSadUCEnTqHDz/1eXXHH0slXX03L+OWWFAjj0ymSQRhiRwJlvccfTj2zAkzSrIwoKZ+fT8rERHA4DNfPr5l380Dfq9i/zKPnXu+KpFTFL8md/wC3aOpiOpZaXYxxuyqIxAgq8fiwDBQDxb3I24KClvGgoBbrj/bPUn7cHqZuS4hbcvW6SULaRSmeI6IZLSr53kTRc+Ry6Aajo4IIZWVeCwA4JP8AsPaJJNQCMT5dC0rSQsgBkPHywPXrCtJ5JTqbQZGU6VjW3jLMVI4BOsgAgD6m59umXSooKgedeqxIdZL0FT5dcq4EU4DO4jESlI2UNoY3vqNzIdQWwK+knj6e6wf2pK/FXjX/AFD9ueltxJqjB4qB/k6YnRRPGkchA8iNCVVmdlCamZ2NxZTzxyD+PZgrtpLSDNDUcB+zooKxrImvSQDUfn6/5B0lM4wjqZ4WILRvG7yDQHKtGp16tV7hieByT/T2b7euuJWXgR/Poi3d4lldQKiuftoMf7PW9b/wnBCj+WXItiNPyn+QJjXh+fttgH1j62P+H0HuE/d9JJ+aIEBGkbfB+3Sc/l1HFgViuLoIpDm4kpmpI1sf5/y62DFYBbggMVDAGxZV+oBIKjSPp/rc+wAwEx7wAGNR/n60YwCNIpQf4OuZljAbUyKhcFiLeQXuB6QNTA/T34DTg6TH5EcT6/PpijNUeXXITRtYeggtYabjxsRwungi4v8A4X9qIx4iLppobH2dXdlcCnr6dYXlW/6h/qeGuzHSCp+gBOri5/Hv0eqKUxj4Sf8AJ1UEliMmnTdUTMCXCJc3HqdNKKLAgki5JYX/AKX97YvUumVpSlf8HVirHvaukf5unzbc0s5WNBrHmIjYqNQH+c4IuVKqOPrz/h7G2yVlgRQ1Ca8eiecLHK9wODACnl8/2+vHoR6CTVK0crs00Oorf1BoTYXYjlmQtbkX9ilCGbSH/WUfaPz6LSBxXz/l06UcTuCsQ1uDIigAWJAAH6rC5UX/AMAf6e0fhtqKqOB/1HpzUq1DVoRjp4nkihSNFJ1GExBWAcJIi6lka/IdtVgQebX9msU8axCNDpkbFTn7a9JWqTUA/L5dMYyNOY5RJUU8U/mCsJHDJcfghSL2dSC1hY2HPt366BF0qQXBoaeWek80BDakHdX8vy+zrHLuaA0oamiZ5Z1MPnkURtEkoMepYx6pVUEm5sLnj21LuqeHpTIIIr6fZ0lS1jnYl8afMD/VX8+gpmqlotzQIQ9RBUYethUyMHjetoaiCTSshBAaSGWRgVNrKfyPYbqZHNW1KTivSoRLQRA0QHHStkrVMMegoGiDeMaWke0bxTXbQQolARr2vwB+fbEjKG8NtWvj6/s6vHqDUNeH+r8uqJ/+FCPyP2F1b8OtrdfZjbuyNxdk9ub6zM2zc/vHbeI3NkOpOvtqbakqe0u1thzZamqjtTetdS10G38dk6ZRPC+RlCsrKPco+1VhPf7292GpZW61Yevy/PHRFzDcNaRKELLM4pUGlR5A5yOOD1oGbGizeQ33W9rbpkXFjde385TbdxdRUqlXi9pVkEVJinWEs88KyUTXEn1cuZLlnPvIvS1KkUJINTgf6vTHDoBgLXT5HoaJqZq7FRSYyokykcAEX2FVP5cjDNGqMdWSZXlVdAuGqA4AIswv7NVUFOwg1A+2lOk7BQaZpToMc5SUGYaopMZW/Y7igQtU4LKIMblHCkajBHUTJDXxyIOJKZ542uDcE2CYoUo8qFl/2OmyCBU/6scOgM3FUbkpZJkr8TkJqeJjBGK2KYs9hpKwlQwjEii5PI4tf36QF0LIKAjh+XSyJ08ID8X+XoMaumirHb7WOtoqoMsQgkhK00k1uFZSqqBoDXYG49sC3YgUpqpn14fLrarx8iejH/GLsPa/VE+9zvptxUM2Zi2++Ijw+AfKirFHJkTUTyStU0v20cflVo/r5Tf6W9xP7ocm79zbDa2+yqpaFm16iBxAp/xY4dT17Ke4PL/I096++s6+MF06QTw4/n6V6tt2Ptqv3jtvAb0w9TX0eF3Xh6fLYWXIUE0NVLiMkzKgemp2mWF5Zaf6F/6/T3hPzJvUHLu8XWyXpre2chRhXDMOND6fs6zs5euI+Y9nt98sAws7lNS6uNPLHSy/0eZ3H08kRr4JRUwuI0ixGQVL3HoqPPdllGoszfX8D2Qx887TMzFlIYCmGUj+ZB/ZX7ehALQJEC1dNeFP8vDrlSdbZ6IRyiWjdIw6QGJa+12QKglvGpViD/j/AIi/tiTnnag9e4SJWg9R6/nx/wAPVY7CRH1qrVOAaVp/sdcYOs90qrhqyiZlJCeKlqyYgx9RleRVBdRyo59uDnjZVYKSfCbifMH9gqOvGwuXXU1QcnAp8v2f6uPUhet84jxpN4qiOXUakLFUwM2kaoYkNrfpve1xb+v19+fnfZpLfwlfTRqg+Ypw/wBnpn92TDQWBLt5j7c/y9euMPXm5RLOTHSxI9ruyZAxuFswKosRZ3UHkta/492i5x2JJMzamalSeA9KD7eI6v8AQ3CuWCNpHw4/1fb1Dk673G8kjf5NLeERqhgrImCqp8njYRNqklcBf6WP9L+zNeddn8JY4ZO9wQQGxU/I8Omv3bcltSKdOPKp/wCK6ZZtgbjBdvHGJC6MpkinLFhLaSJxHFqV0ta/+x9uvzbsy9sclCooTUHpI9hceJlSWP8Aqp0w1208zjAJa406RvJTRxOsFTd5aeZ3Dy2iK6kjksCTexv+PbtrzPYTyBLdyxpUkkY/y+uOtSWrqoMiGlQOsENBWuhhldFZQ7iX7WuaN3ZyutikWqygj6kWIvY39uy7rFAwlgYOxBrngCPn07E4YtFKhpSoOnz+2lepUey9x1Wp45KcRCUNFEtPkm+4WQszOwFMSvpIPNwp+g+vsvPMu1QhSxIccalaVH559Pn1YW88qlkBVfs/y/Z1xrduZGhmWGoqoQkSKq+SmydQImaxlZmWkLMjAcg2ULwPr7XRb9t1xFripUknTqp9n2/Z1Z6I/hHVopk+uOPXPH4KsmZo6KenkHpuUpsuqeIiRi8kbUiqdJYqPqVBFvb13vm3Kjs+hZCPXz6agRgSIi7VBxTj0+nbe4IoJLRxIao+QsYK5iWjVY1kANI3kAHoYXAIJt9PZRHv+0yIJnk7ox8NQBq8hxpWmfQevSzVSNlVWAkNSafD5f6j05Um38qsjSaHm03EMccFakTyMC0wDtT6ERXIt/qf971c7rtLabqaUBiNVMUwRQVH29eiHiyFGLA0PkaEnhx6j0ezdywSGZqIMxm4NqlIn1r6ndFis7Lf6D6n/D3u55o5dmieF5OIqaHj8h0mitbhXJAYsDw/PPUrJ7c3VUJHGcTZVS0fDhfRcF5NaCysGsNIJH5t9fetr5i5fhjUPMFhLHTU1K/bxqfn1e6W6YlBGysc08uOOmyh2vvWlQKKCFHhLSqsUjnQOYfUVj8cmq9iP8f6G/tXJzNy1LMT4hMYGSP9nNP8PSO3TcFBjA7/ACwQBQ8euE+2t5qssaY6mYeYSD+zKoNjIRqX6LrYXF/p+L+6nmLl1RHJFODJGccP9X5dK9N4ispQliOJr/qz1Dh2rvCAFnxCzCRZoIiZHimWJ2Dxu3AGoLyByLe2bjmfYLiEoZSJg4I9Kf8AF+fTUT3salpE7WAGf9X7OnGTAbvFAlHFgI44owp8k9Q7SSy+U6lDKvqHjY3tccWHtqLfOXo5NdzKrMKZHA9OyXtyYgkKureZoTX8/LrFTbR3jpm1UMRL3i1pUMQU8nkVYtMa6Y2DAFSLgKRcsPZmu/bI82pmUrHHUGvAHz/ydF0jXmiqBg7Ur0q8dtzciVJkmxw0+dPHMZCXjGm3oCxXAlYW5/PPti73jaUH0yydzgsRjhwP88dXga5La2QrTA+3h9n+X16ek29liiFqKQDzSNIrS/uEMCmnQY1F2b/Yke3It62GGEK7q0IwDXz8h+316tcyXNKsOByKcRw8v5+fUk4HLpFChoZ9MUQQBgVMaa3kWNBa/jY/RjdbkC9/dm37YIjS4YCKormtK+nVKyuAUJqfKh4fP7OnuDA1dP8AYzPTswJaaR18reNiraIxH4VsYyi6rehQ3Bv7Ty75sSuQzKVyRngoHHpVEZFNaMwI9Pl0/pQZGnppqkU5SSWUazaVf2WtclhGVdiL3B5uTz7KLncLKWUW6zKkTAMCD5fb5H16MRdSohaNT8ND2jpIbkyFJtzCZXcOb0Yzb+38dPkstlTHUVUeNo6FddVWtBBFJOYYo7sVVWvza/s/2xxue6W+37WFNzMwVFVgSx8ga049Ee6bza2dlNe3w8G2iQs7UwB5k4yPt6KzU/Kn44rHXS0vaeCmd8dXeJDh9yussk1JLHEiBsMpDTSyhRf6E8kWJ9zPt/tzzhHcR/UWTqgkqfyINOP29Q9unu5yAbKdIr1GdoW4HiaY6pRwOMgNfD56ZU+4q3j1aHkZvLMxSJA3qSRpLDU/6bXPFveZ1oUS2VSv6ukDrntfkzXUs0RqGkZgfUFiR/Lo4+39qR4+kFLUy1qKJEdYaSsraZqd3QayUpJkeXzWPGjSbG1uQTqGNI4yzGo9B6+vy6KnmnjfQorGc6j5VPDpS4zqHZuUysAOFgkmq6qlE7yU0VTX1al2YyLWTo2oNIoMn9tl4920AqNYAJpQ0z8umRcSa6RZeo+witCT/sdDtR47Y/XtEZ2o6OGaO7R06IoaRgPHG8k2gOuk+n0i1xbi9/bYKphwMH1/w9KH1SP2g4/w9Fu7X76y+UiqMNhZFpYHtBB45R5iyDS6FVW5RVX0g8lj9faGe8JcpCvZTj0phg0SGRv7Sn7Og+2P9vtajnrqny1GWyzCWaaok8jswuyxKSRKyFlIte5PFvb1lFFDHU1MrcT5/Z+XVnV2aurs9Pnmv5dC3iH/AIOKfdu54JfHNUCbbuDq4WTJ7hyhQCH7Wjb1RYujkIaSZgI/wLn2rLJpbUayeR/z9NKsmoCOgTz6Xz7Qz+d6y3TJkq98du37qLfeza+VIo5KDe23ZP4viGi8iSNJBV+J6J+CpgqW+v09opIpZFMcnwFP+LP7ets6RS0NGIPl5g9bWH8i/wCF/Rm89pdffzERluysP8kese4OwupMPtLE7r28nV2V2tndp4nEth87tLMbcqcj/EEw2+6gyVVLkYJxJTxstwpU4w+5vMUFhNPsksZ+pnRSrAKDQH1NG9fOmepZ5U/edxtggiKDa1kNQ1fXUflUEcSPWhyetnfcS/Y0lHj3jUuIZauSFPDKVpY49YlLFtQZmFtXB+hA/HuELgtDCiimfLoUpokHiVqgJ4dIWfKTwRpSp5I5QY2DxKJGLtdKcMCQqqJCzkgX1G59oHdGQaVK548Qf9Xp07JE6OGbujpw4Z+X5ddPGYcXSUcbPLPk6ib7oxyRltCPfTY2kTztc3sFP4PtUG/T0RtUs3n5DpkxR+JqUHgcH/N8ulpTvEMDRIUVT4mjlD+NXPha0RLA6rKbkDg8Xvz7EEb6oNQA1AUrXouK/qZFRWvUahZ5SkAeWUNN5GJGlo3AJiQSsWV/FG97g8arf09tLESFjBqG4/7HShWMVWUZp0+VBjqJnicPaDSNOlCHkK8EPcEBSRZvUSSfbty2rPmvTaHWM8K/b060L/bqpdF1EEmPQrEsQLugX9KmwBvwT7ok4TuoDX16eMFMA48+P+rh07RxRTS+QEKqOhk0Arfi6qRYayDwfqQPa5ZEdQ6nP+qo6akURgE9TpIInZtekkr6I7ABYjcObD/UA2B40/T2uKKRUYFKr/m6ZaUVoBXh1Pxho8SJczMXcYeKbKVFmjKeDHRPkZdaDlG8FMdX4t7dsUh8ceMf0xk/lnpm7aW4AgjFZXoo8sk0/wAv29fLF33012BvrfnYvYk9TjQ2/u0Oxd6yGoLiVm3fvbP7hhlkuSNJhyKDj1XPsk3T3T5fa9kEUcxjVUQED+FFBH21r1lvs3IO+2u0wKnhaQgIyOGSP2VoOmBfjl2HJUkOlBADcSMxCKWRbFtPmUhCACPp9OPr7KG90OXIY6kTFsUwfP8ALo9HJW8yOtSlWAPHyp59ZZPjZ2DTpJPpoqmFqT7tSjSeQx05WMq6yScBhMX440i1ybD20PdLl6QiKkqSaqZGM5qKD5U/2On/AOo+8pMD+kSFr5V+w/P7eo1V8fd/TLTwpDiwreOJX9TMQY1RSBqVgqcXAYlSTx7fh9yNgQsT41cmlPz9OrHk7eHXw2VBX0I9Pmemiq+OO/aaNqpfsHFP5WESFopBJAgYSOS4WMyIT6jYEDn2si9ztimbwtMwrSppUUP5eXp0iHI27RoZiYwAx40rUCtPl0IHVf8ALU7x+QXb/W3VmD3LsPbeY7T3TR7ZxWU3HDuV8Xhquux9bk4azKx4ugqK2WkSChK2p0d2Zha4v7Odp96uUUuP3esd00yrkDSPMLQV8zX54HQB5o5K33b9rm3yUxmFVLUrXy+0Yx6jrd1/lbfCTsT+Xp8T5Pj12jvHZW+t1t3F2R2YM1sCk3DS4CPF74p9sQ0GN8e6aHGZVchFLgJGlPiEYWVFUsQzEBc+8zWnNO9rf7Yrx2qW8cXeQWqgpUkUFD+Xz6ijaoHid5ryheRnNFBFAWLCuW9TmufQcOtaFf5y/wDMSjZEHyLxAQFVcVXXvX7BAP0rKTiBJdUW3HOoc8k+5FHKu0tESz4JAJ7RwrXHkPTrRso5GRvEYIMcePUhf51P8w6I3Xv/AGozJddMnV3XkgQKeHcLBGSj6gBx9T7rFyntcsujuCKOGPT/AFZr1Q2iNIaTAAH5eQPU0fzt/wCYhAo8neGwZAukOf8ARNsYoVsAAwjKstm/wve/492/qls9GBqp8sj0+XD/AA9VS2cqVlbNMHFOH+HqSP5338wxVQf6YutZQLga+odnEMq8aigqYydN/Ub/AF+osfd05U2jTpbXw41Ga/M06rHanwSryZpg/b6j5cP59Yh/PG/mDFmH+lTqKbx3HPUe1QNOphqcJkwWaVhbSCStuLc+3m5R2WFTGQxp51yKjqhh8NQxlrQcK8f9XHrZz/lDfKfsL5d/EObtjtvJ7by/ZGJ7g7J69z+S2nh6fb+LlpMUcFlNr+TEUss8FFOuEy4R2ViZSuoj2V3dhDt9yY7Sotyi6dWSTQVOBwJrT5U4nPRPesyv4b0oy1x5fb5dWotV00UcdSs0JmiZ0dTeRpAUBcWBNp7fQHj3ZbiJGBUAOoz6H/P0i01FPLrPJuenxNHUVcSR+shjUV7+GnjDqCWZgUYOo+hJFhz7L7zd1tdUkQYt6DJ+ygz0ohtVuFpkFf8AB+eMdBlkuyanK5CSlwByWenhheerptqY7J7geKFXi8n3M2Eoq2OIvcJGrOHYfjg+y2KXmDcnD2ttOQc10MMfmB0slhsLRT4s8SgDFWWuc5APSuwOB3PkaaSem2XvWPzOa3z1W2ctTSStIyMyCOqp0cki4AYcW+l+fZ5a7Jv7ir2k4J4kA/8AF9B+4v8Aa1cr4sZTyo3+z051Wzt9wpGlDsjdld4Y0UQSYqeCHWHZnWGRpU0K+rluTx+PZiOWt+k7IbWcsOHb0X/vDbllLeLGsZ+f+r/iumltgdnyTRCHYG4lVKx6iWSWhpkZlmjmjco8tQumQiUXH6fT/j7fj5K5nLhzZyhlzwx8+tndNpFD9QtfsPr9nXVL153DPVLMmws9Rh5Yv26iTGLDGdHhleRzlGIQsdRKqSyiwB49tS8k83GTxxasDUU8v8vTn742gLQTitOND/m604v5wf8ALs/nK/PH5Qdjbo2j8Kuwp+nMFVYzp3pSAb86epEpuldpZBqzMbukxtV2ZHLR5rtjdc9TlamB0inWm+2idVMVhkPyNsP9XtjWCSNhdy0aTBqG9K+YH+rh0Bd1vDfXhcOGgFAtfTPHFa/7HVbnYH8gn+cDn5Jc5t34Nb/osvNDDSSwv2P0lSTQw0iJTUn2VQOz5Ift1p4I7RkLoFxYj2L7i4jKhZBKFAGdJoKeXCv2dFmglvE1KRXhXP8AP0/y9Fzzn8mf+dv1bVxZLcHw47Ghgp0LypDubqivilphw4kqtvb0nlDerg3Jv9VIuPZUeZdltZfDa5VJQKUNaj5cMdKRYXEo1RprGOBr5eXQGdn9XfMbq7J4rbHZ3w97TqchUUseThZeusjvaATLI8E9PDlNsUWXwhq6WeAB1jnjnRCjMi6lutt+ZbS5jMkdxbmGtKs4WuONCa9MNtMqOCEkLtmgBP7aV6Zv4R3bBCj7i+JPdOKp5fUJZ+qN+0j+Mn/jm+MeQx6QQbqPpx/T27/WHaUorzQF/Oki0/menE2i/YErG/ywQeH+r5+XSUyNXg6GRmz/AFV2RtuRbB3yuy910qQyLYjUKrG06wkAGxGltJ5H49rF3zbCNQkiDUxR1P8Al6bfbdwBWiMCQeKn0+zqTtfaXWvY1FmJdpbhgpMzTzU9BNFlMZW5WOmWWGeZJclHHWJKqxAOiqbq73uPYK599wTybHbvbQCcTkklWAIAp8OaGlfQ/Z1JHtz7aTc/XM6SzfTrbfFUHuJ/1cPt6tV6X+TWyOu+vuvetMltLNZyt2dtvFbamz1ETS0mXqsdE0MuTgonkL0sdWjELF/ur/Y++eHP/ttfc282X/Ntrc+DHeSFxGTUqfQ4zSv+o9dFeUd0g5e2G05bdBIbWLRqApWlM0FaV/Z0O6fMXq77YyRdeZ1JY7pGktTqs19EcdSdZKsWWxsDe3B9xtF7N7ymJL2ITA0HEggeZxSvmaDy6FsnMqNHpSCqDyp59OUHzH6+JkVuvcnDH4UZS00heYlbO9xERKzopF7AJb83HtiX2c3GS4muJL4h5FCihrkHu8qCvl/xfTkfNRRdIhpGD59Okfy162fx067BzKrJCtUSkjxmJCAzKT4Wlmd9dxb0r7TH2e3oL9PHeoIRwJrWtc1opr8vLpxuZNVG8IGNh5Aev8q8epEHy06tlL+TYeeaJpAup2rOWQFGS4p202Q6V1Wu3Fv6WT2X3ODMd6sktCGXIFD58Kk/Z1v+tFvp8Iwlc1r5/YPSv+rHUz/ZuupDIFOzMwsZUc+LKOV8aPcIUpVSWwXi/IPH1HKmX2e3WRk+mvlBqMZ8vy6qea4lkAaE0IpimKZ+zPr1li+WXUFW6iPblaOGM6/b58TMLK6WKYzwxgA/Uesj2nvPZrfIC1L1RL6qSD9px/hHV7fmmBiUVO5uGKD/AFf5es7fJ3o1Z0NTgKkNExDI1FuSR9couJPLBjDf0i176h7bj9pN9STxFvh5VBOG41JB8z0+OYLYygOgUgV4f6v5Z6ZMz8iOksxBAE269KkFQ7lTj91uCSoCzORimtpS4PBuBf2Ybd7Vbxa3JuRdqqn4gCcDyofXptd+s5Q0kkBLlqeQH2/n0lB3V1PDKk/8GpKiCoiqWJjx28IwDE/Loj4kjVbi7Wvf6c+z1Pb7e0dgLwm2ZSCanFfKvqfM161++LHxhWEA6ftz9v8Ag6WGP+T/AENQxRQHaWbdmCAGmjzy8Sr6GEb4+w1NGdV9It/tvZBJ7R7/AHNx4a3qrFWtdROPQDJr8+B6ej3+zUh/CJjr8OPTj03V3yX6IrHarTbGap31TjTUQZLUAoACDTjxI5aQnUQANHHJ9qv9a3mO3hMcN6EuFauqpwDwxSg+dePVW5i27VX6YED8j/q9OuWO+UHQ+LyIp5trbhqnZkINNQ1rKGCE30S494xGGIVT+v68fn2sm9seZZrcVvYy4IJb1rg4Ix8qDpOvMu3pOFW101qBQ/Lh+fn08VXyz6FqHiEe1t0RqrKpkko55GEzpdYFZcawMeocMebAk+ym49ouZpbZha36GFzq78/sIHHHr07/AFn26v60JzXhT/Jj/N1xT5WdFoNY2buRgIjOgjjqWV5GbxEnXQMgDgXuvAJ4HtSntRzi0IIul8IKBpNTwwTwIAPHHTMnM+0xsNMQ/wAvz6mRfLbpSSVaVNobnjjcjWY4Z21vpOkqzY5nQK35FyPxx7Sye0XM8iLqvItIFdA1VNfUkeXGv7On15n2nX+nGwep8h/q/LqSPk31ExlLbV3FJMhcXhWqmjOiRAVXViY2WW9rEgBvz7Tf60XMUVrpkvFMZYn/AEp9K6QP8/n15OZLRpGDxCoGOHr1mb5H9RKJT/dTc6RRlmnj+2qFqZKm/JtFigmhVJ06foQSR/VY3t/zOIE8O5hUnBalCQDmtF01I6cXf7GVS7xFmHlQf8X/AKq8eog+TPTKtMTtTcQVWRIpTBKXYzBbFWfE6Vdh9PoOOefaKD2t5ktpv9zozCO4E8Sa+fb/AD6aO92k3+hFWA/F6V4U/wAHWJvlD0arxr/dbcVRYEKiUlQG8qXuzrJi0DaAb+k3+vp9vXnthzZIwc3MTLVTSv8AsVI+3HVG37bPh8KtONaddxfKjo2RZTHtvcUlRC4Ul6ScqFe5EsELY1FaEn+0vqQ/0v7Vt7X8wlw5vE0AAgDgKeRoMf6qdUHM1iSY2iGn7B59Z6f5SdNE6ZNm7i/cZqd2FDNZSWLkF0xRZSxuRY3UDn6klyb2z5peDXHeqhp3cM1/Kv2dMPzFthKo0GSMUx06RfI3qnyIybFzkpMelSyTpHIWZwOWxIVAEH1b88jn2ynt9zUX1w3CNcgaQSTipzWo4Y6c/fG3IayoAiiooeP+z1yb5I9Zi0kPX+fmjZQX8R0yxOPTGoLYpBIujgliGU8e3m5C5sa4ktpJ4/DQq1Frx886afZ1VN/2sgN4TCJjUCmanjWvDqVTfJXrsFPJ1rnXOrSr09UrkoqaleQS4tWB08H6m/Fz7Zn5A5oihLxXCM+qgUk0ofMkjBBx/g6q287YGb9MgfIf6sfZ0rKX5Q9XxRxRL1fuDyyKCZZahESMtZ/EiJjXUhkDEkWHAHHts+23NcGqaCePVooQSxp64ofy6cTe9uLKFTSlfPz/AM3Umo+VHWM0H2X+jjcSSeRUAkOPAcEEyK3lo3VA2nljcahwR7rbe3XNUbpS7DJ5g4FCPs/wdbffdpWVg8clK0oAOB6A7uHuHaG+utewNk4XrGajqd67Nz23Iq7J5ILFjv4xj56Omrplo8XKsopp2Duq2JH0vf2NeTeT+aNj5ltN2nuIvp7e5DdpOoopBpkCjHNfI/z6IubJdm3jl292uKMiW4gZBUYqwpnrX63V0RkOt6bE0+6IcJPUVQnjoHxE9RPDIKFI0aepiqqOlkp0d2toswvc2t76a8k872XOEcngJJGYO0hvxYFCM8OuXvuByBfcgSxC4eOWK4LFCBwAPA/tHTBtvZG26LJR57K656iAgUsE7ARpKJAiSrHceaay2Kfn/YcjiCOJjRWyCR+z/N1H8z9hU4Svlx4/y/wdD9iqZ8gEkdo6XHfrNU7MSzIHYR08a3eRYVSzXA0km9/atGkRiQe3HHHSWV49SgE6DinEYPnx88fMdd7l33hdrRpBi3uVY1E00btGxMcR8jQVC20ISwI/Tybe7yOdWuVuA9f9np9Y1STWgzT8s9E/3v2xlM7WvQYlp6yeVpI1FMZmkE0nNii69TshBsBc2/rf2WSE3RFNQQnB/wA5/wA/SkDicE9O20uo8qqJn975ODbVFIC6S5SUx1M5HqjSnheP7gyyO3CoHYrwCCfb9pbLAKOdTH/BXpt2LKNFdWr9n+z0YrBbcqqekhq8DgKfb2NkVCd99nRGheYlRF59ubYmtVyQkx/tySrqN+BY39qywIoBw6ToAO/VXV+z8v8AVnqYm4tlbXqnyYmq9/7rIjjn3Bm9QpoNKsgjxtC7P4KaM/oj1CwHtM0qRrQ5A49PxCR+1hTh9pxnPD/VnpE7k7Gzm4XInqZ6eCzaYafXTQxkArqCqWMoTVY/Sw4v7ae+LKSoNKUz04tpqkD076jz8x1uZf8ACeHc9RN8SNx46ukU1lH8s8xk5UnZ1WaaPo7bOXhjkS/AlNMrHQQTa494Ye+D6Ob7eVpMi3GCeFK4Nf8AV69TZyOZJtik0LVvFKkCp+dfsPl1fpWboM1dXCeRKh5ovFEroWjp4ISWho4lIICx3NgPVYc3P1h1dyEsul2BriteGP8AP0K5LALRFB0VGKfZx6j4WrMtXKsiropknrJjKANMqqyRoJGNkZAxNvySCR7XwXKVKAggeVf8nSW6hkVQFGK08z1giqGqcnJUM0jKIUpomRwvjj0EzBPJpJdALWv/AK3192imt5JCqsO3yr1SSMrHWhNwwPHh/Lp6pK+eskkx12UeW1PDp9awekys0lrvdwCQR+k2H09mVtdKaxswoDjP8ukklvME1OoqeJp/qI6X8MkVDHDH5ldNEjWRFYpH6TKAzfRizcDg6Ta/NvZxHKIzqWn2enSOZdAKpWpFKnjx6mY4eeVQpaSSH1tCGWYnyfuWVVAXxxAgEG4BNv6e7xsZSVOfM9bVVSPUuCPXz6fIYJpi6oNciy6JYi4jlWNfV47KStmbi31IPtmWItpFM1wB9vn1ZHLV1ft/1Y6eaaCdW1yK3iZR40lC6jGbqyDkWELLYfkge19nFIrFyew/4fl6dMSvGwoAfEH7P9R6z1NWlrQuPJoBVY+T5BwYj6RdvVz9LD2YzTR+AFi+L18/2cf8nTUakU9T/h6AD5W9gx9S/Ef5V9nGvkoqjYPxy7l3JTVYuRDk6TYOcgxRVl4XyZeshVSeb8AXHtXs8C3F5EhOQc18/wDOOn1hVru3gUnxJJkUH5lsH+XHr5ZuKrNy0eLxFK+ZzwnShoqepAyFaSZhBA1Qz6KptGuVCbkXP+x9rbq02ma7nm8C30GRiOxeFTT8Pp1kJa7hualYHnl0hVByc0Hl9vShbJ7kt69w5rQ6OAjZSuPjK8xpp8wZXV+Rx+PZZ9FtJ7hbQEj+gv8Am4U6ECX+4KgAnlKkebGo/n1Hjzu4wSVzmbGlbSXydWNEZBZ4rRztqE/1RTpWwN+fbj7XtRWv00H+8Lx8jw8vM8fTplN7v0LM082nyJY/5/5dOFZldwwogG4MsgeVoonFTO0kbzeM+UapGV24FmI1E+01vY7U7kNbQkgVPaKY8sD+XDoynvb9Ig3jyUbgdR9K4z0npsluBmlU5rLSQGGdJ5fv6lo2QR+pCokUepuSDwF/x9mC2W2YIghD6gR2Cv8Ag6QPe38j+GZpdAXNWNeH256bcZ2z2/szcWG3HtDtvsja+4ds1wrdubjwW7MrjcrgKhYXhir8LkI3Wox88MLFEdCGUNpFlN/Z7Z7LsA/W+gs/FNCf0lBJBByRQnNCfsrx6C26Xe4zxvbtPN9O1RQseFPIEkdbKf8ALs/nkYfp/wCM9PsD5Zr8p/kP2tS9lb/ycPZ9Zndp7wkXYuVOBO1tuT5bd+6qDcTnAyQVRMJjdIzMwhZgdIBnOXKVpuW4i621YraLwYwyICAXp3EChpU54+Y4Z6AJ268tZJED+JA7alPAqCT24oKAUHCuMkk162Jj8a+oq5dFT1Z1w6GzsZdk7dlUArdlOnFamf8APPBJ559xku97iTWOQsKVYVOPs9evfTxxgKcr5+n5fPplyPxD6bnjvB1H1cyeoO67B20sqObkEucWSLX9vxc03yvVZJApFCa+nDraWFnqDUOaVP8Aq+fTJTfFzp+gCx1HTXV1SnkAVJdhbajdYlILlZqbGIXa1yCQfao71dvGHSRwdVagnNettZwVFVBU8Kn/AGelTD8Vugsiq/Z9a9ZQz3utPVbI2vFIrof90znF+Im3HJDH2gfet8M2nxHKjIJPD7OmZIIID+oBWvl011vxF6wpzJFH1b19TH1N4jsXbyCUFrxvHKmLWdXsOGOoH2Ywcw7qQ0k0jN6Cp6TSWtvMQqii+uf5f6vtx0ZT49daYrrrbu5duYHGYvb2LrdyUmelocJj6PFwS1cuMXGtLPBQQUqz1eiljTWVLaQLn2u2rcLvctZmLBlOKk+foOijcraK1VQoLEg/y/n0arD4zEJXzYuOFctlYBFLklmqJIsXg/uEDxVO4q+EM0LsLGKhg1Vk/wDRE9fsV2MMIkKTdzg1PoD51+X8+g9dyzhNKLR6Y9T0K+PxHWePmNRl8XBuDJhBqrMnFC9FTCSMKy4jEfu0OPjt+bSSkC7SMfYmgbZrVQ6RBp1FS5zUjhQcB+w9EkybzOChl0xHiox+VeJ/LpZQ7+27Q00UGLikpaZQY4aSmqp6ZI3B/EdO6IsQU8AAD+ns1HOE0dDHVeGBgCn2dFy7A7gvMTrJ4nNeoVX2ZixJJGYqidzpkUS5CvS/BXU16n0j08KPbUvPN8G0E0J4ZOf59P8A9XIWTUjZHy+f2f8AF9QF7CxMxWM0YDOTp11eSkCqv6WFqq9yb3FvoPbK85XzDSpIJ86mvHPW05dhJAJP8vX7Ou4t/YIgtNQggFlKx1daWC6gkbf8CCzFmPI40j2y3OdyrEyO+PIMaH/V59ePLsNNNe6tain+brPDvHbcpTTjhYyDyL9zXkxgC7PcVJIVR+T72nN9076kZvs1H/P1r+ri6dWRIB6D8vKn59TRuXBSvYU2k3tGVraxQTqIFgakX9LDg+1R5ouyC4d9RGM8PketR7IoFSOHHAr+XUuLObfIUNDUBwzrobIZM8jmyL90VdWJ4I/2HvY5jlkQeIzavQkn/VX+XWjsgpUGgwKUyKf6vs67kzOCqGaF6TyaUHomqaiaJ9TEMNDzsF4559lc+6W0rHxYwJD6fy6UwbZLGao5C/z4f4OmWpbY+kR1O3sPMZZNXhemDqzrcQvLGW8TEHkuRx+Pad7608MRstamgFSPLjx/b0oj2+41mRJCGAFeH+bpqbGdXVNQfuNm7fM6xrJM60EJfSh9QDLZjpYi3P19oW3CyV9KLRl49xI/w9KzY7kU8RZW4VGB/m/b1Fye0+o6pRFU9e7RyMQtN46/C0dWms8KzfcJKpbTf8Hge7XW7RL2xFwCK/ERmn29Whsr96tNKRWlTQfyqP5damH/AApv656h2JtL4Wbl616t6+2Bmdy9hdx0W5sls7auA25kNwU1DtDAT4+LP1eIxuPqcvBRVDNJCJjL42Y6bEk+2Vnj3C2kDatSQkipLEfqRcCa0rw+wnqXfaFbu3v75ZX1IPDpime+tP2Z61UtvPfKSTI7hlJjQMSZJB+tZAi2LFCCL2BA55PPso3C30WwXVmvAf6sf5+sgbB3a5LqDpGelfHUBob+mRJY5A0bK1zecOqsiqAsbp6jzwebXPskkh0xhzxXyHyxx/1V6EMd46R9+ak/aP2dK+kjaamIYqyM5EgMYkEZDEItwBIEQlfza9h7QMyG3LPRT5U8+H7OjFVMinxTinljp9/SahfGFVUggvIi6o2SMJ5NSgvGikluQf6n2XmNbiUaKhQRUV8vP+f8unFlCIaiq0/1fn1wgaMeWzkFX9DlShVV1CQEAEccEs3BLEn2vkW3zNKlQDQaajPp0l1OWCIeArU/4K9YXhDnUFjdlMhUqjl3I0owLMQrOw5I9P0F/r7fKoCG0gOaYAyPmf8AY6ZaVpaAj/i+nCkhVXcWJcPGX1ciQt/YY+lAxQ/T9XFrW9sT6GuC6guCDqH+r/B0qgJppoAQKDqaYAzEHUrqyKpVdZ0vHdns/JiB45/J49lcyse2AE1I/wBr/n6UpVqnAf8A1f6h1BceNT5gsvj1zBgXUxGMOFZUtyoXUgub2P8AX2YLbGNQulmQjjWv24/1D06qrtSvAf5uu6gI0NArPKscstTFI8fj1LEY0lVZXBDygD6fS17e0sUKw3DeEWaL+E1/1f8AFdKVIkhAwD/Ph/qHTazwCKilQlSdEfkuHRXSU6XWPkBwLkj6KL88+345SgZyDUn9n2fP/J1WRjpGgdo8vy4/6sdN5cyU1TpdVaRKiysqmTyGYMWQsQF1IlwQv05/HtYguRcNRahl4nzx5Dz+fSXxEYksCD/q/l1jqKZvu6Vgzor6bRqXd1J0hrztpSQ+ri4u6k2tYD2aRRK1swnNGUZoKHh9nHpDcGQ3I0t28R1PptclbLOsqBJbSLD4nWApFoEblQwA4uLk/RiTa9vaCEBLfwj/AGIrxxX/AIv5dNSu/j1QmlCf9jp1hjBp4lYpqlVl8pUKTE8kk1jGCbWB034AHP59rqsZiCx0haAeRPz61oOjSwGvV+f2AcepEEQWtpUjARQqqxRAwdo1sNIXSQHRzpa/FufepEMVuySAa1B7vOh4D7P59eijH1QkSoqeHrTz+XS1p4FCM4jiYHygXdvIkqyIup2jChpAAxXngqfYfktS8AXV2lifUdGwaj+IQCwIp1MqfIIJ1hijSUiVNRPIUokMTlyFDRlBw31P9OfaObxAUEQBWv5CnmB5/Z/LpYDLllAANP29MtXEkiM5aZkdIiqaVCGRVuWII5W45vawPH09tzskQ1upOeH2n/Vj069bBrg0byqaHzoc9JSWBn0IbgamLklZI2sSjsGv6z6gF/1vax1aqu401UE/Z/n/AC6ROUoQgzXqZTUEbxO6+MwFdMhURlkiLKNBW3JFhcD6fk+1KyIZQ1vUxNlq+fTLJRdZ4dPtFCW8SEBtNkElOqaApEYDM4HDFQb3uQOB7ow8XuNa/wCbhw6oCp7iCKfL/B0vaOk06fIgSJwUI0gx8BiXeM3MpLixK/6q/wDh7YgiAnMpYrUj7KAHj5/s6ebIGpRp9enaCCJjqsoiAu3BJMunTYBtILFiOVBta/tdIhChwQQ3mPL7fn554dN1DMSMeX8uPU6KmWNE51NFIjAqQNMTW4LMxZ3DN/VVvz7RaZsREAws2D6fb5n8utiMUBFdXr1JamF1ZQt9BVCyhXCoG1vIbr+9ZvqP9iLe7FyksZVmMZJDYxSnnX+XV5IWB1txpw66qIVRIS6xM4ls6JCEaRLSBAxW6lSltIvf+vu9s8M11pioStaA8MDh+dcdMSssNJJB3Upx4f6vn1EqmnKOqgqFpkiX6SFSAWLSj08CJr3ubcDn2Y+GltIe0gt+Y/1fz6TzOzR6kYeG2B0R35PUmKnrNmPmMu+LihOZMSAXNUimlaVSQVCxrcD+0QWt7yY9kGiVLyorrKkfLH+rh1h5941WM9gW8g4+Xrw6LVTZ3ZWH/cx9LNm57OV+9tT063NgWtd3D3/VfUvH49z9Iil/EXDBScef29YvsCzaaVTzJ9P+L/2ek5uftPIy0/jNEqQ/bxwRCiBhjUNJcpIWA0KVvf8AwW449t/UMsY8QA/Pyr04saqCAoqT/l6KxvveeUyEz0MNQZamYhI4IJnkiRp30oJGufLN9B9bWP09pXn1GrCsYBP5/wCrPT4jYkL5nh+2lPz6+kL/AC6v5Nn8n/afVPVOA7D+J2I7f7azWwto5beHaHdO5Nz57Jbo3rk9uY7J55tv4Vszh9qbdwi5F5FoKWioxLHBpEksj63MDye6W4Q7zJbSwotmshUEk8ATnBHEca1NfPoWf1ak+n1xn9YKDp01P54P+rFOrW6H+Sh/KYSpiykX8vH48U9XCNVNWy0tVUVUeskmSKVcpUMki34YMGH4PsZLzoksPiwhSPLL/wDQXRE1nOp0kHUD/D/sdODfyYv5UjSiab+Xp8YMkxfUajL7eXLVDMSSDJJlBWyTEk/knj2gPPVwcKIqfbJ/0H1ZdvZeAIoPQf5uuqr+S/8AyppvX/w278RyWXSRHsfD0q25F1FNQqoPP6rX91bnPcWXVFHDQ/OT/rZ1dbNacWoB/CP83Sdn/knfymY6hJ5P5b/xZWRSLacVIlMT+ltVKsa0zgf0ZCPev653yUSRYtRHkZP+g+nI9ukkPYG/3kcP2dGf6i+FPxC+PODn2/0t8V+nusdvVefTdlXjdnGPE0E+5I8Mu3Y8zNCtOBJXDCIKTWfrAAv09kW73uxby63G7WlvLKgopNTg5xVifPozspN3sQYbO4kjQmpAFPzpToWz131fJKJD1NtB2LMskgy0V4tC8Fg0K3BYW49kHhcoKa/u+2/Z8vt6Uvc7/SjXUtfPj9tesQ6+6wpRIYOpdsATKwnMWbjAb1BryLe7Xbm/1Fv6e3VHKilpFsIPQ0H7fPqguN+FQtzJw/n+zro9cdZR6pB1RtsMVLMrbmurD6GwDSIOP8Pbj2vJoAkSzg7snHWhe78SazyVGOH+x11H151rJKJ4+qMMjgaRLS7s8Q5sP0R1cK+q31I/1/fvpeUJBqSyjyDkf6sfb1r63fhWs8mnNceX7P5dSH672I9v9+DDEgcRxt/faZF1MRJ4h/lL2V9N7XN/fl2vlT4mtgK1p3ef7evLuO9UP6hJH9Gv+T+XUmj2BtKKKaGDZVTTJKzLK9PvdmkBLqSVZ59S8oP6fQce37bb+UgT4tq1OBIenVZL/eS3dKdVP4f9jpqn6o23PVl6GHcWJnkit91Tb7gmdFQN6hR1lBXU8h59X5NvZXe7HydO/ZDKsleIk+fp0Yw8wcw29BqR4zwBjGf5V/ydM1R1nuyljlbBboxudgidzLjtxmno8s8RjACUuZxSRUArPILqZ6VVtwxH19k0vKtupLbVctp/gk+3yNP8PSuPmCQki/g7iclPX1pmn5fs6SY25WyV81FBVKmWpYGqa7C1CpRZemptWp6mGnDzQ5DHl1FqimeWIc6ip49h272x4ZCNR8eldP8AlB6OY9ygCDUDo/ipQccZ9eqzf5zGfq9ofyqfmfJEXiqdw9cYHYZk4uDvfsDau35Bq4azwVMikWuAb/n2acviK2u1kmJKrRs+tRjox2dRNvdp4dBScEcccRX9hOfLr53s1KoqJFW4U1En6yl40Mw4dwtyCrDn6+2WlCjUq9w/OvU/WaCoYnyHWSqofW+hH9Ec0iLIr2ZAANUZJLsIjdibfT2lSUGjEAaqU9fz8vs6NSQW0IKt/kp/h8+mv7AkWCn8kkXRweQo1ahp13JCsQP6ce1InKDvpkY8+mdMTrq8h69caynk8NGJCWEVvGy3veKwXjlFZ2Fj/ZI5sPr71BIjanUUY1B+z/Y/b09IraERwdPlxx00TUpmkmiZtAjiPjCG5hLOrTRggiyEH+t2/wBb2qSQKiuMmv7fTqjuzO0JBVtPH7fToOstGqTVSTKqRJL4QCGEhZJrMAGRgABbgG3HsTWj1RWU1Yivl6dBC9bwy4JJjBpnj1fJ/Ld/lObR+YvxOpu8Mr3JvbZGXqO1+0NmnbuEwm2cpiGptl1mDgpK1pMppyKz1hyL+QA6UC+nk+wfzbzImx7yts8QdTbQyVNQaupOKEDB+XQWZ5r24kKVWNXZaV46cV63YPswzevNMzMo1rD44/GPwQIwSSR/t/cLSWkkkxatCeNMY6b+shYK1CMVpxz1JjxlG4t5cnU3JtaWoKn6gyXUJ6T+fwDx7f8A3YhHE0P+r/V6dJzdzElqUHWePD0NrLimLDWA00jMQQSC1pJyC2kf09qRGqoAMt+wda8ZpQCaVH+r+fHqZHjaZHUCKgj5OprxeRjp1KWVEIuQP6/192JVaKaZ6bYEzVkypU8fWmM+vp1JeCLSplrrIFC6WEhVEU3CR+RrhebDTxx71E8YXtDBqkcPyz02iuEDGviV6k4SVnyElHja+ppDVRxrU5UU0Jq6anRiXbDK6mEZCRzpWaQMIOXCswA9nOzt4c7oo1Bxn/Y6Ld37FV3GqhP8wPTy6FqKChxeNTD4ilSloYnedo/NLLLPK9pairqqiZpJa6vrHbVLPKxkkb/C1hgYxHD+nimSOJr/AJeg4P1pKzEj/Vw681YojQuzxiwUJJq5AH6foSWA+tuR7p4gKKGqC3l1dYQvdgivDrFFKqlj+i/rPrvck2Gk244FufoPe6oZChyyrX88U+z8+tuhYAE9orj0z1xBQSO8j+SSQkqqBSLEBhww1Cy/QiwJ90KLIdZ/tKVHy6uuK6cVweu006xMzrHImpAFcFGBDetwtj6V+o/HuiqwcO57xig8+m2qpAAOmnXF3VdZZkZxdXILhmIGpLFRyGb6/kDj3tooiS4Wr9XQkKBXHGh/b1xNW0bW0OrOoY6WURlmKEspHLaTa4P0t7bkZANJIDEU6tQqfE8jTqZFWsCCL+gXWxBUBBxpS2s6x+b8+7L+npapNB5f6v59XETsKUIFenn+JahCpldCU4B/UFI+iFbD8fjkD2p8XGlhRj/LpgBC2kZen+r8+o8uR8TiRHLFioFgdGmxsp1C5BI5t+efaG4k0SB1/tKcelUcQqQ2EH7TgjrD5i8tLUxu6yCQCoRmF0jubqsZF7Nq/F+OfaI65dMtaHUQQfzAI6UJpAoaUp/qPUuOaMPplqlMUlQZGWNLzDQDaPy8Oifhh9Ofeo40ichjUHJzxPl1ZQNIb8QB/n1Mapic6vNJERKZRC7hy9OEAW80V7niy/4fj36Zk+Ju0AYr6efXg4chRljx/If4etWb/hUHVTzde/CEqoii/wBJndEaa7OyD+5OAdJNX6mDvwQP8PZty8qTNc+I1IfBJ+X9pF59SZ7fq1vLdKKayEyPMd/WqBgoSj+R1IeZ2inYhEOpAAkUbk3VdBIY/W5t71uBLqWiB8GlM/5Pnw6mvbXK9v48n/Z6EKjhlkNMysmpwHikkZQrlqmXxlF4F9MZBubgLyD7Dc7mMGQ8Kft6EiIrEMRWQHH/ABXS9ose0aPfkTSWXUqsq3/UCg9LhzyGBtx9PZNLKtzMsgopAp8ujVEGdPxNQGny49PU9A5jlMiDSZlA162EksUZ1MzBhzckaT9B7UWMeqXU9DpNfs/McanqtwQqtVfy+fr16GiWSMWcoT6WWIAK1j9IkB5YISbXJYe7TOIpGiXujJDUGaUz00rakEnBiM/Z1wahkMzMjH0yhbqCJBfSVLAFbRJwL2uQfdUlcV1HuehHy/1enTLqJJwIm7hn5dOuPx7M08nq1NIhDAJdmaTQGRSBruSVDGxCjj22/jSRhWcKFzgipp5H/L0qjWRWP4iR5fL/AD9SavHNE3jZtSyskbAD1LpLSaSRYgWFvr7cheAQtL+BiQKZ4dW1yeJ+ninGvUGWkBjAdC2r9uZLjQJpGVUSNWu6lXIYliRqHtRGksMqJUm2oKD7R6/b1UkyIVcd4wR8uoEkaWiKAajNpmEtlcGKOzC5JAN15H1t/sPe5RUlQOyuSvH7Ps6eQKoUUOvh1HjpTb0xiOGORvRq8lotVklUEXXUW02+tvaGVIwQUBEJx86/Z09HrkYhuA/zdNf2RH3HpBCRtGy6QqoTNr9GixKCQ3vwbfn2aRrRUUnzrx8/t6SModW9P9Q641cDM1OVlj8jKZndY31k64gNCkMAAo+v15/p7eWdJY2IrqDEE+tPT16TTW5qgXLrn7Aes6wJAzhgjGJxE0zhrmN5IyUSNeToDC9+Cwt7TtpdCiksamqnB8vL06bCGJquCKYrx6cqSAyMiWUmVS2sSKpvq0pAzEsyDxpcgkAk/wCPtQFlGuQKPHCgaa4r8uqExzKA3qc/s6nwxlKqM/53SWsxNlLSAjQptwsTfg/nn3eW38RNZ1EkVNeHW2YpKGJoy4qP9Xn0pY1DeRANKys6IXZmDByo1MpXSSDwObm/Hsre3KMFjNQVPHh64Pr0vEjcRnHU2oLkVDEPJqTSS7BXMiBEBugIBdUsQOBpA+vtDIH0gDFDk48vL/Z6WowDByTUfs/4rqHVOPtrt6hJURCMxW0+iO+gnSpCIq3Yfjm9/bMylVCnPi/mB9vTyvIlXOG/1Vp0nTGmtbLpkiCgaJNCmzllLP8ATQT/AEt7cnDzWirN3EUFQaYGMjifl0l0I9ZEJ+Y9OpEVO4klUizoS8sq/pDPJcqtOv6yWt/rL/gfbayxodUPcg7a0OD8x6evTLiSlEAoBX7en2EFXRQ7KrurSoFRQbNHYEcaQYx9AeLX59qrHxFbw5hrjYE48j6/5D0klkoQw4kZ9elXSSKIkGq7Kz6EuF8rubDU5XhQLC4IAsLce6wpcQRSN4gYByBw4eQ6c1iiqxJNK/6vXp8gR4illv5H0QtccunKyNZiqsCTcEgMPbkbSA+EDpqucY4fsqetNGNRav2fZ08RxK4jLG2vSGHDWeNWk1KTZdJsfzwfr9PaZSx1pq1EAnhwGT0/pZxo1UJIoR04VSGOMaSodZ6fS4V0DMysSGkGpnWTm3pPBN/x7dt4gAtDpgIPzB/M14nqt5M8Y0j4hQVPy+XWGZLxQgWWVpQzOx0hpPDMF16RZwdWi9hY297jDpMZI6KAMADNfX9nTMqrLBV8N/q/w+nTZWQhKdVePROlPEw0sHZ1QsSHJswA1fi9z6R7UtM3ieK9THqAI4n9n+bpIwIt9DYZQaE9EF+X+Mp689dpIQHpV3G0atKsc7RzNR2VGceNdD2Fr3H0Nvxkz7JDxReyQ1BGmnyB9R1iR94lsbexOKPT7agZ9MdEdrMBNjVWoheaNhLJohIL3QBDH5Hc6YtQc3UXsP8AG3vIb6cBKcCDXj5+Z6xXMj6io4f6v9Xp0i97VtRLQU9Dr8U1TIqiRXvrT1M7Cx8nqK2BNhZre0F0VVAiEMjGhpn59PxDVXX1G2L1xUnPYauzywq1ZmNrw01Ak8bzlMruXD0UcssSadDtTu55NwDyPZdfsYrFxEdPYxJPlg9PoxMqKv8AGP8ACOvp+fHqteu7D2WVqKmVcVLjaCjpKpp4qaANHSY9vt1jVqfX4IrAm17EcX94V7nJL9d4jGq+I3n8/wDD1NVhGzL4pGSg+zHVxWKzMwpoIofuH0yeFHuwjUqxB1N/gguP6+z+0uJTFpQtQngOk0tvEWLkUU+o49ONPuByYRJUaKi7SRpcrK0C+lyBYj0MOfyPaiO+ZmCSvRvs4/6vPpLJbpkAAqR6YPTo+amQDVKbizuVLelf6/X1cn/AH2bi8dYqgkHj0ie3QqDFpC9NFZnncandyY1djpuEIuAb/S3p5JH5HtJJdGVTQ1b1rSny/wBnq0Fpp7+FeP8As/6qdNFTnKh6eSIySrqiNmI9Kg8qNRXnhh+A3Ptpp/FiKsKED/Ua9PxW6rIZOIA4enp/LpNrmalYtDSuL+hhYlvQb+RrfQlTa349lJbg1fI+fn0u8JXOrSOHXS5mtid4xI0drMuv1JwoCcn6XHB5Ooe9JcOE8Ik0rx+316aMcJHcKVHWN6qpE06NK0aSF2WIMxEaFdelVWx8ayfQ/i/vxZo5W0E+GRTraQxMgIXuqR/m6kUeUrJ6PxSTXLI8UhAFgp1IC2k31BTe45v7fglfw/DWoqeNf5dMPbRliQo0n7f8/WCOvrHx9TTyVEpk1+NGZzzJoXwMQLldJWxFydJ92V2a3kjkZtY4fb6fLq3hQ1IZQUPypnqTRZvKx0lMtRUgyhSsjO5W41FULaF9TqAOfzxf3u0u7qFFW4B7j/P/AC9NvBC3aFwfPzp1IXNTmvLrUupUCSSzHR+4LWRFtpV7XN+B7q7vFcFgxLg1r8uriCIEaQMY6ktnq7yDRKq3RX8imzEMbr6h/iLj/eePatZn8bVATkV40p+XSY2EbDVIKuDX+f8Am6h5eCi3PDBBkXqopqNzV4vJ0E7UWYwdfz/uRxWUi01NFMNNnUXinU6ZEdePbE7mdShajKKg+Yz5ny+zpyNfDm8TRqiYaWHkR9nl/hHVEH/Ch3fmU2n/AC9z1/ksvRZDJdv9+dSbUx2TpqZKCTcOK2jUZfsTcVNmMfEoo8flKKj27A7SwkUtUDcJG/pLttJIkUksgrAUK1pkNQ6fs7qdCzkq0huN9TwiQEjdirVxwA0nzHH7OtHIUtkVbRKoZkuX0yO7yBUDXN78fX/eB7LY442USKe0HNf9WOpytmhj0qRUr21r/h8uslRSWqUDBiyeQyseW5JBVnUkE24sLi349sSeLVpFxQCg4H7elqSosuhOLcT9vD+X7OoZox5JBqXx2SJVJRVMJIX1uGAkc35tyLe3zN2fBgAUY/Z6dUSNvFoxx5D7ep1diUMETOQGH6eYyhQgKEZUKlQt7D6XH149oLa4aWR4gMUqpA4+o/Pozkq8IDmmnGfSnSSqKKbWVBMTSeWPUEEi6bo5GqxAKgjTf8ezGOWPwg1Krw/Mf6s9FEpZJRk6iKV+Xp0FWWjElRXKg0tDV1DMjGI+FI5241yH1KzXN+ASR7F1kNKq5wpUcPWnp8ugjfFp5GjjoDr/ANRH+o9bpf8AIUxVLP8Ay4MTKsNK7QfI75CRqxkcTyq2W2sRcpIFHjF7Wvz7ij3MkDcxReKpKnb7ck/Yh8vz+wdENuGhkuMaj4xoPnU1/wCK62CBSTJHqgMCyFRpESQ04K2IKiRlfxsAP7Q5v7CoaU0U6QaZPqeiYaY/gyB5npufIUkE/hyEFbFUAqAk9T49a8EtEyIqTIR9LHm/vTKzqGDZB9f29W8Q04ChFP8AV8/n1PSuxcehpMZULY38vliax+g/bZmLBr3ub397dC1GcE09PX7OvEMMDh6/6vLrm+WpSCtNSPTBbMsyfbvM9vwPSQgJNwQPp7uY6vQgKBwNa+Xp1ZSpBUnPr/q/n129XFOkUckMlRErt5WfS07iQ8hJAQUIbkD9PFre/MJfEGmhTz+VOvA1X16k4+GCCugqIEq1iVXDmZFOi9gp1JwwLL/r3Ps12pityPE4EEf8V0XbuS1pQDIp+f8Am6XtOzu7GWQSHSXJUgfUgRxj/gtx7GERl1EMQR0Gwlc17qZ6kuZJlYKF1INOuzOB6TqGkAqXYr9fdJACa4bSeP8AsdXowPcKDqO4k/t6DJ6frew9RYvb6FdCgAD/AF/dBIrVIUUrinWhQmmK/wCXrtTw0iu2rX9CLMt78Bl4IJNwOLe6Bgy8CJq4/wBjq32049dRFwBrUqCWfSNK2OoHR9PSSAdQHP1v78uvSCxJb162KA5yOuwSXe8ikagqeHT6UuGCqGFpXJ54PHukMjrVWNamvW2dSe3FB/h6xSqo162U2Fz9SQzGyki1/Ta1/wCvHtqVlDsHz09G6aQlTr+zHH165U+vSpgZLm6Lyb8NpYEWshN7AH/be/HXoEg+VPPHT2CP9X+DpyFSY1AsDIV9Khf0hh6/rwCx/p7vI7BKEZx0nVmds04enp1hkmBIuGGn1EqQ5b8gEtwP6X/p7SvI1KH/AFDp8LqIPp12JnOqQPpkRAw06mU83tYg3sPr/r39syBiQpqFGajjw4dOqR8SgDqVTy08gk49c/NmP0kCizhSSQrfm9vfkMTKWNSDw/wf4evZ8RNIGKn+Xl0606qTdgPSvi4NrkckLcn1avrcc+3ZF1Lq+Q6oV0ADJ7if8vWrp/wp4Zjsj4Q6zpT/AEg922QJwhXaG2gXW51D0ki/05Psy2ZdSzqlVHg+lP8ARI6/kf8AJ1J3tuzAXTOKyak/5+p/xXWrBtvHo9WgqD6JFl1+gSMZmI0ol7mSVwQOAA1rg3sfZbuV1oj0QntFeJoB8+p3sYo/EyAGOfsOMfZ0KdFQRzQ0+iJwjpokPEaRp93YtdwWGph6Rc6TcH2GXllYOJZAFLVFeFPl8q9CJAFIaPJI9eH8uhDooDT/AG0RCpcSBVQMZNAL3YalsqsGH1uLc+0kkXhuatVKUFD514/6vXpZFJSgpkEmvrXp1mpUIo2cobySzy6GdgZQ19KoLqCfrc2F/wAfj3srJ8UeQPKtP8/XpWQnvNB/h6iNRfo0ugm0iVVIb8vdrqF1NJEbA20/X8e1cCRKCZj+scYzx+f+HpppItOpaEf7HXhSR6o2i1x3SQNL+56xKWAFgP3QzKbfp0qb8i3u7MslIxUSKT9nD+fSR1QPqNAvH/Yp0+USxmWQ3dxFp9MqFVZoybcafXZm9JH0B+vtNNG3gDUD4gNQSMV/zdKon79P8NOsklM4MjEImtwLXYyy67Fi5PKRW51H/WH193c3CRrbFR4VeI9enSMaic9NLUixLKCVaV3eQqNRZ5GYLE7qtybKqsQLWF7j3qGRpZQrGqUFApyPn/sdOMFAB/0Q8SOk6iR2GlYyhZXh1a1diFSOSdLqSASWsT9NNjz7uJytwNNWjJAPrQDJ/wBnp2IxFGEg7/L5f6v9nrOlM3+UwyEraWJVZGZ/S7rKrOCof9xfqDbT/vPtq6dT/ZEha1ya8f8ABXpTHHcMgHaBk+hpTqLNSh3rNFv8wUZXEPjP75LRgk+oaRYW/JseOfbkE9yupgQ0YOnI4CgPHpO0MbyaVNMdcKuiSExSRgIFjjqB5AtwAEtGS9wiDT6gb8ezGOZnt/BJABYkMPs4fs6SS2ylzItcY41/n1hISOdGQgsNfjWHUC/kEckge9zJ5L/qBHpFh+Pe1u0qNNCCppQUNRTj61/LphrQOakkBc/bTqRRxK5jfxIPAkYDJxpuWukkY1FvGpB5uCQLH6+2JbuZJtaMQtSajjnyPHh04kSOnw1QefU5B64ysUvqSW4XUp12PjLKVDKhFiRYm3t8SyxoTI4MjZUccfMeXVR4Gr4SKE+X8+lDRLKyao9LreaUiUMqBtcZ8mliQpc/i3Nhb2jlmCEMSRHUk+gHr/sdXSgGo5Nf5V4dOVVCmiPSLNUuImLOQbK8hdEW1gX1BhY6iR7SeMwhM8XwMDSo4gHP8ulciCURouHJFT6VPn005aJo1pI1JZYdbIRy7SL+0NCsONN7Em2oH20gaSPxaAIKUzWv2dOTJLEVU1I9fz/wdMv2wjiJ/SxUl1CspjVyNKqCLMALkXIF7n282qRS4pRafz4dMgrGSUpqJr/xfTjFAysHjMkygMvqYINMunQtmC3ClQusWFz/AIe9SNPHJ2ogYHy4H7fl001Tnh/n6niJxDGCRGqFTMpVlKsjsQIyi6/0tfni4A/PvxlrJoSQeIRVaeX8WOmtK+GGlH6hNP8ANnpSUIC3vHrexJWQKCuogc8KkYZbWVuSbge9zApEptgTKeNcivn9n8+thQhKOPs+XSmpo1cRrbxLCpBYjUG1tpDLGq3k9XAX+z+f6+3YZZpAY5tNOIp8hwr6/l06EiIAY8RTp0iR0ieVmAKpHyWUoyCQA+P03YCMDgfg8+/LpcaYYz4gBOTxAHDh0zpZTxqK4+XU+qiM0MThXAAp3EyvpIJCqZULW1C9wAeQ349sW0yrR2Pc9aKfLyoPsp0pcK4DmmpB/qr1yk0XINo2DxylCNEjRaJAwKMdWmTUBc2uRa/tQqHS0jCjeVTx+z16TSKrDSfh/wBXn021ULCCRF9TyU6xk3KaXIBiSEFiCpS/B+h591inCVahIGekk1szw+HH3Ch86n/B1X78xt2bT2rH16N1wZQrX/3haglx+OGQjjWlahWoFYhqacxyCSRSvDahcn6D3k97DTaDfi4oHOk44UPD88H7Pz6xD+8bHIG24IKKfEUg/Kh4f4eiFVHa3W7SfczVu6Z4ZbqxfB2W6oVhVllq2hk9PC3N/wA8e8iPqYsEhqcOH+z1isUkV6gcfPh+dOmWTsrpiGRK1KTddfXxSLIsk+KpALWKSRfuZILYAnQNNgt788+2nmtVGVLAnyx06wkCkKaVGf29TML23hN0b72Jgdv4rI0kmd3/ANcU00tclGgMlPvDEMqjxTTyrEFJQc3N+T9PZXuCq0Egx4XhNWvpQ9KbcFZo2P8AGP8AD19MX40SUs++9uxQaS394onhcTmOxiqGBCawVqYmZCCpII+vvB3dEEd60EZGgSkr888fz6nvblX6XSTRaD/Z/Lq23GVNTDSwF0Kagxtr0lAJCRI6liGQH+vBH+v7N7B5Y1Go0Iqfy6SXSRl+zuU4r6f8X06UNW7s/wC2GYi6yFRbS7vqELsPQJXsxsTce1VsVMweT4jWmOHr0jmi00GrHp/qPUuomeSFgwULIrAAE6yQdWlfSNKahfUePZrI40ChotP5dJNC5CgDz6ZZZ30KrK506NRc8ekAqun8ix5t7Sq6mkaKa0yfLh1dRQafXrBWTu0XN0JsEMemwuBYjUTpayj63/HukoaOOqHjxP8AkHVoxpOniD0nZJXKKWIVSxdxcqwH+rJJ0MCfx/Xn2TXDHwyVJpWnT6gk6R5+fWDysFKAXPJVtbsCo/sAgEvwef6D6e2HncnSvkR099OCck1/Z1Igqp3jmmLWddMYdonXUguWCk8k3a3+8n2st5tSsxHdwNf8nTTiNX0x1Hr6165Uk7QySKrDX5NKlmVgI5F1MspP9tWJsPbkMjIar5efz68VZEqvwtX8/n1LaocgSxohEalragCdZCLYFiZChX+zbg+3xIxyR3ef+z014YAIYivl1CkrSCyBhcR6SHeyq/LNe6nQxC/k2tzb2naeUy6PwgVH2/LqixiuPhr1wSST9p1KnSrI4LEB/ImvSxZVJPIFrW961EtrB7x+zp0olCdJxjB/1fl8upQnm9Pqsw4OkqbEHgW5soB/2N/btTXUtcmuPLqgQVDfh+fH7enaiqZBKGRWBS6tqH6gP1a1Y2KMb/1sPe/FZnqDio4ef+rz60Yqdv4CTnrWn/4Ugdi7dxWA+GfXG4sPkM6MrvHt/sk0GM8IMMWC2xtzZcVdUNO8Q8c8u5pY4rf0bi3um9JvFxtJXbJEhmLZJr3ZFAKA5HGvy6kr2pfbYt2u7jdkLxCONV0+VCxJPpWo+3rV7j3P1EFLHrrckckkSoqH7RiZiWLn/gQWRmkA0sOLLc+4+u9m50maqXSqpocFqV8z8H+r06yBh3Hkvw6RxOua0pX7f9n+XUh9zdVyTMsXXO5UbRSR200amnOsvO4JrQVFiQWJsTz7ZGyc3lhE16gnB4VbKj50/Z/qHShL/lFdSmBvEoM6a/PhXrNUbr6l/eSLrPcQmIcRDTRKkemmeNGQtV6iYZ7PY8k3N+APbD7Lzo4qL6NF8wWbh8+0fb0rn3XlUKBFA/iHgKZ6jz7t6wESCbrLcMjRwQtVBpcYsRdpWdXDNOWtocDnn8W9+tuXOcSVjj3OHVUmurFPSlMfPPz61JufKagK8EjGgqSvE0/1f4OmXIbq6kmiqFp+t9xecwyCFjJjYrTeNjF+isVFbUY+eeB+T7Wxcvc5qx/x+MaZBxLUAP8Atc/l+3pBd7xywF/Tt5Dp4YpTHl0JHQHb/wAK9nd4dT7t7t+P9Vujqzbu6FquysJXbaoN2Jl8GmKyVJPTzYha1Ys0Fy00cojcAFkHPHsz2/YfciO9MsW6LJCtKIGI81/iGkYr6Y6B3MW48uXm0yxbdDJFuDLh9IqKfLrc4+EO/vh3278ecZvL4S7Ti686Lqt673x1JtCj66/0aLj99Yuqx6b3lqdq1U1S0dRU1ctPrqo5XSqsGFihHtNzLab9a7uyb6/jX5gQnvV6IR2DUtRgeQ4DjTqKrKeF2btZJVdgRQ5KnLZA4nPAg8QSCCT+MtMn/AP7ZGLEs09RI8Z+jOwjXWz2B/BUX/PstESr2iuR/qz0UMrkAEaVHp/q4dYJcYcg0QrK56nxSXiigiSGOJ2HLxhUdl9JNje59uFF1HQtTXy/ydOeGpodQp6en/FdO1PtRSF8WLrahATZnJWMnknTdIg6sORzxz7sXuVUKEYoflw60XGojUKf5PXp8h2tIjXejoaa1iPuKiMOWsSTbyOQdP14PtQsE0uSoBHmemnlWtFFfs4/b0901BQUZHnqcaDrvppqczkSk+nTZFFwRYknn2oitTCP1GGk+YNf8nVFlNPNVr5/6v2dZcjHSS0FSiCumUwMzMKQQ06sjB9YsikBCvFj9R7vFFGt0tNQFfsHSW8DGJhjVTHmc9MUccbF2gaRVvEytx+VD6W1H0pIL34NvYjiCxyN4R7AfXohhjcg44D7an/J1j+5aJgAb3k0xuhYA6m5bQbMCTx/Q29smUK5Ymmry/y9KXOtSF4g1/L/AGOnISRlXI9PALMSSGXUFFg3CyXNzb6C3vzvViqDJpSnr16MAoKgVqf2dR3kZH0p/nSQtnUoAWs2r6KXlCni4sfrf2zK88cgI409K09fP8unlijILEAEA8esitZXbShZVZjdWjMTf2mJB0lm+l/p/T3cS6VYAkgjHy6ajCsuoqBU4HXRkiS7yCFCNAXQPUhPGoJKI0PBFzyT7qJGLBwKDTTqxQMO1TUH/UevCNJpnZgGvEutHZYkIU/2QWYHgXuODf6e2wNTMWqTT8urEqp0tQEcOuZkjgBCxnUHDBRJZgzcKWOix/qD9NPPv0k0aGkZOAOPr8vl08sUrZAJNaf5+s0Z1AOX0ubliAzKt2J9R4JK24A+tvp79G5ZQzNT8+tBIhkAVHXNnj0kkLoCk3KHkngBVB51HkH/AGHvysjHvrX5fZ06opkAZ8z13M66L+RTeFRZbqSrNa4YDVf8XX6D6m3tmR6HU1Mjh59eRQ5AWgWvp/LrHFUO4mf0LHf0aVOoqCFWMEAgk2/1vaA3ndn4Rw/y9PyQqHVQBqr0oKeclFPrZuNQkChxYXIIH6ALfQf7H2vjYuA5GD/g6YmZVcgUHWsD/wAKZ0kqNt/B+GN9P+/y70qdTFSjMm2dpResMChCKxP05PHs3tZBb21xKpDEoBX0qy1HUme2SNJLdA+gx60/4vrWEwVN4ZpNEbeWEx+R5TyolKrZ2XkyrKgUDgqefYd3K7s0j0LrLmv2V6nOyS406qHjg/L/ADdCrh6b9uMSCWdCyRmOQII0czSSkhbknlVH0AZueQPZT4luFBFTIwPa3Afl/g6PIHnUaGCkDgRxP/FdLqliXyU8al2kUMCyppZnc+R0ZwyoohF7LzwbH214HixlgV1Upp8zn/Ufn0sM9ZhAgoy1Lf5uptXHEAkQDMEYWWMARu5Ls2otw2rVY3sQwA+lvdUjlUhIhpjJ/Kpx/h6YuXWndmn+D/i+sUcSOyORKpVSTZWtclS6MgZUBW1jf63/AD7UXFvMHWNSaHLDgft6YirKcYUDB8j/AJ+u5ackNpstxrkgibQulmVY2W6hVCooIHP5t7tbSqIi1KITSp4ihzXrTKHl8MirLkjyIPD9nHrPTU6M8qgfV4k8uttdmALqhJIY6lsTyAOR9fdJEjRVJIIb1r+zpTCxEhYgUJx8x16qP7pVU0q14SCCoUWGsKST+QLjg2P1/HvUjrEmo5avwr5dKdQLV/P7a9M8pURNF5QPKrya5I/U0Y0gJHrbWJAfpcD088n2mjaK6KiEss+moHzGadeeVFNCBjPDptFOkcgjX0h1jEMZKhwWZSdAbSfID+GPqtxc39qxN4IHiisjmmc09elKxlwCvH/Y/wAvXKipYzV1VRI7K5jiusKkNaxXTYySMSAvqubnn6m3toxFakZjGM5A6ft2CljK2mThQDHWGtpwksrhNJN1BUlnRfIInEkkgEd2ZwRwWsT7Zhd5Dg6ogTWnD/i/LpuZBFIdDZ9PPh59YqtILQDTHINDeNQtkJgGhtEjafIxUc3ABF7/AF9qgVVw8n+49aDOM4pTpIzkkE4Ff9WOuIpITDI2gokjRDUGZ0fVHGY421DyO6RMVJsAoIIuPbRLa9Vt8EYINPM/5cdKBB+kWbg1aV8/s69jIKYSNGp0XKoi2AiQKhABuGBmjI1E8jm9vd2EfhrIWOQcVp3YwBnPW4UIJ0nSwFQTwr/q/wCL6cTAglhu+ooHcGSQgSSRSKi6vWWFkbllGn/Ye6ogjJeUtgZqcj0p6dJ5XqdIprbz9fU9O8MNizSakaSR1Eim6hwVcGUrzIQrGy/72fbDxs9SxIAB4cPzHWoqmsZ4Hh9tf8PT68IC0RQ3Yo8krF9XpiKozEBfSFUG5IBuQD7ajUyW7uxLRKafl/xeOjBuxYxFTxD8XzoadN+WjR5YEYKwbxOykj6DVJZiFUjVcHg824uL+9WbR6yqatdODcPl1a8kkCosg7g2DwwfLpsmplGt42IJ5RZG1StqGnVrXU2ledI5P4sPfvGGk2zaRqBPnWny9M8D69JnjGmqmpA/mfL7Pn1Ghp5FRfTHx4rPp1ARfuMSi3N3YNYXBsBe/wBfd6iVfBGsMVpxyP8AZ6ZAVY6cGHlXh1PmBd3ZSrBY45g7aD6mkcM8Sr5CWQAEhiNXH9PaugR1OQ4Ug/5xx6SUq5BytB/q/wBXp074wMsaj1gMsTapZA4lW/1ZiSyjUQSG5vY8+7BpFAnFAoGD6/P7er6lLaGFf8vSpxoRbuypZlZjKoYlCTchlUMAusf05v7S6kGlpTSMmpZTQ/4OnowyuGYk+g+XT+LAFwAUPr/bdHJd7cqTy1+BYjgDn/B5JdTa0NI/I14jqkignHDOB1lEl6IyNOwEbsquzBnIWcrHqe+pwFUcqLgfj8+3Z6A6GUBDkHz4f4OtK6+EWWtPOoz+fUqf6Xcs7SRoUYaTIFCsWVF03CFSSfyTz9faSGNlZpZGbSK0HkMenp1anYSM/wCrj0y1jxNDJoQftQQp5Fje6WWylXYHUgRv9cG/t1NU0nhAkKCCT8h6f5ei2ScISQKN6/5T1VL/ADH5vDJ09GsmnSu9PNIzF7MJsUvmVCNRXUxPBv8An88ZN+x8iu9/pGlVKgY+R/n1iZ94gkttoY/qAufypg16qqmkNRNZQXeRiNMSM0s76tRPjS5d+eCR7nkyBI6sVAH+r/i+sXEVixUgl/sz+XQg7F6d3v2JXtR4eghooadElrcnmJxQ0lFCW06ihU1E0xP6Y0QyN/Tm/sl3DmHbduj1TPVvRc/z4f6sDoxg226uWGNK0HH/ACdWffHn+V92Pnt4bF3lha+XNvtPeGzt0ZXHvS/YvJQ4bOY7NVkC0RWomRp8dRSSRguzaBrkEa+wDunuE/hSxJGgRkZRUmvcCAa/KteHy6EVny3EJI3lZ6Agk4pg+lPPrfu+I8j5TfO1quOKRad8vFVI8IQRxeSCeqpvMpHoBt+ofVha/PvHS9hMl5HIGGvV5eeePUlWhKQOM0oP51oB8urfYI1ijUyxu+pNRQFGU/q8gkAswDf0vwDb2bxJoQFtRHr0iclTpBHCv/FdZ46qkjkSCMspOlRA0cvjAe4VEdRawH0DEXv7WW88Eb6qEkYp6dJ8swDdzj0/2euUnjkLhzJFGGRowGETMdR/bJA4AH05t+OT7U+IJh28RjA/lx6adSRQfy6gyQAk6VAB+g9SoqDhb+Q3B45/Pu5hCUapApmnE/b9nVKHgK16aahXEUiCxMbgNrB1X0ksgNrE83B+g9o7hwUrGCSDUk/4OtgMDWh6T0v0X1ebSWOnhvWVUsCxJAKk8jgAeyeSrA4YwnifQ8f5dGYKmgOGoMevXqZXeRtJV1RWF9RK+pdSgqVJDW+n15/w9sw0kYMSCfL8vX5jqstUj1AUNf8AV+fU5JGDGNT5VZgFMRCRpb9UskhIDOnNwLA/W3tUJgDpB4+nSZlav6nGn2164iMByov6nOuQroUhvyeLlSLH+nJt7sag0UCnn9nVagCjnGfy64yA31RCQA6VBAVkfVpQ/Ql9Gq5t9f6e9yqWQvCSSfThx68VR6HgaefDrEI3R/Q7+nyhXFnABUXIU6WUBwBe3Iv+fbSpJ8JA7cgk8D8vl04UMcNMGpr8h/qHXGCQgwiUCW2oM7AEg303dNQ0nURb6WH4+nukT5ClgZM8OHHz6d/s2OsUj/1D/i+nGKN9SxnlnJVgQGOlD6yRpCBgOABYj6+1aM2oE8fT1/2OkxZQSQaKOnGkSzAghl4XS17kXJKkWF5L/T3pVCsacK/sPWqaqZpj9nWoL/wpD3CMt8s/jfs+GQF9n/GTKZWti1nXTVe+O08jPTMyF7Wlx+1wbEXIFuR7MZmf6OIFqVkBx6VbB+2o/Z1Int0gjivbkhiryheGO1V8vWtf28eteARLfSLMFncyEc8G/wC2NRkdQARcW0/63tDLKIn0ADwzQ/LPp1IkEaRykyglTQj7fL8x05mArLIwYKfIQysqoVvEGQWKMJWdL2AuLgAe00kqzUQkxyIagj0p0cjQDWgqR/q/PprqopDI8Xk48eryOVJkQFnUBCLqoHJ1AE8fge1oaO3RXJ1RUzUVrUYqa9JJPHMvACvn6DrnXxv9q7B/RKqyoz/2FMaiSMKv7jMXfnWbW9otvhkQ6iKRlq/YP9n/AAdL7mUmBUjFXApX/DjpMTgRkuFup0oUYlXJOiwjZA7amYWYA+gH6/X2sZpxPqc6g2Av+A/6vLoscgK8lBpA8sZ86f6s9BNlFkjStEay+P7moMrkgsrmplDxAX0n0kWuLm/B9iqyhlhZZCgLFRUHyp8ugpeOuhgjca/Ij5dbsP8AIKx9NUfy09sVdVIwaX5AfI5vHE8sbTeLdWIgIe0ZaRVEa/m31v7j/n+MrvqygU8SzgP2nTn7PLoHW1yJJ59eJFlI/bx/PGer/RT/AGa6YsZj4ByUP26upK88NIX/AAbkn8nn2Gw8YUoEAowoB6/y6LEmEorXPXGHKVQtE9dHSMpJRKajWPVyQP3B6Sbc8jj3aKSXVoUKpHlQemc9aC6TQ9xPmfl1IadSA9RNlawaQD4KmGMgD+gKG4v9SCD7292oAUZHr1ehkNFwf9WK/wAustPk8MH0vj6tiygK0kvmuUu3q1P9f9gL/ge9pPDU44+nHh/k6s0b6Tgavl0qaWspKiAfa07PawCR/bQkv+khvSzRghfz9fdkuoozoZTooftr/qz0w6GgAwf5/bX/AC9cKmpqpoqqmWiivUQy05WVp5GLSxNHZEYoGsTwUNv8Pe5LtlQhQVk8vMdXZdQ0mleNfn556A+mzc1NTRQTwyvJAPDNenmjQTx3jdNLKGUpaxv9f9j7eW7Kqv1BBamSK8P2YPSVrOYk+Cp0/wCH/Y/w9ZW3NC6BJqeWLSwVWMEmpSPSqm6H9JPq5BHv318bt39pFf2dOGykrq4lhn5ddncIjIIjLK7P5bowXUF1RgX5UEHUE554PtptxRZQwrpGK+fz/Lry2E0SVIBIP2Vr9nDrpdyUry6VlcITpnqnkAJNrtHEr2Ooof1KLgCwH597ud0CgGM0Fcnyp1f6FgvisM+X+r/VTpwG4KBwNL+oEqHbSyD08i9v0BSL3ub+9vuCkkA0NMY4ny6bWynCmVl4H/LjqBU5x4pUNTUQyqLEEa2Zn1XWFfJaNRpsL3tx+AfaOO8aJi0zdhH7PsHSk23iBVjFJj5f6v8AD0+JnaArEolCsUcPGIzctfWwGrUFDXAN+B/X2+m5RtEBklvTP7emTZuh0MCcjif29Q/47RxylTP+8WVkEourmQgEBwAA8ZNv9b21HeMjksan+Xyx0pWFlUqnl5dSlylMzN/lGmRmu12Zb6T/AJz9J9YItz9Bz7Um6XR3mjeYHEdNC2dYtOP9X2/6h1MiyUckf1W3rOryMNRsSCLf7Sef9T7YN3pk/TNV868fy6pLDL4IRgdQA/lwP59R6nMwWjiWUufIqJoQsBbm1rEux5/w0i/tqeYSutDTH8v8nSi2gkEeclRU/LqfT5CNY0dEZmW7aZCUfS3+bLgW1LGeQAeP6+2nnwCgBZTn0/4vp2SEPVhUEj7fLpwbOReSM6URCni0LcsjC2oAuxUWPJ/r7U/XdwZz+iP8ox9vTDwCncDgcfy/l1rof8KC+te0u2sR8P8A/RZ1hv8A7Ni2tuDuWfPjYe2snuWTb7ZXFbVgxUmTGLp6p6SHImmlEXkAWRkYXFvZtYXVq9rPFO4WNqUqCS2QaUAPnnocci3MW2zXEszKiuABU0+2n+oda10XX+/dtZ3KYHcmxtz7c3FjJFTMYbcGJqMTlcdVCKOZafIYzILHU01S8MquI5ADocH8j2HNx3LbIrlIvFjQg5VzQn0qCK9ZCbT4t1D40A12zfCRWhHyIGeGT0scTt7PRiFjhq0+UxSC8AD6o0nUxRgtZSCbXU8C4+nsvk3nb7yVoVniVwtag8c+mOjeKOeN+2NmNeND/m8unOgxOb+4cyUFYIgrLATTMGJkdi0rm/8Am1U/QX9I+vPtyO8sYl1ePEwAoKuAemvAu3uDI6Saa8acenWbEVhM7Pja0sAwsY3MZax1N6lsVtyB+Le3FubN0LNLH448tQ4cNXHNR05JaMz1WNtJ+3j1zgoa8gPLSVDnSkaRiKS5dChVpbx8aV5H4Iv7SyXcLy/UNPGyjA7q1YcAfkBQ9XS0lkBEyNgcKH+fz8+octNVGpjP2lXIJI2JIppGHiCkrqCr/mSBcH9Rv7MTdbegMIdGkBwNQFKgVOOkcqzyNWNG0jFQPP5k0PWPw1ReS1NUEsB4VamkAKqo1mIML2BHNj9f8PaeSeNpUiaZKhagVFKD1p1eKKUSaFjbWBnByfl8+sMlBVlDM9JVOYwSS9PJpZvVJygAIfT+SRf8n8e2RPZozN4kfHJ1eXrT/Z6XxwvIniFH1AcPTpomxeTt66OvnE1wAI5CUMgQxn9AaOIKo4vYj/WPt7621jGppY9DfCagE/Znr0ccrDuUimcV/njrlT0WUeSOaWkqZFWdGkmeECyoxQDRpACG1gxt9NV/bUl5Z6lSWVRJSoNQeH8q9LLEy11FSufhIPmP9WeoyUOSgr57UVRpZlELqgmOpZnZj5mNpG0m1z9Lf0t7VGS1khRobhWNMjUATX8/8HWgzRyN2kjhmtfn/q9OuVVQ12gyfY1Ev7oR/NARqsFDudQLkhv6Xv8Aj/BHDeRvfVUqsY4CoNRTOf59NypOKEK1SwyR5elPTrupxWQFTGslDPJFHeRdFI6htUNjHI40IFUEjSeCL/X28J7YK7vKhhD1IqKqB5cc/PpmQMzUClTWhxX8s9dvj8kWNO1HWGVGiWPx076Wk0hTqV0KRgE+o/hAB+OaG9gEpCuilgSBqBIH7en1MrQ6QCQtcUNR6mvWWioaqM3alrI5FVGV3ppSPEoOiONlCqLgMv5NluT9Pbcd3bKGjZ18UHjWgr8vs8/y49PRCo1kNSlCPt/n1I+0qRXI8tFM4WP9ryUzyFSzpq/dtdlJ4A+gPt22volLR3Dx+JQmlQdXDjX9vSaYASaUBpT0PT3HiK1tANDkSJJgQn2lSAQJlHpCqBGdI1WJsfr7SDwjcCSKUElSSARQgYpxx156IFAqa/I4/l04rBVroH2cqeMzrGskE/k9SJHJJ6Rb9xj9LkH3ZbiN4ltoiqozVILCta58/t6ejkaJhISaCoBofP7esE+Or5JSi42sYCTRGz0k19McSHQxQHSzG9z9CpBHvySWcKf6GpLUA1Cpp1SRnkYkkso9QeotRjcm9mGLrygAAIpWUt6gAviF/S7C1+T7eDxKut2QRDzLCvGvTR8TTVQf50640+Cy5lYvjsgHuODTShI/SbFWCBNbHj/WJv7ZS5t3mKxSKJCKU/2eA60wcHTKrBhxwf8AVTqLNQZBoif4XkVABneMxzKgK2Uvq0kNEiMfT9OP9sZ2t3byKgnZCWWo7hk9I3kZO0KzH7P8Ff8AB08YzG1w9UlDkDIqxnS1NLeR2MiqVVV/cVENyAbG/wDh7rcTQ6QymNWrw1Cv7OtwRSNWQhtdAcj/AFft6d6WCoScKYa4AxyJoNPNEHP+6yStzck8i9vqP8PbGu2moySpUD4Q1fzA9enVWZphJ3UApwH256fOSzJ4pFjchS/jnWKyx6Wk0SAXYkWIHA92eeHxhQjw/UsBQ09K+fVjKOOR+XHrMj6EYWYRu0yKy31HyBP0AajCeP6HSBxf3QmNUMuoEBqUqKZ48SPLPTYmkBNT+ifKh4jh5dODtTlI1dxeyMCdbeS+gBEKBi5ck3W3H9Rb2wJkkLRKo457h/LPDq5kAFDUfaOPTTUSUoWoeSTR4YlAjDME1c6WdFEcbOHPBJ4t/j7NrZVceExXxCvaoIJNPI/6j0juHhRHebSsYBqTj/VTqoP+ZbWo9d0/FDPDKyUW9DJ45Ulb/gZiERpSthr/AMSLG3595KeyMc8cG4CeMx0lSlfOoav5Y+3rDz7wlxbyz2DWzqxKNWhrgcP2V6rx2dvQbYqWWroIq/HysWmaKKnhykRfgtBVeMNNG1wWikOkgekrc3mLddr/AHjFoR2SUcKHH5/7HUB7fuIs5CCAYzxwK/7P+Ty6sN+NWW2fmKitqsZmPJPjoJ8hjkZClRTZaeNlWPM4qUNd4Fh0xTKXQFuAVvaK+Ydv3C0j/XAB4eZBzSoIH59C7bZbe5DSRkEVNcUz6U/nw62ePg7X0OH2NvfKJWQQLQYSiwEbaxXVtRXZ1aesy1SpjTT5q2U6PIefEAhFgfcYbnG/1IHcE0gfMmvl0eguaSMQwYAgUwPs9Qer0vh3U+XfVEqRKs9PSiqVGU+SVDRV0YSONWVAYYYAWIJYkg2HsJXSO16tATpPyH7c8OjaAMls0n4DQn7f8nVttJU+VAvj02jClQrK8bED0GRj6vqT/vR9nCSGRGK0ww/YekTRse9aM1Psx6fn1JklR3id1vLFpW5Szg8hV1ixYBQLE/Qc/X2vYRNFqC0XH258z0n/AFKllrkdYaieFrAodIAP6iw9F2sORojW/wBb396YIlNQBBApnj+VP8PVFV8g+fUaWaDxgwvqGi6hRdyf1FVvxoUC3tSZEpoVmyowB8uFet0IcDppl5XyMdSXINyQLlWAGn9RPq+p/pf2hldnj1cDQ49fn1fAcCuT5fz6Y1kRVYDUQp0qWBu5GlRIb8fpBF/oRx9fZSk0iRFiKhj/AIM06NBHqlDE/Lh6/PqPRFBKyyFowokeyKGkVTdgFVbp6f6kkWHtJFLplBpwPD7evXUJporileHTlC9E8q+J+bLKZZVDswbUpHiawS97/T/WHswRotS6aHiek0yNpwuAf9X2/n16YFmGp2UMrGPUmghQSCUjJFkNxqb+h+nB9+uAV1FCwc8Bw6YbAKoAT68P9VOsUR8YRAWBWRmdiQVZ2A0oqiwZbfj+vPvyTrDpiYDWTU/KvTypI6AyEg8P2fPrDHUBZXMjrIiprFiCTqkNwoGmwBBvfhj7ad1juTqqB9vV2gDxgVOoH8+uMCUsb+RZVlEhlNm06lYksPSf0+O/0I4/r7To8ayCSvaa19ePTkmooe3AH+rPz6dFqlOkeUgRkj1KI2DMBaRDGL2/rx9B9famWdQumJqH+fSWKEgkgGlOHnnrLTyxJKXklRoyoDLpkDEFz+jkB3ZbnV/Tj3W2mVX0s5Ln9mevPG+vtFB/qx+fWj3/ADxd6f3t/mV9w46ORZouuuu+kOtYmVwfBUY3Y77syMQvqVfFXbzZZL3Idf8AH2b300cNsiSfHp4ep40/1evUp8jWkicvpNUGKSaRgw4mp8x9tQOqjLOsoIWzMwBZGALEHSNahSLXubDg/n3tglxbKZVGgAH7D0MChkfTHmT8uHUvVpEdkLq5UtIhv42B9K2+pIvcgc2Fh7LIdBLGTM1MAfLz+del7SsRGKDRiueGMU6auTUSOzHSpvpY6izoq61JF3EhUg3FwtrAC/t2RJRBHPDgkCqnyx0ngEf1EhzpAGa8MeXXsisSwU7uZFZtBcSMGUXURyLAEudYYXBIsFJ4+vvy+JIxjjFSwzU0AFP9VOlrmJlVlJOK/b/xfSPn0rK3jHCyB09SsC6EKi6R42CXPP8AQG/swLOqAPpCqAK/Z0UysxRlX4Tn/UOgtrBqmyB8jt+7WMyyIXSR45ApX1tZFUgqvBYW5J49iG1mIKTMNULpTOKn1NP2/wCHoMTrrdwTwqfz+f7Ot2D+QbDUy/yz9nGGmllA7++SCmWOo0zIib0xsgJRisTK4axtw49gfn5o13qPTlhZwU+Q0Z/PoBQf20wzUTGv5/8AFdbFT0dMyEgGbULuF9ZD/Q3jNv1W45HsgKRpD4i5Ymp8z0XJJQ9mD/n6T9Xj4pFNhpLXLxpqVhb6eoC4B/x549otEuvSQFFPzFfsz/k6XpJpjDtluH+x0yLRyxOfHIXS2kqxOtARfhvx/rHn22LYOCQ41A+n+r/iurxSx07enKnpMfU2Eks0FRw2ligKsgDXQW0S6iAAGt9Tz7t4KBixYAV4itcDyHXvFdKkCo6lHz0LEiJZdPqMkYYzAMNXAB1Ec/7Ye6GRk7mqUB889WVRINXA9Fh+cnYm79ifC75Xb42NuXKbV3rs/oPsTcm0t1YOSOk3DtjcGNxPlosvh5Z4aiKkrqK5McjRtpPNibezjZ5Y7ndIUnUNFq4HPDh+X2dJbuFlVCaUMq14GoJocZwevn75X5F/ILMZDB1mW+QXd+QqK7DVVZkJX7Y3qrV9VUJ9xLW1CU2XgjaVZ2uQAq6r8WHuUI9r25C9UQknzAp0JJFVcBjSmAfT06ibb+TnyeokwJp/k58gY46+jysOTaPtfdsv38NMzrSWeeulMUkAFgyaSQPr7dXbrCObV9LGyA1Jp6cBT0PnjpowAnU+qgwAMUr/AKvt6XW3/lp8u6dNseH5afIjU0uSpZH/ANKOXqVmSL72WmiRKhZlEkIhW50lj9Lke63dtaSxMFghBPAeGtR+dPSvVI7BIy04YkelSf5f4OhLwfzz+dsEVCsXzB7tnSsrspj2kqcrtnIJ4qd5zAIzWbWlNLVpo5lUmRgOb+0R2nbJI9JtowCAaaj8vz/L19OjGO3j1iuvhWpocn8/9R6WmK/mM/zDKL+Exr8td/zGbKyY6P8AiG2OscrroUeQQmeSq2YGnqGEfrlY6yLce25dp2F0aOK2TxB/TbB+ymf8nTx2isq1d/DpWmP59Cxj/wCbT/MMxkUcTdubHzhXNx4V5Mz0ts6d5aN5I0+9lkoaigjkq1LkXCqh/wBT+PZZ/V7YdSreIwY0wDXP+AfZw6021sshEJNcen+r/V6dKig/nGfPvHqKqqz3SmZhXMUmKMGQ6ejp46hJpaKnap+6xO56efzx/dn9FowY7FRf3SblbYYwFQSKGatVPD8iQOqSbcxRXckivd+3yxXpcn+dr814aetCbN+N+RkoK2mpRUVe0N5UjV8ckUWozQ0O7StPKrOSpQldK8n3qLlDY1QTXEk7KBwWgq35tw6tJYyPJphp4dBgjjT1NOPTmn88P5fYhcwuV6v+O+bTAtTsEpYewsNNX/cCRngian3BkIacLoNpDrNiLgcj3V+Vdkl1TI86ZrmlTT86dMS2ErKYU0mSg8jj18ulkn89f5Hw/fxVvxz6OyJxdHBWtLQ7+7NxjTpP9wfskhqMZWqs6/bn90sVY24Hun9TdnlgLTXFxGTTKhT+yp/b1b92XSS0BQjSONTmnzH+DpTUX89zvGGsZJfij1nJT09HDXzGm7l3hSuUM0ca00L1mypSZrTjn9IGq/097l5O2PT4aXdyHAByq9xHlUGv+Xr37t3EQkoq6WxjjQCuRj/iuHSzx/8AP63JUmBc38PGRqzGHJQth++cfLJBT+GmlKyDKbJp1aUR1CWAJufr7Sf1NsnVi94YgTQAr508+2vTcdpdxn4QXHlTHDNP8HUpf58mNlEDz/E7sqmjelkyDfa9wdeVMhpoUnllH+VUFJCj+OmZ1F7t/sfbjch23hqUvUdhxwf8GnrarMzMssA1HgfL/V/Lpawfz3utG2juurwvR/auK3tDgK2t2XhN57u2JSbe3FnxVnHUNJl67B5xsnHhsfV6p62SGFmaCMoulnU+y2flP6ILLczxvGzY4hgPXIHV49sutwGi3hICjPnx/wBWOqy8f8h6rsaqqN89vZXC7y7W3lUVG4t85WE46npKrNZSYSS0UIaVRBj8RSxw01MgDLHTwp6ifUccfcHkjc9x5nnv9nleSxYDTXPcP9Q8hwr1mb7c7vtG28o2e2X6CK6RSCP2fs/2elrTdlbFrquKokxuNMcTVcnkjkxUbakhcQoUWsBf9QIHIJ9g6HkXm1rWSW6VhM2FYEAkYpwP+x0PhvvLwmpVTGBmn+Dp0j3vsgvFTx4SjMbxxo7NPi7eKyiQASVQeJtR+gHPtj/W934SCR0mYLggt8Q8hx7aGmR6cevPvfLj6lVlQEfnXpzXeuxZKpxJt6laNADHLCMQ7p5GKExLJW6ANA0ksCR+Bc+3H5H5oa58ZkmjSNNNK1NSQR58AOn/AN/8qG3WJpE8QCpOP83XCm3jtcVrRLtL7uDWltFPiBEdSsA7j7241RsPqfqv09tPydzurjT4n0n4QMfLOQftr1Q71y0o1hwD5fPqNHndtyRxKdqTaqbz0QlNJi/VDSSvDBcJWm5enk/JNyP6ezC35S5w8VmaOSoPxA500GONR0kbmDlpl0gx6yfSn+SnXCXN7TM0CVG3ZoKlAFVJcdjiJopo11Sq6VWlbOpB5sx+g9rk5R5vspXdlc6xRTXND6GtR/Lra73y8aENGqqKGnmf9X+x02it21NEXG2WN6hniD0VFI1kBVXLvU28Z06jfi3txOU+cHIiNYwpqa+fy4/t9eqjfOWgeKa6Yp1k8+2C0d9tzSPHM/k0Y+ikQRywPY6VqF5Lj6/7xa/tNc8l84BWml71ZhTAovnQCv7fPp1d75aA1VUKBkef+DqRQ0my3gjMmEvJU1EhkRqOiCxRpDpiLapdK65AFC29Gq3uk/LPOUeiFI3MWkn1INK+Z4eXyr07Bu/K9GbBkYCleA6jz4nY/ngM2KSlB8ilZaGkMZm9RV9KSlbKAAR+B7ah5P5zkjS4ZWS4LE5IIp5Clf8AY6s+6cq1GF+E1+ePX16y4/FbDM1HqxNBNHFM7SRxUUCpqQ6lUjyk+QMPSD71Ny1zwhaQrIzKp0hSQOFamhxn8um03fliaRQXUKBU1HpwGR9nTxPi9hs6K23aaPzQxq6PSpctqZpVEQkDao1kLEfT2XWfLPPNzBLc3Fu6FqkAEijAeeRUefrXp6bdOTzMXJjEhHmOOPLHHqQibIhpZ2XA0/krKypPrxqL4YIYo6egaO8h0t4oQ/8AqTq/qfaN+TPcBpLeV1cUB1srUI8hTurw8v29PJunK7BlJQMfQU/L16jvQbIp6JP9x1Os2gtaPEiSJmc6z5PUrmeQD6gW4t7ci5P55eRYyZjQkHNaA+YJOT+fVGv+V46nUlOPAdZ9ewWSH/cNTSuyyLOqY43Orxyftxqf2mR/qL3t7MZeVecLYlokkYEUDEnVX9vAen+Hplt05W1UiZDjzp1JqqvYTRwqm3vxQSXixk7sGhmqVDOuq7qVcah/qfZbFy/zzYXSrJHK1o1aFcmtSanPCn+bpxdz5YlXw5mRWGRTzH+rj1FFRsJzDG23o9Eiu8RbAVdhErIX0yKwEbGS5sbgi9h72Ng5zkmFwgkIKk0oagV48cH/ACcem2vOVpBRmTQDxqKf6qfz641dZsyOkXx4SqdkqoT+3t6qjUpFyZCwsSDYXtxpX2uflTnG6MDMrlVAIPDz8xXy8+qHcOVo30B00H9vUWlqtgzLIKjbeTM+kPpXBVSMupgFVVHENgAS17gG/P09uXPLHOczCFondDQ0NRUfJq4pSvVbfcOVY2YCRSS2K0P7OsqVOxoY1Y7ayV4jWTyrDtyukRnEkMSWBTxvdFvqJ5J+l/dpeXudzL4FvGVJHcRWn+GvW/3ty2C4eVGbVgeo+2nXGTK7DMUccm3cxDJJFDpb+7eRVwA/kUSwtGVI1SWsvBY8+6Hlfna1VJkileVAaFSQF/n5/wCfrRvuVJJPpZJYg3GppWvp1xk3FtVaoVtHtPI/w2GuipRC+AywqVU+MPV037OhYadz9NXqW9h7XNy7zfPZC7lWb6qQV4fCONBQ+oz5nrUN/wAvRzmMtEYQcken+qnHpwmz+woWrqdNuV5gqImYvFt3ICCmldG0uAI2KsHNzzz9faC02Pms6HijnEpqe0EDz+Y+09WkveVWD6WjAP2eXWJc5sWrVJJdu5FhJFEJiNqZYNIZ4wzhNEWlUYkk/m49qRsHO0sjrLHLQL8VT61NMgVp/n6Sm75YKiQPGGOMU40oOuNVnNhweZoNsZR5xBFJIse0ssSskQQFSn2/rm0A2I44/wAD7X3Oy843yRxhXqvmaitBioqKn59OC+5aUvIChouQaceoq7r2FFOW/utXqZWRtTbVyzhpCrMbuIFH7xYA2Ngf8PbY2Hm+QBTHIsh7WOo1r/RzgcPQdJ/E5ckNdUdWFQcDj9vp0F3yY3Ng8n8f+6I9i7WnqN6vsaKTbmNTbFelVkcvDkqEyUtJGYVknnko1YftNcC5v7Gntntu7rz9YfvrXHYLKBKXrRRXjXIP8x0CfcOHapOVNxjsSsm4eCdCrSrHjg/6qdUE7w6oq954GgXf2wd37frJ6aWfFV+RoJMfuDGDU4mFDDWmL+JUIqQVZHBSTTe6NZvea1tzVHy5ujR2sqPE7VKjg38sceOKft6wm3LlFt625RuETo5BCMfiBFP5H08+iK9gdQ7v67nWfK42oqMBMyii3DTQOaCZZIxJGlWUMv8ADatkaxikYAkHSSOfcxbHzTtW/wAdLV9NyMGNsN9orTUPsr8+oQ5g5S3LYJ/8YTXZng44f7alaf4Og+xWcyu3slTZXD11VjchSzCWCqopzTTqRJq0F0PqBI/S4ZD+Rb2eXFtBdQmG4UMh9RX9n+cZ6D8FxLbvqgbST5DFc+dP8vV1fwI/mL1OwTmtmdm1Tpjc89ITumniDrSVVMHCT56hhZqilxgH+crYEkhhZgZBGpv7ijmXkiRJjf7YWZVXEZzmpOG/ycRTz6Hm07ut5GkVwVEoxUHz8senz4evW7h/LM31Qdh7gp9y46uo8pSVmBqq6jnoaynq6WalkoapTV0tbTtLDVoRMBdCQD7x/wByimG6E3QKzA0KcPz6G0KVt3TVUAAGnD/V8x1dnVZWkxisauoWBlIjdWcElUA0XAKjkEC55H49vxzLbjUhojeRAr0miQlDTJH+rj001G9cYiBkrYRqBSzFF+p/SSX9Ojn6c+/SbgixlUIr8+HW/pbhmWQAha8CemWbe+HXUgqllDldTF4yHfgaIgrH0qR+OL+2TfpEFD5DcOnRanyNDitB9v5dQ5N+Y5UXQblSPX4pCAnIINhpYK/19vi/06ZFDauA62NuZiGJBYf6qfs6gnf1HUJJEzsjWlcMYyoIewCXIsC4HB+lh7YkvCzOsgYuF8wePkOnxYMrAkAA/Z03VG8qPxWmq6KmB9SJV1NPTAhfQ01ppUYxn8vwB7KmN00Z8NHMgpih8/y6fMdKmmB50wP8nSRre5euttkyZrsHYmJjsZBHkN77XomLLw0Wmpy0LWCmxuTYH6e3baG+Ktqicup8h+zrzQB04HUf8Hp0HWZ+aXxl20aifP8Af3R+CMcTTmbI9p7KhNPTqBaaSODL1E6gE2Hp5PtZHDfOwlFvIv2inWzt0jcGLD/Vx6DTM/zNfg/joQ1f8rejjJMikrDvSjrZ/GqlhOFo4ahvEVHJtpP9b+3zBuXGSM6jwr/s9NPtY4Rhg2k8an08ug5yX83P4A4zmp+TOyaz9mSo0YGj3RuGWSKFQzTQxY3AytOGLWGg/wC8e9Lt+6SXH9lRzQCp4V9PLHTg26TQtdRqTTH+r/Z6DCv/AJ1/wKpYbxdmb3zE8jzSQ0+K6m3tPPUQoG/djFTQ0cf27aDpBbVwTb27Ny3vKynxOPmCQR+2v+Dp4WjKQgUls0+0fZ/lwD0jMn/PR+FVFC09FTd15t7N4aWm62lpamoZUJm8MddmKfUNKlWBsSbe1Kcq7kGp4kapQVpmlfP16rFYyMpaRG1Emo/PoOqn/hQN8bYhTwYnpz5B5uaaKeaJf4Ps7F/toSAsT1u5WN4gDrIDBLer6+3n5Tum7vqFA4ZBr+WOrxwu8nhpF38B+2n2dMWP/wCFDHVByWPC/G/tUY+spJ546yr3hsgT+Gk8oIagp0qXaWWXSvpcKrH68H2sh5QK2/iPcoJQvAg+XnWn59UktJ3dECUXVn9v29a9PyL7Gz/yv+RnevyPw+0srRY3ubtTPbxocPM8ctbg6KTG4XCUO3qqpKxJVVeIx+KhjlaJREZQxS62Psh5m3faNruo7HcJf1Y1BFK5rXifPj6/b1LvJmxXrcvQW9gviQRtpr/Srmvnnj0Dbda7+dnddq5GVl0sGZI1svj1o5Uyi7FCQT9T9fz7Izzdy81ssTTFUI+dehY3LG8wymdYKEgV+XUqXrnfDaGba1ZIxMTPHGyxyr5rR06kByY5QFIP1tb/ABv7efmzYfDoslJdNKjjw4/nTq78t74VB8Emhrwp+zptl6034lRM391sg4jMcbSu8TkyTIxRlJf1M5Q+r6i3+PtiLnHZ57IMso+oX1HGn5YI9etLyru8czAxHw8VJPkR/qHXCo623zJTEx7dq2YkEF1hj0CysqKvk9IlaQE3JF+bfX3Wy532Es6PIfHrU4PD5VHl59ONy1uZBCxVWny4U+f+TpL1PWO/Kdpp5ts5MIhMrKixyxppJbUAHJeUIp1c8AW/p73cc5bM9IllFWbzBwP2f4eiu45V3RVDIrDHUzrb4XfJXursLb/W3XmwKav3X2Dkq+l2pSZXc2G29RVU1NQVmXlSqymRmalx3ioKOWU+QgM66fqR7OrDn/lXxlgWd3J7aBThqfOgrj1GOgdu/L26bfay7hcoRbIRVx5V4cPOvyr1ug/ynvj32x8QvhJtzpPvbAYrbnZOP7W7l3bPicLuPE7rooMPvPclFksFVDNYeSajc1NHTuXjDF4zwwBPsq5r3Sy3jcVubFmMIgiQkjSdSrRhSrY9DXI/Z0AI7aaBpZ3APiSYANceXlxIp5cajPVz1HLGyB9UiFbayDpAAtyGuAwIH1/HtPAihO1xx/kf8vRLKiIgIrxocdPiwwTWZiF1Acm7B0A4DEA3Yt+fp7WxxRAVGSfPz/P5dJXErkBTWL/VUfl/xfXT4+KwsihiGZbAeo82J0XBOk88/wCt7bljqhRQOGBTpVC1ePmemOqxXlZVjQPJewMKEygsCCSObop/Vf6/149lfhMyhEHbX8+HSmiggt5/6vs69TYLJeIxSyLHEGBVqiUJKkfp1IJCVdEktewPF7e3VtHc4I8Mcc/5+vGaOMkA1rwxj+XRa/m3sbA7l+Fny82zW7jpds0+U+N/cAq8vBBHkZqGKg2fkMrNLFTzSwrUyzCg8QVpALuD+LezTaBaDdoqcS2kAV4n/V/s9ItwuZHhVYlOpZUNaUFBx/LPXzRcZnoKyixM1XjchGIcBCKcNLReR/uKVJdEreUvC0Qm0gJqZwObX9zZPHAkTRSHOkUoAan51Fafb+zoRtI8mWI1Ef6h0Yf+X30PvP56fKeP4k7BOB2FurbGxOyewqzfO7v4pmdn0m3dmU2LkIGOwUcWdkmy2R3DT0quDaKRwbMAVGt5jXaOXjzDJIrwalGkA1q2qgOPLSf2joNHmNYL8beY5HJNKggA5UDia8WH7D1eA/8AwnO+WGK/h01D8gfjFkIcU1bNGMjRdq4KSomqfuglOiSYWvih8QqFXyszagSSPcaXHO9uVZoom+XrXzrjhxpSlPn0Jk3BKsTC61NKVB+YyD5/LpLVf8h35lYKTHpBvX4xZ1MfLV5EpQdi7uoxNXVDzN9skFdsEKH/AHv1sQi/19tf1stWK6FYvStfP5jhSn/F9GUe923as0TiSo4DHzP/ABfSVk/kv/OXHNRa9tdKZXwV1Vki8PeOKiSBHaRo6WniyO3KGRqyMNdGCiO/9q3un9ZLRqSNUA/4fTh/xfn0bQbtt4YsxORThXH+rz6JD8lPjP2T8PM91/t35D47BbIyW/5srvjbq4PdmM35BkcLg83R4nJ1NVU7diVMUIclLHCIpQWb1MNQB9nm1M+6oJbbSVDcCc1+009MdUj3va3lMYZlUeZGP9mnr0Vd+x+sDlKzA029MP8AxigzOLzlTjZkr45aLFVQxIFdOr0gpjTuwZ1KsWUlSygkezUbPuKW4vbhSLRnIBzQkeQ+fTkW7bZPK1tDKrToKkVHDyPy4H9nTum4tmTU+Qhh3lhCsmWSX05SCN3pmEZtGk5jIEQgAcXHB+lre0zwTiirlRwHp/n6UrNCyAkig/1f6q9TqvObNnXcpO8trgl6VDE24sJHqjf7ogQLNWRLK5MwLfj6AEe7+BcyzLEsTBD5/kf8PSgNYNCrCRdYpU+fTtJPi5pM2YMzg6rw0KNFFTZnFSrPrbImCENBWubq01gR9CFFjf2huFuYEYOrH5fMVp/s9XWe3KrECrVJNfTGPy9en96Sad6mJZqNz/CqORys0LoitV48+BGimctFpOtnbgIxsfadTLOw1RuJFAPyr8v59Ou8Dx6kZSQMgHy/1fnTqCuNyT0yjxNdMBj3hEMN0gc0+EDRB1LzNEbjSebsr6jxwvM6TEPLG2BRga5NOkaqJFaFfiJ4/aPn/k6Zslj8nFHl1mingSDbNRIrS0ki+IPQ50mRVRRpZrKQtrm3FvdlmtUOplYEimOA9OqmFNJikPctMA8emOtilmzGBWqo4opYts5JVjeIGy/x942kJYN65ZIdZB4Oqx59hbmjSsCINZGsk1JI4fLy+3HQy5Utf1JKECMrXFD+X2/z6Wm36CImYGniEshMCP4VCsBHcaVMZYDxoSRYC4P+t7Bl06CALF8VMjgTw8+pHs0kJYFQQeHy9T/g6WtBjaaJQwoKV3SBUu8KgaTHpH6VPiYAnleeOfaRnVwHkr2jhXgPyx0ZxKkS0Uf7J9c9PUWPx808nkhpHlUQLD5Y0Kh2AkkY6AbqFB/P6hz7TyTN4a/TkMteOa/n/s9ONGsvxUDnhw6hTY6hMt1pKVRGTLG7wxre5DBdIF5BITyRz/T2tku6zhHFW0cT8ukEtvEpACitf2/6vn1n/h0DeGKOmpo14YlYo1VXZypZmAveQqfzwD/X2ktXeZmMikxD4eIp61GDWtaUxTJ6eEfjoApoBkAU8v8AJ1Cnx0EccjLTRlhoZmEa/qsqMCighEa9iACDfj2pguHgdzEoZS3dUnhQU/1cOmpLXUh1ACT0AGOmqmx8WqVAkeo/t6ggOn6NpjD8ohA/2Nv6+zF7mOZVmFRxpjzHCny6SW1qxd4yRQgA18h1Pjx1IwQpGjBG1SB1BQqPQVVCQpWMmxFzwf8AX9lLXPjSUlB144jB+ynR7FZRLQxgEf5vTrAMRTpKshiRvKQW1u1wwbSQq6ivjEa6j+R+AR7012AhhJqF8uln0yx0byYgEU/n/n8+ml8bBFMVSKItrjUOwZW8chJBKo9jrRQ3Nvrce7Q3jhPqa11CmadaeFYZwh0gYIFPLy6lHHFa+m1xXhkjaFZQZRYSRAq7Fn0F0dT9ORck/j2j8X6iN49RLpWlK0yMfz9On3iTWBoAqfMCn5dQJMZEJHikaUllmETRyyO3kMbhI/HqUp6V5b9R+twPd4bq5WNbONiJeJJHl6VPl0w1ohlDMKGjHhx+fUeqpFE1FdHZ0/CSz61UxxxI5vKqmVjdiVNuLE+zGOdoo3QAlWHr64x0llt1eRWFKg1FQP8AN1NrIPJpMc0yxS+RfU0/lIf/ADgPrYMoAJU8ALxzcey5luVd1pUip8zjH+rPSuXwddQP0ic4Fft64vRFWOhqgpojc3q6gFHIP6yJAYwTawBuD9Pa2EA2njqTqrSmcU9ft6R3CoHKR1KE8aCtOslJj2/iAmDT6VguyeeVGP8AqBpMttSW9JNyb8+3DOiW5Rx3VIJ4kV+2uek4tmecuvAA+Q/L/Vx6e6anAkv5p1byPJfzz6rB1ZSzlwo4BW3B/wB590j0CJIHrrSpr8vnTp6OIs1cFf8AV59KCmoo1McPmkUWkkRXqp1tIWUDSFkOhFQWNjwT7ZT43uk0eFpINDn5/kerLDGZNDAY8gPn/m6lyxlneQ+WyIi6neodC3KoWCSaVkVD6b2Fzz7QRyFdJev05wpBHmfP5eRB/wAHSi5hhPxKBQYwPM/y6iSQ6YLhpnmvYHy1JBBuFVneZWLKgub8AAW9mSy3AYKXBJ/Og/zdFrJCI8qAwGPX7a9cqLU4lVZpnkhfUNVTPz42BKq/mAWM/Q/Vub+3JJPClOoLRsY4Z+fTVssUgXVXX60406y1UDmZHeWTTJE6srVlW/jkVo5eQagtbyPf6j1D6WHu0Zco0btSMgg8af6vs63LbRSzBiqlx54r9vTpQfc6KgtJVKqCJTG1dVrG3lYFJ/IJtCs6+o2Fx/T2nkZYoltwWzjia/L5fs/PpRGgNaAU4Yp5dOKg+Rl1yrGGN9FZVel5EDKqlpmKrIASD/X362dqCUDw9II/L1680aUFFHH0HU9JZdKBampPLHxJPUkgqFBLETaX9LfT8tzx7ojh3YlmIpWlT+3P+DqmiEt3INf2Y/1fZ1Np/uJFZGqqjS1ppQa6p1RFWLKiN5RaMqSbc8n+nvazSgo8lPDSp9fLp+JRJqpQOQeIHp8/5efXEmRoopDU1IBL6kjmqHsD6De8l4zcA/gAD2na6VZTpxIfP1B+Xr1sQrpBYDQMeXHpvqWkjlikaczeCJ0KNV1CMh8shUogkP8Ak7q/Lf149m1vcgOzMKyFainl8z0gnWmTQxjB/wA3RE/l7VSB+uaZcnkKRpKLdcyfZZeuojLH93jaaTS8D+Wdad/oBwhb/H3JfIkCypPdTopJZe51DBTnGQaA/wA/PqIufKqbdYZAoZWOkfb5f5OiN1MMFSlVQVOV3HVUNXCKeqoKncWUnpaqnnBulTSu7RVSWBupUgEi3PPuRBd3NnKZY0hWYYDqqhscKEUNP9R6ia6t4pnaKbU8LKaq2eJz+Xn/AIOi/bx6aVvNkdkeWRoizzbZqpTNVWu5viatuKqyWPgkOsm+lm4X3IG0c4o6pBuw0O3B/L5VHlX1p+Xn1GO+8hNGGvNoIfTloz6V/DX/AAHoCYTVUFQF/wApoKylnK8+SmqqOojb6MPRNDKrjm9j7G9UlSoo8bD5EEdR0qzW8mlg0coPmCCD/h/1U6vq/k9/PH5L9AZ/dVF1ZvWmx1JgJMHlKja+fwlFuXZW5aSvesTK4zJ4SsC1GHqa9KQ66zFVFFM7OWZWYajDXuVse3DwLzSRMxIqoFSBSgr+eCc/PqXvbxm3gXFndmgjC54VBrX8/s/Z1c/2X/Nm+dnbeSir4d+7M6uosjk5KKlwmwevMAafH08cwibx1O5ptw5PJSNJazvILAcD1cRf9BZMTqQ6QtRU/wCHNfLh+zqTrbYtvhj8Eaqep+3oBav59fOPKl5Zvk3vGmWbIy46OlxeC2TQQpHPFSr5KZ6fbv8AnlNReMtcRsrDkn3tRtk6qYbcMKevGnE8a9NrtFu7PGScMAD69B3lflp8xquLJR1Xym7slWky8MDRw7mhoPJTuszOsn8OxVHLDERBq1IyodVwBf2uK2KN3wLUqKVGQf2dXOzRACOmAR55I9T0g91dtd9Z9M5Hne/u9MxHSVVM0STdpbvVVXyVNndaPJUkcsCeAakI1k/j25C9uwjAhSoYZp/Phx9PTp8bXaRgoAcDpGZfcG93qM6ansvs+valo6CqiL9i70Dn7manWVYZXzt6aEpIVMbWLAgj68auZIEcMIwQ76QSAaYPW0s7dSVK17a+R/Z01ZCnrcnJmFqMtunIyR7WxlfM2T3duac+d/4VIPuFqcrLNTxS/ct4wl9R+o91rNoA7ct5KPlxPGnpnrZtonZgFpF4dSPX0/Z01y7VwTzVxrMRRTyx7Npsq0mTiNfNFMsSsss7VJlM8TEWAj9fClr6vdnZkVySBJUA0p+XTlvHAjDTGukpXOfl/q8vXrybYwEdVTtFgMJHKdmVOSsmLpGmsI6j91nWBfPFcgogNxxb6+2XeYxGaV6yaqAA4p6+vTqxwE1RRgHgP21/1U6nQUWOWXFhqWnR6jZeWnESUUTM+iLIFK6CUCP/AChFUFac8gAfk+7I+oSI5ZpMUyT6+p6oPDLrhRI6mmPTj/qPXGhp7ybXiRYiZts5+QkKF8kqfxoCujGsRPWExqVhvdApsPx7qZGC6kJoppk1I/n02qUCFAK0P2dRMdCo/urI0cDSfwfORMXhKJPKv3YDPcao8qzgWB/pYf19vW84kYq1SStSScYPH8+vDVGviADUDn1yfLpko2Bn2k7wOkseIzcLIYXLIzNNeGqVALvp9JlsdII591eOYXFIFNGGT/g49JjNql1sPgNMnyrx+3/Uemmg1E7Zk0KrCjz1xCxJgstQEelIB0UwYcoSSRcMPasTmGJVuQwINK/af9X5dI5XOHZgAWwAMjOD9nn05YSlWQ7TiLgl8ZuGRi8eoBSlT69PqZWWSMFQNQVv9f3eeWJZfDcEWxXJIPSqKFaKY/j1YrnB8z/PB6C6gyGQFPTPR7i3DSRRyS3goMvVU0UE8kk4e0EUojjq5P1SDhyR9Pp7C++7dtFxdCe7t1lJCAFlUmhr6j5cB0K+WNz3Pb7LwoZdEYlJ9OP+QdZY89nkDEby3qpPiRW/vHk1YAjQin91iNAA5J4Fhx7KJ9h2SaUGK2iCgCtY0NTnAxXo+h5l306j9Q0j1Ar5fZ08y5bccMitT7x3jqIgUlty5JZGEUWlR6XD2V2J1f4f09p12LZKF5IIjT8OheJ9MeXl0vm5i3oTxKLhy3oT8vTqMMtuQu4O794g69Qn/vJXqhaM3W/je7MBKV/1ufdhsOzxOohs4ljpU9qZ+3H+z1qDft9OvxZyKN55r/q/2eo01Rkk8aHde9Yzdbj+82TsRGy6zJ+5Irsy86j9P6/0dttm2yeQ/wCLQKKkH9NOFOAOn+XSi43q/ZAPGcCnkc1p8+mCuyGWk88Mm6N5vEqLpRNz5WxRDZtQWTTp0j1k+m50293ttr2tXeOW2gEynt/TjNR/vJ/2Oim43vdCf7eTTTGflnrBsLuXtzrXduE3/s3s7eeM3dtXN1eT2/lX3BkshLja+1Vj4pxTTzNBKRRVDLZgQLg/4ezSPZ9lnlaE2kEc1AaqiAlhQ1BpX1BPHj5dBy63HdbyCS1mlLW8hqQSfLhUDHW63/Kt767c+SPwd2D213pvRt8dj5XsDuDa2U3PNjcdichlsFsneBw23IqmlxFPR0bT0dCDHJP41knIGssefYW5lsrCx3M29pEVTwImOa9zLUnFBx4eg41OegHJL4csgUhiJSPOgp/l+fVycGTjp1JWuqalv0hKSjUyK/0C66loo0iuODyBb2U5eQmBR4Z8vs/wdEwjCnuyKdOCbnrYYleGnMUIYqaitdLM5I4SOmhJI5/DfX3VJbiFQGNC3+TrzwwtQ50/yJ9epMe6cr6iVghQBBEY4UaVG5JZBIW/I+jjn/X93jvLiukgFfXpt44y9RXWMn5/ZTrqTLZt3Q/c1EkEqr+5AIkZFewMjRr4/GUb9angDkH3dXl8TvYhT/m/wdUk0yqKU/P7OuP3HkaNaqpmd5oxJDrMoSVCdOmLkFHUi7L/AKkhhcG3tpzB4pCFzX0wOlOSgFMgZ6JB/M73b/cf+XT8183T/sVa9AbuwlDNGhMrVe55sZteGMM76C0rZYrxzbi3s15Zg8Xe4SCQgfiaY6SSkO8cLkZlB+0AE/4aY6+d1DQkSwRQRKYadooATrYRpH44rlZLPwg44NiPqbe5h8OJpmld9QUGmcZp+R6Po6OxcChBI/MefWw7/wAJmOmYcj8gvmN30tOTJtjp7r3qLG5NQYp0zHYu/stvDOPHKyhkaowWyqZZBxdGUX5HsPc+bko5Yh2iHVSSbWx9KAAD0px/Mj06BqxE7r4y6S6lqg/0fMfZUdbdldgYmmtJVZOQjUzOJqdmXWrMtjIhc+pDe36bWPuHkt6RFjUjoSLK2muKUp00z4qhpYtBmrGk0+vXIgJJJA0ek8kjkc2Hu7RlF1ef+r/VTq5lGkNTAA9T0xTUuLUnVVSK5AAAWKTk3sxIGtQLAWH1+vvao+kMy1Hl6dWZ2AAioG/L1xT/AFcetPH/AIUJ7pSt+Y3WOzvKJYdi/Gva8wBkVkWr37vLdO4pTxZVLwUsJIIP0Fzx7lbkiMJbllBqzjPljPRa8pLNLKKEnj6+XDrWi2pKuS373BndRZGr8PtWlM+kHx42nYkfuaXsWpYxp45/FvcocwFksbGxoMhnb8zg/wAj0n5bgWW8ubxCaa1SlMYFa19Ksf2dK6WYhtJESr6o3aw0FZCAzFreqXSoseAbfW3PsNwWofUIj3A1xkV/n0MgCpUNiM/6s9BBuGOGXIkeCOdI2MSs6wst73uVLhbAg/pBBJsfp7P7ZtMQVSysB8/z6ZTAYKKRkj/LjpWYylhgCRwwQxWT6CGNBfQoZkBBBZbghQPryAL+yy5V5W0kkg5rn9nTqVSrrXVSlflTh1yWN4pXmDyREllTxSNDwugqoKSKJYo1AuhNje9ifbzCYJp0gsR6A9JApEuurBvt446zUlZknWQjJ10P7CIq0+SrqVwsbSO0VoqgBUBUgj06P6fj3qdYYpglxGoFK/CDXAoPt/l09GXJK62ycZPTlHmM7D5Yxns/HD4fCiy5fIEiJtSPFIzVLCWBQzahaxB5AB9oJltGbVEq6fTSP2YHVqVemp9Vckt8vX7ejIfH2syWYk3KcjWZDJvQtj6eCSsrpaualhkiqpmhgmnlfxQio9T29Oo3/wAPYE52ZYPBeELpZSacCfy6kvkGN2e4DmpFKZ/w9G9w0SrHrBBMjSN5CzkMzBla4sFDvIulbgaW/Bv7jyZVe0aYUM5qanyHDqVbfxUJUcBj7CPT7elfRRA08cjOAmlS4Op5dTeMGOMKqlgHjPFwBe3PsmS2lUCTUATWp44PRrAzNCB8+nBku1Y0Z8bGUMSmqQxlFUaSbANG4Ym1+Rxf8e3oYWtrcUIJzw+3z6dJKg0+IddyMHkVvCxjCLqkshbghvSzWOo2FwACB/t/dZ5gI1EyBiT+E8Pn606TsWeULSqUyfP8vt65urEjj1tIlkCqIm1sGQN6QoMpW9zYcW9q9Pit4KEqFGG4Anj/AD4dXlYKmoDy4D/P16dll84jX/dWsjiO06EAAvqZwVf6gXF7/wBOGUr+pqGdWPn6/Z1Yq1aFgCVHTJTUweqmA0NcRRlyS0iEMzhixVgX/pa11Ht8+C66EY1B4f5OmbaNg9GoR+Wc46cNIEZSIE2kVBZQuofVmIYJdAP6AE39lkjOXqVOnVj1B9fs9ejZQViK8GJH20PH/UOsU0UoZkVJWk1IRwselbhowbCw1WNuCebWt7a8JXkKVqWpqyBX0of83DpXIXEYVQSRTptqYxOpKKNTJpuUVGitfQQ5QKRCE9QJ9K/Tn23FavLKY2BECcanFfKny9fL8+mzJE5oorPT7QKDrFVLI5x7RmQrEaeTQoAMpVHViAx0hLp6vqbG9ve0NvDK8hasgFMYFPkOPljpx2eURhyaLwp9nWKSIxtLJIiBnnkcl01GEtqF4WAjsqBvoosSP9f25JLJLEs0BJBwQceVDn5evVHlZZdc2TSn2f6vPqJUUiJoZ2GvwQIkANpvLImoMZLtHonV7WBNiCBwfftM6io1CMEA/INg8f5HpPJpL1Vq1/l06GnRYIVQRqTJTO5A1u3o0P6m0hyit+PpY39svcTeJJBGWMjmpNcEACtOnTJoiAWmoD+fXCSniDOknk1CN/HYlgWXSySEBXYgIQbi1m4Ps3tmuFhddYKjHlX8/n9nSORVZ6gEYP8As9SKGljNUzySMjaASUjIY6CpCufqxUn63sP8R7qyv4WmOhOqrV454nrUYStcgZ/b1PjhUNKxR0MUgs9wz69TjVaxJhKG/A4BN/x7TvF4La0LamJofIetetoM5Xt/1flTpSUNMDUvGIwqJEDGRKQCZWDXOgD0GRRZrA8iw59sqstuojBXS9SafP8Az/5ejC2jWViyAeImR6f6h/PrJLEn24u5A1aWcxSLYkMNMa3uhvwxIuT9PbaKtvSKUl0duBwBX/V69NSsS3hkgqePzI/n00ZCNVdo1SSEAI0iML3IJRGuTdwEHI4Cn8nj2a2VrD4bzoCsnwgE/t6JbmZjJ4LKPC9euNCjxTlWQ3bxIUbSzBjZXayjQHH+F7cD6+7BIpo9T0KA18+I8urW7Mjak9RxGf8AV/h6camCPTNq1atD8omtjGhV1KABVdy5P6iWP6rWHuqzH+2gIZRj1p6/t8urTRSU1MDWoJp/k6caCJ3hld0bUD5ijWQaF+pkF9Vg4+nFz9OLe2rh2ldTpCy0wf8AVjP8un7YxLqMZo/Gn/F/z+fTt4aYRB0ZvKqJJODKAo9F1ZwfTIxvb62A+vtNHQVmunrggjyxw6fZUKalrr40pwr+XXGKSNUbWzMFUK2kKAFDqQvlW5QBCSWXmw5+nv0zGgLBijDAUY4YqRw6olKEkH7fn1IiaMM2hNanWga6hmVLujsSmpI5itlb+nttpkMCBFIYVFPy9fOvXkjNKsR/n6yRsGjKrdvDUNaZ2KqQ12Y6gpOhA1muLE2+g9pdRkXxAoBU0r51+zqxDox7ez0PA46iSxhJJnlESqU9L6b/AFYOVZSbpqIBPJ/PA9iC1eVLbRUAmoqRkfaei6ZFZmwaEE/Z1WR89citDujoYwy6Ukp9/QVIhATXBWZLExlmQ2DqkoUm/AA/r7nP2tt3u9o3OOYaowsRRvIMNf8Akp1jX7z7iu37xtEiM2pqrjzUsOOKUB8/Lopx9FRNGCxdIIlTQCUUiyuzPKfXGqt/XV9R/j7PiMAvSoYhj50r5Aef5U6KVVXmPijvK0FP8P2depSiOxeU8lETQqxqxCsJQoYhyikghm/xtf367LPRIqFB5+npX/B05awCE63NWzj1HST3VsfDbuhqqqqhalyUEEklPk6VNFW6QQvIiVSMBHW06KuklzqVf0uLW9n+1b7f7aI4YzrjJoyscUPmD5ev+EdBXmHlmy3dWmYeHMFJDDiKHFfWv7M9DJ/Lkmp13X2FG1bHBLXUG2aOjBm8DVFTK+ZjSlAJVRLUSKApLDkjnn2r9yzOLS0WJasZD/k6Dvthi4uWqDH2VNM4qOH+qvVo5GOwNDQZjN5HF4bDbY3DKM/VZDK0cUOCibJQRTPUt5nnakLzhWdVYBGBDEj3F8lozzAqja3IGn+l8vt6mODSBVmDANUegXzr0gh3X0rSYySN+xduM8m44auDwU2ZqT9jHDjg1XMKfHN9vSK9OwQ6hqZb2IvdJFt97HJ4bQusVTwBrX9n+DpbHNaMjKjKz1BBHlT19K9Jes+QnSdTJmlo93VlbWVudjFJHQ7XzzloovuzLk2eoo6SOSiOtGQH1nWRpsPZiu130TC4kHaAR5cDw4nj8uPSQzQyXEjxfAaAfaOP5dNW5vkf1hi5qmkaTdFTNvHLxUeCjp9vSpTST0EFXWVddU1FbW0/2bpTyK6R6WZ2axAAJ92t9pvr63leEjRAAzjHAmgp5n5+n59Fl/utvt8qRXGrxLhtKemASQTwGAfMV4ceoeY+QGzGfcksOH3FVNkKfHxUgqKTGRirWGeJ5KquiFXO1M6ktoCh2Clb/pB93fapEWJo21vk08hg8et/WI7nwxpAWmTkjpJ9hfLHCdf4+ozq7G3HmYcvSUG16SZM1haWqpKqGmoZXr68vQV8U6zLi5TCgs8ZYG49mWz8tHfYjCJxEygufPNeGK+fRXvG/nZYhciJpI2ISgpiorUkkY/bx4U6E6Tt3yUX3lPgjFFU7ShoKRZcoGaJpaOmY5KndaOQiSoS90YsLWtpKn2Ty7bCsjLIx0V/aR5/n0/bb+0+jQmkOvH8sj8ukzT9s5KacGPF42OJdsyYCOMVlSDC7+VJsvCSq+KsKyOdKnRZha5A9l9EeZ2ZW8EV7hw/Z/h6NoX1Tai5WMx0p8/y9essXZeYmNGUpsXalw1VgzZJ2jeGpWoWoyGkTxpT5d1mezxlFANyPyG6SQsSGWgFfy/1eXl0pSzWRoyjV01H7ePTXUb/ANwUs+Ojp5cdGmKpqvEQ6qSOcz02Rkl8zTFnaN6kvWMVmuHCkXJtyot/Ee0Mr6WhY6hQZ/2etTxrEyxxsQpbNM1+Y9Ps6xHfe44jBoroENBT1FNSmOlpQFp6sSfdp60ZWSUyel3u3FgRb2ymqoDaQGPcPlXy6UeGuo6vIf4P8vTVFufLvHTxjJzpHRRywUCRypEYI5jJ93HHJbyhJI5WDDVe30vwPepri4jujFG+paYpkU9K+o6ZS2t5l1aSSfX7egB7Zzm6myFNDQbnz+NpptuyrQJisrVY80smqenqhTTUjQtpqSq+b1MXLWPsb8vv4lqssqIzo2Q2a/aD1HnNUhtb9Y0qtsy+RNSRg0+z+XRmMDnslX7cwFVRVtbT0lZjcfWRQrK0MENTPRxSzODEXDTPUO4AB/NzYeyu8aNtQm+PxD9g+yvz6EFhd64UaOoVgMfn/l6baqNoZNUb1Mj1M1TkKjzSNUAVdVVESyQswDvTjghSQkZuE0jj2FdylcTx3DkOsagaacaE0PzP29C7a4hPbsDkq9T6/LpvgldXePU2hLqHAMgcyDUzyWOsLMpFmuFH59sSTFis1CrenECo8/8AVjpdCI3mEIIC04jyP28MdO71IvDKNMgtGhLLou+nxBVIuoFxYWP+Nz7ZQzMxjQAJTUWPmaeXS9wrTpJICNK0r+WP+L6i3XzyiOVmdG1/UkMXJVy1r3ZV9AW3NuB+PbcZnaNYVYOaZPy+dOHWoiI5+NY+HrXqHV1itIWjkkB8ShUiYK1nddP3MjsLgC9gv1tbi3Ln0xTuVqD09ft9OrSyu8pBxQCnpT7OmmWR1lksLKjmIMfUSDqDAL6gLgX1ckH8X496naRWRowhao48R/Ph0lWV9ZxRF4jz/L/L0hHnlXyAHyNLUOFcaIifHOwGuLShk1IAP7BuSefZiY01RyKf1l8/KvzPROxJLaMHV+XW49/JUycdN/Lp6xhabS47Q79ddcMwi/e7Hqy7FxGE1B0AF2C2H+PsN82IW3Pj+osMQNKH8A/w9AF5B9TKjeUjU/P1/wBnrYObNYenCeKEoralM89jGn0HIQDUTcFdRAP4v7CCMIgNPxYofQdJqOylWND1Hm1sxnlkqWIB0uhX/NPzbRDZRHbm2kW971yK9Se4D9lemNJoEkBJrx/I9eian1ahUiQll0N5PEY0fi2hiUU3/I+v490D048Rw+zpwjtJPxHz+XTh94yvBEE5LeMlDfSpBDvqH6tKISWuQSQDz7dkPiKHOSP8PTcapHgCg/2P8vWSpVa4rDUTNHJINMEhZoYndeIw8iArBKGQWJB9X5HvUqIHCnBA/n9v+rHTodvDqvE8fKnVTn88DctXtn+WT3Ri66oDVe9d6dL7CjaPX5WXKb/x+Wq401nVIhpME4PP0HJ9iTlKOSTdwP4RU1NAeqLoku4aJVqsa+lAM/nw60h8bC8VFWV8rIRQ0NbWPrc2YLSzSmcqAWt5FCm3AJsD7k66mjSVVA/Tbj9vQkRCltNODhM/lSv7etv3/hOTshdjfB/sfsaVI48j3N8it0yxF47pUbe6s2vt3Y1Fqk0/uwyZN68rxw17c+wfznNFPdpYxklIkrnhU5/ynz6AsIke6aQAmq1GMjUc19eHV9VVkoKoBdZo6o3MZC609bH0sOCIiBwQWF/9f3H8oCioJL1OqnDj/LoyjkbhLw6TGRpmkVi2h20oFAUaoTEr2kiW41A/kgXBHu8aSOpZqFW/yHiPl6dXMyL2kgn+Y+3oMsxU1dPFMzpFKVU6WMfqYgMT5ZAQxDfQE8qfz9B7Wxwso1S5U8B5fYfn1cSVSq4I4fl1o5fzqd7S7i/mG9zRyPGE2ntrp/YvgTS4jbAbCxeQngPHBSpzLMAOSx/1/cwcm2cQ25Xc0CuSB/q4joskmJUkNg8f9X+r16pl6zxavtXJV3lJrM9urcGUnii5nUCpakiWdHuIwiwyfUA+oWuPYk5ivle6jWldMao1PQgH+dT0KOW7J49qeUfHLJX58T5fL/B0pJcckkdkqbzKJP2xwpBIuFsxBA+hsLjm/shWWOF0ADAjj8yOjJonMY1HuHCnCnQd5bAuJ/uHmpw0RVl4RxGbj0xuhCJYLq+jXuP6H2aw7grMygHu4/n69NvHKIaqRQ0/Z04ojNCjKtpCiykO6ghQb+Y3kUEuSDp4sRf2y8cQkRWchnPlwzwz/q8+nIpQYiIlpQ8T5449RFWaoaUhtRjcABZQXEkQLiURE6VYc8XP1+nt5zNFMsQLFq4xj049F6zo5bWtBTj8/wDJ1xWnqoryebRaTyI7MLGVFv6yovpcEAkA/m5ufbk2l38Oc1en5U/z9VjcA6jWnn9nWCRZpndvKgUH16gQpZlCKiW9RkaQXNgLfn6+/N4SBUjQHGP8/wA+reKusGLKk19R+3z6NX8WKd4pd5LNUEsJ8FJElmYmQwVsblkQGzWIUAEt+efcb+4YaVba4BCRgMpxxqcD/D+3qS+QO57lRk9p+w+n+qvR3KCBUMpCRl1EkYMiekrIW0qDZbOGI4/Ux549xZLDIhEKmrGtB/EPQ+lepeixIUWmgD+f+fpXxU7CGmNw3iaPWCLEHU4HjYgh2OgWFwq/1+vsueR44ikJIWMHtpWlDmh6OY0qK8ZT5+X7OpMUOsOvkjs8zEPqCM6uyhFiVCQZAyG5Jt/X3W0kkctGHJTiK8QK8AP8vTjt4VUNK/L165+JtUlpC7NKq3VmFgXN0LFNKyFgSxH9kf0PupWZ5KTGgUnBx2g/zJ6TGVVy2ScY6xSRqWjWR+HT0i6xqpV2AQxkKCXY2ABsTY/X2pSSPxC0bdjU7f4fL+Z62p1EE+fHrJJB5ZZFkRvG0ahhPLqZrRXjLuq+jWLAEcXuBze9meahAAWWuK/6v59emjMlUNdPy6hQIqTgNTBiFhYOouUjVzqAZQNEVzybXuTa/u8twFtlkSjXMhAC0pn1PyHW4CoufhOsKM+RHWeRUUtPGiyvDIG0ldYUsTpRbkEx350kahfnj2ka3kuj41wwQ8APl/s9GZkiUG40hQD+zqBFWr5fHMUEZu2i99JMgCclbi+oC30b/C1vbxsXWJQ9GhBGk+XnxP8As9M214ok7jSJuI889edA8lRpVoTMFsEYAmwaGT0sCsgsRyLBiAPr7SBi1yWP9q3aBWgNOB6UGTRqVSBEy8fy69HRvJTRFtOqKRRqNldlViQfqHAs3HPNyPp7YIae7InQCWPtIrwU5rX/AAY6dKyy28aAlVoPL+XXGpgCSMFXTGT+6eNREgUKSoQaAAbgfT8+1cTsjMgA1Ailf4aCp+eP59Vn8MUjbFBQmma/5z1CkpU8dN42LELEFACEXXUNdiAlwLfgeof6/t+QM6MAwFaEZxUZ/Z0idUA7aiTgPl/s9OTqQsD+kC8YYMAVis0y+MBlXgg62FjYubGxHtMo8Qs6g64wD+Wa0px6UkNFRAO48a4+3qLOieQBVYRqmmRit2kAOtHDKfSF+hHF/wAge3JnWVSkGrUSK46SNJS4CNTQA1f5f6h1NpINci6TrQKoCPEWMZJuoYDUrBhb+gA+vv1xIiRiYFhmhAHpj8+tooZXZOAFafn050FMZTHGSPI0oZgoBYyrIwBV9OlJPHewFg39fx78xmjtVki/Ga0PHP8Al6dWPxmVJKhSaY/1Z6eUiEc851EQSIqkAeq8SPpC6iDZw5vbkfq/HsudLrSlXKuTwJriv8un0XwpWjWvEZ+fp1laO6pp8aSmaIhrrKrqSP3FZit5FZbm/AAvp9r47nUmsgKVFAeIJ4Y6Yki1P207fU0z/qx0ySAyVMlSQpdj4onEbMGCkgqgBIAVhe7GxPI9vLcSW9sjTEs7NRQB51/4ropkciUkLwwf9Xp1z8Ri8E4jjDoLvpWQ/uSW9eh2BLagSQP9hb3dVqBJN26fw/P069IzpINPmwr061sSMvlRg50OwUqqxafSyalNrt4/oL3v/T6+2YnjKGGN9Ls1eFK/L7elckLGVXJqlAa14H0PWWmgUMiHyFXR5GsRZruDYX1IRqY/X/e7+0rRuhoAxWtePCvkPkP5dOwr+oD5fZT/AA9Q3qUM8rvdZECsLWWO5OpIpNJ/KDg8WJvax9mccHiQqGBUaqjzr/nB6SyXAaYZwPT5eX+bqaZVeJZYSwkW4ZR6tEco1ggKwuEN+AbN+ffppTE6aaAVpQ8KfL59eLyshMee7h8v8/WUF1cEl3kQLHI+pWYoVaPSSNKhTr/N+Afp9fdWZaMYaAVx9p/y9OgmlG+LqTC6xJLG66zG7opZ2Zzr0uWVD6pDIh/I4J49spDaW2JcyasnODjJ9APXpwSmME+fEfL16YZa66zKq3CoFfXwxDMvoI+rBEFyv6rcm/s18KNe4MCTn5EYx0SvfpRgOGRwoft6qr/mKSSJlum5o3b9rG72EZYmRVLZTHPCY0sQQHUFj9f9f3kb7MxB9svkY0hZloPlnHWKX3hZCl7tpjUF0ViQD8xw/wAn+Xovm3Z4c1jKTJwSDTURwGVWtpiq4Eliq6e3qAAqwRbT+i35963S3ewvXtHrgmnzUkEH9n8+nNmvv3rtSXlvSgjGoHybFRX5GvSqp8SJdckzt+0qxk3RX1CMSxKj+sJGS1yASeAoPsv8UFStQPT0NTmv5dHYjYLWtCR5/bXrk2PBpaoOwI+1rYwB6Fu9JKfIL2dwwP45DH25azE3SqtdRZfzow6T3cVLNy1NJU9Jb4R0W5KqLtZNtZ/+C1NPDtGWWKangq6PIq0+cjSGtWRWdKePmxW3qYe5H5/aIRWqSEhmZqfkB/n6iL24kMUl4iEUqn8y3+bo2O6d9Vtfs/d21N2YdcZul8BUwK8SxNR5GlSsoZZHo5lYmKPxRmTQW4tx7jpUQOJQxYqRj8/8nUoNcPQIoIbzP+WnRaHojT07KZGDNKbeVmbxINRYiQauLNptfiwAFvfhJ4soJoMf8V0ttohBEdJzqBr8s16w4rFgV/nBKHW6gRtrRiRyZGUemElbgg6gxt9D7ca48NPCbKkZH+b5+vWkRmAlUAUela/zp5n+XWDfjqc91PCrOzfxzcFTIZWvEjR4GyGNVNrAHji59mnLMUzbfubyfC0SqB/th/sdBvm1wL/bYKHWJmYk8PgbPSmqKiQRylBNGzpANNzzEzxIfEVbWJPGNJuf8Pp7LUgkXskaj0PyB/Po0uNLgMvxCn2cOnTcW0I+waWm2k8qRfdZrGzxylPVEKOWaaYMCGuVoZJEW9/WD9b29u7bdnY21xKCVUgkGvxA0r60J/bjoo3i2S629xNWgow+1QKdCni5xSY8YuRpZP4YkmJkcIfpRyNSU0js0jMrSQxrckgMTY8e0UsDGM3UwxItSfzxjy8ukO3XXhxRylwaN6ZpSg+z066phpeMkPJfQmlHCyBRrDMyg8sVAAFmsOPYajKiNgEJWhJz6dSSkCMFYmkbDApwB/w9S6GSWITessiiRWYKFYKQDEPX+sEn9P1I/r7RkBkNKn/N0Z20YjmouSAa+VP9nqDPKWlku8gLSHkqWHkcjUqk8jTccEH82HFvZ3ajwoitf0hUkeWeFPmP59IJ9BuNQUkE/ljy+XUt53WN4ghCmWMkq3lMgC6/yL+gkEfRQRwPaOEvcNrCjsFK/Kvp9nTs2CSvn5fn1hglKxDkFXdwLELZ9Z0t4VQOsYW+o2IJ9+keO2nrEp1EYH59VRn4HoL+zUjp6LD5IlnWGsqsbplIAeOdVqLuFFyXkRtIA08nj2JeW7mOSaVWqRo4cKGvH7B59AnnO1XRBcOKMCw/bkH7Rx6HzqCWSu682xUxWmggo6vF6U/aENRj8jWUSSOOTCGhUL6bt9Lj+iPdopfGK1UVk1Zzk5GfsPSnZow9okx4COg+3/Vw+fT9vBYaZMTOJPR5qqEAIyO7IKSoT1qmoLdiAtydPNueCTdI2d0QAB+J9Kj/AFfl0LdukWNpGHE0HyOOg/NYY5wTq1KbrGhC+QAXsQBqlJW93/rwOfaeKCRolSUBpmoWHyz5/P8Al8+nHnBfTTux8upy5QuqeQmMAAQoUQC9mYufSCJkQg2vfn8e0b1WcxN/Yngo8vz6NY7iUkGalFFB5nHr+X2dcZMkrM0YkW0bt41QEMQAoDqyWDKkh9N+RfjmxFFha3jcw0Kscev5/b16J1ecuaMAeA+Y6hVlW5BIjI1aDNd7GJvTo8bBf86L6rcEf439uamMatTjg19eq3E1H/TwfPzp0zfcyCSq1qSgY6mXXqQE6VW/ADyA2uvLE8/4qTFbooJP67cfspj/AFenSZHYMzkaozj0NQP9X+HpFyVEgqJRGFWVayYEkSyLCIyFIZuXZVQfUnnn2uWAGMF8oR5f4eiwyAEgtpJOPOn29bgH8mrJrH/L76qH+a8m/O76nUhMb6JOxslpcosgfxsU9II02/r7DHMdkZN5PhsNWmMfZSNePUd3Uyw3k8hqFLV4elc/n/LrZFqqWCaJY1VGQj1KqCKVGsFDCJ10y8X4Fr/6/sA1bC6hQdLGJkOlRTplRKvFE6pWqKZfqD5W8Sm3paLmVCb/AFW9v6W97LVfSx4jqtdI0U8unuAU9XEXgSKsW1plQotREosTqQqNUS/ggc35A93wQNIwP59MyApjFPl050gx8bEsQJI+DHJIEKKgC+Ms3r8SH62vx7Voj/Ao7SQTnh0ypDGlcfLPUismpHLRgyMZQHCrpLyLdGcovNrgHn6/7f3ciMyUcAsWrx/w9UYOTggL1Ql/woW3e9D8Q+jdmeZy+9vknBW1MTlWlmoOvOvdxZ2OZQbMyxVeShDfi9r+xXyta0vXmQVAHH8uA6vZGT6/wWIKCM1/zjrTw3tWHEdeboy0TSJrxqYvUrFJYErMhAasluV0Ckhck3Nrn2PrUCS8jhmQks320+X50x0ZX8k8G0yeGxBag/2f9jrfc/lWdSVfVv8ALX+GG1MlJUY7PZfpPEdk7ghmRdT57tHJZHf1a0osriU02fgAI5YAfW3uPObbmM8x3P0/9mJSq+Y0rwHQetVmFn+phiSK14gUp+XHo9jUUyKY5KueIozE08sbkq6m4ZXHr08EjSdII5HsijVWBZwNbY/4r7elTRlgIzip4+Vf5ceo/wBjlZIyIawurSmySKwfVcjWQ36S4PBU+r2xJDrYIOyML/PqsigAnBkr5Yr/AKh01VG0s7lbJTSwCWR1pzHNIVHlc+MXuhaFrvf1Aix+vtxHkhTRKR4daD1p0nSPVVtTVHD04Vz189D+Y3nn3h/Me+VZqahGiPyfy+3Jkp50ki+x2jPg8FWJEQzGaOGkwMoAH9Dxb3PmzW6RbCqAUYxVHrXNK/y6LWlWO3EmDVvL5n/P1en2t/K67l350Z8cYeqvjz1JPktudfx5erbJ5zaey6jdUnY0NBu+XI7lzNNSzV89fRLV6IY6iKVog5UFPp7hzmCb94Xa263klsV/tGXJPHhlakfaOhvylv37ijkF1B9RC47BXAPn5Homsv8AJ2+d0UjiH4o9IVChkc+Duvb6ppKMkkbS1GFjkUkca7XuT7TvZmSONot5uQyjJ8MGtPUeKM/n0If6620ZKjbU7hwr+3y6xVn8oP5zqqL/ALJz05VMOHWHvLaEp8YXSfEr4tWWUr/Uf6/19tpb+E4nO93CkrkeGM/aPFx8qV6eXna1VPC/daEY8/PNc0PSbrP5QHz1VWdPg/1e8HJd27z6+iBhIYRqPuIopBpPqA4Fx7cijgjiDyb5eNIlOCef2eN/OvVRzpZtIRJtS6KClD5f7z0iZ/5R3zhp3Al+EuxZxGyMPsu6OvatzcArqaOSJCW0WuTcar3P4XRmeM+Id7uXSvDwwKV8q+KeHHh0mXmiymcq22KIScgngPX4f9R6TlV/Kj+cyyMzfAegdX0fbpT909Y3iKm7loxk01NKCFP1twfboBjjDy79MxY/778q/wDNTq68x7drOvbQw+R8qU/h+XTVL/Kz+cGOjdm/l5vVIFsTB2x1k8lx6bG+442sv4+rH6292h8aeTt3+QccFDw/3vp2Lmna1iJ/dQMXyzT7MfmekhkPi13n8cTS1Xcnxvyvx9j3k9RS7cnrty7Z3CN2VOFiinyFNTDb2VyMlMcVT1aNeYRhhKNN7GxXuSSVAl3M7lExONJXw/mKk16GvJm72m4zzS2lq1uVUVr6enTjjvEFtHrLErGG4Uq5nChwDcHSHsWB/wAfp7DFxauLnxa9obj5j/Y+fUo200Ri8QEAE5+3/IelZExMYRvrJqkcAFpNMRPjQhW9TMASG4sPzz7Roi+C/htqlMhrX+YPRsZ18IlTQjh69Z0SN6YyeoA1CBR41Dubs9pQti/JNwv+xv7d8JElMkdKkelM063p1xEsQSRUZzxznz/l1IieMyvpOtmYltHkVEYAWt/qFYvybFuP6e2ZYJHCPIygg0app25x/qp1tURgNIofmePTVPImt0CMXJVNA9ZMauyIWY6rc/RvyfdgsYQKtFhYAA/njPl/n6TSSSRyUwADw/1f6q9OYVWVISNUn2uix1E6vFd9X6muf9Tfn6gixHtl3kZGQgEgha1zT16Vx66FtWfs/l1FpY3Sd3Ml0hhh0gGysiEOyjjmSMEg2vfj8e3LmGKzt1BdRIF88mn+cdegdzIWofQj/V/LrJWRxyJKI5CA0ikrDaNXRAzEMfVdmYgfXgC359p4VNxEi6saa1HmCeFf8PS2dlZCiH/FzTHzHTBCqsUkP7gDLYaWRtZkKDy25KHxkc8W9mQuJFh8PAt2FMjhT1+2nHoqjjWRwzZIby6fpISwZ9LLIoR40k5VBIzWR1Ww/bVQQf6f4j2g0uzKzlCwNQRwp0eO6NFqNFHl8/LroUhKKzShgEdoX1ByXY6iFF1LF2J5/sj3SRxDP4dFYzEeX8j9vVoqGLUpYMv+Gn+r/B1HropI0ikUM7I8bBvS0batAIcXOoErw34A/p70irPMWiNJEOFA/wBWPXpPcFUVWJLOMn/V/qz1g8CmiswCnXeI/p0oocSJHJxeQuSbWBI9++joQ9wTgnA+fp6/Z02hVoCxFXY1+dP8nUh4w8cBIjjcEldTF3jYMiokgcEF2iHpa/AP1uPelVbcNdd3pQcePp/q/l05INRozcBivHgKft66anhMo0O2pRIyllYowcs3hVh6pFWwIJP49mANukgpUyMPLgPt/wAvSaUDTQN3D9o6l0kYSZz9AUvKIr+kFGd4ohq9IGnkXupP+v7ZvrdZHVIpCy4NOGfP8utQklCOC1z8+neigOtSFA8S0zhtZRtQAfyXW6MXiJFhwbe2LiGJtLyMRDUgeta06WQsxfUlCtKgfP16cgyiaSRvVplLq+kENwqBXS2pVd9X5+g/2BSyamcppqKcRxqOH5dNfDKSzEkmp/wkdcGB0pcan8cnJcfWzFQug2VQv+sbWv7chti48K4IIAqPQU8/t6qWIk10qleHn0zBAhKklfKrM76QSRGbghRYekc/439mTmLSugElKfPHqOk8iIFIpUYpTy6koYxB+gsjsCiOpUKzEC2sW0SBiP6fT2kRPEdJydQFVpwoD5keo6bGFZqcDSleps7OIUVlZ2ZYw9zGUR1/zqAG/DqDYnn6D6e7fScSxrQ1A4Z9er+O5UIAacT+X/F9OUYQwsVRWaPziNArBZVCn+2CbP6x6hyTx70CZzq8SoYEUAof8PSkFNDEUDha0/yfb0wIApf/ADjSLZlQFVtpvZCG0hgiknnk/jn2vjZolSJsxL5N/g/y/b0V6kmqWFGp/k/1U6l0NiGURWZiyvpBX1ODIGDDSSAVNibjU1ha/ukphakr/GSR/q+zp60nYsKCpB/YKefUt1/fOkot5I7FjrCpz5FmUch0VgSTwf8AYH2ndJVR1j0mQGo+QAFSelOqIsZB8RrX7Pl1hiuoqZFVDISEaYcXjVQqsU03Gs3F72W/197ktVcLKKJNTu8wx9fLplNRqGIySR9nSYKCV6iNiyprdJF+jAFUDPqANwWHpsLm/s1imhjQRSKDjNRX8/l0RvH4jOV8qmnn+zqq3+YzN4811DGrl1/g+73dPU1mGRoEUhrrqU2F7W0sPeRXsnolsdwYEBfFQfLgesUPvCKINxsKEawGJHy/y9Bp8OcPt3fm5dzbD3BiN/7mqqzBHce2cb1pgM3ubccs+KqAm6Sdvbcx+SyM9HTYd46qeVYv2REWY6SWBh7sbdv6WMG58sCE3aSaHEhCoI/IlmwKZ44OB0HfZ3fNmWa52vmN2W30ao6ZJbV3Yx9v7ej11Px/w9PWClpulflslP8AchEjfpHtAvU0KcSSxs20w6u8gCqRcoLD8e4RjPuC8RaZ9sDE4/XiyPmK8f2/MdTq+78glQivM2k/wnIr5dRIvjpX1GSyMb9C/LN8S0VVHjmj6N7Qap0CkmVnY/3WtZmbnj9Ivx7M9vm5tjkiaWbbvGEimgmjJ+IYoDn8qdF9zuHJssczapxGUOkaaZ8qnyzQ9VU/H7s3JdWP2AlBTxhsrJiqeVKuMpUU74qpyYRWjfQ0cqNOVcEcEWNveSHNu3puCWgeupSTj5hfP/B1j7yNJHBNfFCQmsUqM0DNx/l0aPrfe+f+QPaW2uvpNkbj3c+aodyN/CetNt5XdW+6+KgwdVWuMJiMJDV5OrRBTB51jjPjgV3NgPYJ5ksLnbtjmv8AbPCW/TSF8TtSrGncTwA6H20brZfvGFN3elgK6yBU0r5cK8ejjR/Djc6yH+JfHz5hY8sQKZMp0tvzEEBof0mDIYiCeVfMv1VS4sB7hia+9wwFKptztTuKtUcfIhSP9jqQI929u5F8ISTUXFOFR+3pTU/wn3NT1FPJV/HX5n0cVT44hXv0T2OKKYKVfVTVH932Szobkgngc8e2junPSRqbo2KitcNkj0AIrX049aTdfb93b6WeXFRwwG9Dnj59Ff3F8Dfn5nt94XN4j40dj53ZOA3fWUtDGev8vRbipds5KaOklrMniMqtBJWVv8DBaKSAkiUfg8e5r2fmHlaLY5oZJ/C3WW27tRqvihTTTQcNVOI/PqEt63HeLnmCK58PxNrguBQhe4x17s1OdNcimfLo/VB/L9nasmNR8aPlpkKYlWjpB1tuulhW19JNRHU6qgKoDMp0i/APHuD73evcZAI4prIjicioHlxHnxHp1MtpvHt2za50uS5XuBU0Xypx6EWg/l555aWfL7f+Lfy3Gfx+Ky1Zjqs9dbkakp8jSUNVJSz1lOayQSUkciXlNipS5YceyQXXuYzxMZ7RrXxP1FquorXFDQEEfLjw6f3HePbmS1ZIUnE+gqnbQVp556qfNTErZSpeUoySTV08xTTTIKqliqJpL3LOsFSsge62Cm/Fj7nRIJfAGpjqpkfhJoOH59RftDdjiRQAD54IFT9tft6t32t/Lu33uDDYHN0PxR+Uddj85h8LmqHIUm2K58ZkqDLY2myNLWYqojr2Wox1fDUrJFJ6dUTL/re4B3GbnyK8mitpoVhMjhQSo0jyBwSfLqXbfmfkJbKJZEmM6qFPackcTx8+l/Q/yy+wWZpP9lJ+UyPIhVl/u/XBVJLCOYCXJL6kU6QCukg8j2Utde5cMYVprfhkgr3Dy9Kf5PTozj5r9uIwZAs5lYUI0nh8uucn8rnsEU6GT4h/KCZ9YcPTYerOgIzv5SoygKana+m1gDcG3vS33ukI/BFxa0411LkHyIpSox1VebPbZVZZIbkqcjt86/b1joP5ZO+aiplp6j4s/JyFUAVUlxTRSRTEm5LvlQzouoEGzfT8n3eCf3N0OHu7ZXHCpUDj6U6cHNPtq8ekJdafTRj/AA9ZZ/5V3ZcU2mk+NfyLakMRPoxfrlZ6jlmb+KqVCIPoDyTz7VSXPuaHEIurQsy11EileAAFPPj/AJeqjmb26jbUkd0QP6HHOfPosPzT/l2796m+NHYPaC9D95bWpOvq3aeZzW5N24gttzD4Ko3BT4LJ1WSkiyNW9MurMwpG6qdDEXsLn2MvbR+eV5ujh5iltpNtkjYUSmovTt4Dhq4/L7egpz3vXJW6bC8O0rcJuRdCutaCgbOa4xXohHx3q0qNk1tAQR/Ctw5AiRjdI1rqOjr0QRavU5PlJH1vcjn3Ku/aRdHUpqUFKetSPy4dBXlpi9t4IBwRU+VPX5f5+j39M/HbPfI/K5jbW1dib17By208LT7oq8Zsalerrsdj66vbCtk62KOeGT7NqySKNTdvWbG3uMOY5N9Ahfa2QdxDtIaAenl9lPz6kHb7/l/b0P7+D+GSAugfz+fQ7r/LD7XiNK2Q+NfyCV2RBIq4ieJZxGSZHp2lyI0aJLAG9rewekvuDJKwjubYL5EU/wAvS9+ZvbdaOi3Bb5rUGn5jp6j/AJZ2+4wySfGX5Eh5HiNMKfDO2iJxdhMXyiKXB/V9Q1+PZXdP7mJLpgltmDLTita/bTy6UR80e3Eh0r9ShA4lcf4euv8AhsvfWttHxo+SIRwrSuuHhUDxnUus/wAbTRrN9I90gl91FYrI9qYSp4laqaYPlX59bTmD27kl125uGTzIQ1r+3h1Nm/ll7rlbzR/GD5GK5VRJG2Ldx5WIAuVz2oOtrgi45IHBt7LGvfd1ZAkctm9uDnKgn0pg9Pycw+3bsXVrgE4+D0H2/s6hSfyzN9Rq/i+LHyTSBD56qq/hLuEYBrSTM2b0rGQfSLAm/wDX2/Jf+6WkszW2sCgyhp64oPP7OvHmT23DEDx9R/onJp9vSx6m/lSwbh3tgm3n8cu5sbtdK6aXPQZ/J5fbMtXSPSTsIaGroqypnSZ6sox02IAt9CfZtse/e4j7hBHus1uNvDESnSowRQAYOa/ZjoNcw73yT+65Zth8V91IooII9M0r5dXk9GfGHF/H/rjCdYdXbE3VtPZm3arNV+Mw2aqctnquGoz+Tmy+XkmzGSU1c/myE7ONRKoCAvA9i7cb3XdPdifXdMRWoABAAAwMYAFP29RMLie8OiVAKn9vrnq7aegWVZjHaR1I1k+mosAo0yIQSkgUfW1j/X2EagAk6QK0x/g6XrO7tRlNceXDpOVGPDale0iNeQRSjhLCx8ci3S9vrcj6e/Mqt3A+XT66XXUaZ9fl00TRJSIslLUzRqhvo/UNRJvplK6luDYKSBx7UoYvCRSDgcfn/s9J1ZWNSPPz6cqdjUusdZRCOQgxxVBW6TrpF11JcxyFTyGuDf27Xxewmj8B5V6bMUSsXTicn/P1lbHwBoxeSB+SF12sGFyoY3uqgc8j/efbBWgKn4g3l1rUK48+HWs1/wAKNNxmTP8Aww69WULJS4fvDsaoEa64pY6+o2nsqiBRTaOTRBUA34N/Y55X8YRuEOlq49P9RofLp7aCk17KzAVQBa/LjTrWqym1l3NBt3YNOAavsTd+C2XiYEN5J6zc9Xj9v0iKSR6XrM6l7rYEW9jm1Mgne5VgJo4ixI4YGK/Z0q5iR4bBYMqruTWvpnr6VuL2hj9rbV21sLD+PH0extp7Y2TjQql6NKPZuBx+3aeJowApjjXGqCUsyix5HuIbmZpbiWcmq6iSeAqfT1HRDaqIIk08aZzXjn/UfLphyn8RxUmnIPDF+hVMqusExYDQ8EjmSN2e36RZ1B5Fre00IWWQSD4eB+0cB0v1qeDDRTP2/PptarLReT7gPwAVjbXCSbEKSv7qSpbTe3Ptd4YXLCtONfTpgRBpKoaAenD5Y6Ue3azTmcRNVzTm2UopBBE3lKwxVUUkrMyhy5CKbofoPz7o80SyoEozMQB6Ur/h6a7wXVDwBr8+PH16+aWEn75+eW7/AB+aofs35R9m5CNi7NaLdPaeZw8M1zqI0UuZVybfRP8AD3PlzCLbY6Qs1Rbr65LAcP29EZZGVVZaKzfaK1x/Lr6DOb3dh8XI+Lx+TqnpMUkGHx0GOhfijxVOuLoQJ6plRVFHSR2stgB7g1V1uScsD9tfUdCEPpQRKKEj+fSLqOxa5y32InIcNpkqqupqJWK2CqVjEcICve9r2J97W1bw2keiq3l506aLSk1Qaj614f6s9NU+8d4VQu+aqKKJ0LhKf/JyOAFC6Edmcj63J/w9vvbWxQFjig4j5dXYyoutqgVoPt6TslbWSktW5mondiG5NRWORp40lm02QsSfp9PfreC3KsxVQxx86evVFlmNaMQ/l6HHWT72tKI1LV5B3dSQ5q5EpjpQEsIxoCMGNhcEH6C/PtqcW8a+EAGJ4nrQe7ahUinmPl/k6iff19N45qjLVY0G70iTrHwQSIy7aGRI3/UF1Xt7LJIl0gKCaHAPRjHKUbuPeAMdI/I7qqac6oMqBIgKBZGdonZvq7SyusZbSf6kDg+3re1aYnw10mmSenWnEa1Zj3fP9uPP0p1T5/NA3Lks/S9EQ1+RNWtLlOxfsoZHjkjLti8AkoVYgp8giAuTq9I+vPtqSye0h8YldbVA6kT25uEluLmNGoAtCDivp1V3jYbDVJJF43kjTyC4QEMsruy2tpQpY/1vY+yuWWKoFydRYafz+XpTyr1NNsqxIUJ1Iwr+fSqWmRwhhJkMcTemL0hRYX5LMCYxfSv59PtiJdOpdINDXPp0aPHbPGKHI+dP2fLqbFCxihNMw0Bo5VJlVdaGEcBZLNZQ5/xv+Lj2mW6eaZQBSIk/nTpTJEmJImwBw/1ft65nQpmVjJ9JS131ySi6FiEUnSnq9PI/JPtS0ZkYBjUUyPz8+qrKqgp3NLTz+3gOmQqt5GUIjxKFKhS3lhjZxYC7a0WTkH+vtUkEJPhDSItOPSo4fz6SBx3ayRKDUD1/4r+fU5SiLHMCHb7fXaQlH5RkbXq+gjDW02LcHn8ey+C3IY6wpIPH/N0sMoorOM0H2V6404/yhwXRSYdQUMzItiVsuksw13B+nA5v7pPMaETKDLwC+bD/ACnq8VDMyk9xAOoYBr5dSJFKyOo8TgIySOrgaGOtisYa68qbgEGx9tWaFE7UKrWlfMj5elOlTyLiM0oV/Z6V9ft6aoY/FMEN3YuD4VX0+N3Miz6he+i3I49IJP19mYTTVwA8enI8yfLPr0g1aWASviEj7P8AiulFLolWysAWtIi+m/PkUSM5AKsHb9J+i/1+vsqTxnlJc6WoKqTXSPL7K/KvRqNDKp9Rn5Ef8V1AVVWCYJLZpPRpClkDcoIwXAbVcc2t71cRuLqG4DBYkw1eBr1aJ4/BYnB4aaeZ6wys4jCB0VooYHuW0+PSLBEtd3R78WHJ+nHt8EW0jPEQZiaD0AbjXpPM+pKk0p8/TqLJIwhqGLqUiAMYNjrDS2eLQ5ur3vYDi5/x9qAjgFJZCxLE0pgcKf6qdMNNpJqewr1zCslNTusplcOSG1LwQQ9pLkKDpvdQNJFgATf2xcG4FqzOtJKgqQa4864yMZ6upDDUWq3qep8bL92yav3kjkCyM6hAqkkQsL6WFrAW5Avx70Gna4DyeYPD0alB8uq+LG7aQaOAf5U67hZVs1lFzKGksumOQKxs0pJ8r3Nxaxt+OPerjxIX8aRQZF4Aehx1SKRmNF7lOT6V4/sGen/Gyx+bV5A4MkChip9axIUZUe+gkqlzYA290ubWQ2g1CjNkqOOT/LpbayoWEoI8MV/MV67jdVkfQ6NI00gRmBkIvMZAzABQw0ggAEgC3+PtloxEiVLaqUPXvEj1sVz3Uz889ZZ2k8cv9hxAdCXQs5kZhYiyoFVfqR+fbqrGJirV8MAUHrU5B687SM9ahSB58CPSvr02CJvQv6mYXjvNq0Appa7pcXJJIUC1x+Pay3jWJDrAaMZA9D/q4dFkkkp7aj50641SmnormQk6Q5exEjMkinSrev8AtWseODz/AE9tkie51RBkWoweBp5DqkumKMSU/UNCc8T/ALHl1MZxaBm0kloUATm6NqdHUeoyGwb+nF/e4dNw7Mw0lTw4fYf9XHp2SUaEkBILUp+fr9nToNFOAWeRSjSs0n6w0b6hpHJ0nx8A/j8+2hAiS9rnXUMCOHDIPr0pYjSS48uI6Y2l8ckp9bgLKChs7O6hmhkaU/RBq5twOB7XBJLghXwtePmv+x0Xu6xFjGQQF9f5H06k0nLyKGRFEFMI9K8qwsx0kkhmdTck8nj6e0V7DNQKBUF6VPpwr162cax3AFlr/sdOkhAm8oeFl1qgYAJpsAyhmJtr1G7A8m1r+2Yo5om8OMgxAkMeFMYzmv2dLJiiuKkFvl/P/Z6hwxkTyh5VKeOSGRibI73ZlJFyrepr+q1iOPx7eZYwq+FVnWvrQn59MAhpSrEacgZ+XSfng0TOR6tA13LsFkIUaSrKDGvBNz/Tmw9mYkgorNqRAmSflTH2enRLcxPFOZEatScD0HHqpn+ZLK9PuHqCogCvGcFu9NHq0cZihNxq4GoH6/ke8mfZFYprO/WIAHxU/PDdYpfeJjYX23zoMGJv2gjj86HomvR3evafQXZ20O5eh99Z/q7t/rzJLm9i7327WGkyeByhhkpKokvT1lDk8TlMfUy0dfQVUM1JkKKaSCeJ43I9zLc2NtKjW12mq2kADfPzBxQihyCMjyPWOYnkiq8eGHkcg5Fa1xQ+nDr6gXxX+ffYvys+LPxw78ranbGOrO2+qNu7u3VjNtwTrisXvqE1u3t/Y6ieeeWXH0dFu/B1pSnaQtAjrHdgoJwg5z2g7NzBd7NWRbeCU+GSc6WyDX51qP2Y6yA5cdJtst79Y1LvGATxyPI1404ZyeJNc9GQ293FviurqWSn3C7U1Q8yRmOb7pGV4pacLp4mVQx/H+9ewrZu0E6lmkMyspBrxXV/k6Er2lvPA8umMoAeAHEf5jn7evkdZmY0m9eyEmJFR/fTcSlwWQ613BlkltpBOosfp9LX958zo01tbOMqYlP/ABlT1B3Ll1DbS3jSkAazk4/E3Vm/8rLaveFJ8itqb1+PuZ7Wxvd+Rw28cFsKj6WqMDit+jbmZwdTid/5k7m3NDJhdjYCj25VsKzNOrS0MEuuFdZQkg5mk2qz2h/3yyiwJGsH8VK0Ff2/5emGu7ver8W9ghcKMHiAtQTUGgOQD+WOtpGD+XT3VvuiTJ9odwbd21n6sGSvq8hme0fkDveapkXy1MmX3/vTduOx1XWSMTrNLSQwBrlBa3uKoPcrYbFyNssY5bcUXv4U8sZ6EMfKO7yqJry6McpXGnz6UWG+O38xf4la94/Dz5WR9gpQxpPW9Jb0rty4Hau8/DGfLjo8BufP7k2S1ZUp6ITFLiKkMRoqFNverznTk7mE/T7tYC2UigkjOVPyGBTrdvsG87UongnW5owOlxWnrp9CfXo7HxW/mRVHypo93bZy9NuXqn5DdTSrQd2fH7e0cy7t2PWECN85iErUgyGe2LkZOYquMO9JqVZiQySvHu/bB+5NFyn6+1SCqTDI+QPoRXPQssNxhuAQAUul+JeFPsH8ujcx9jbxqgPssxVSsFJleBqpgYwP3GEdijBF+t2sD7I38GQCVdWmlDSp8v8AUOjFpJCvhpQKeJ8x1Jx3aW96PI0U4yGRnjhqYHqI4mq28lKxHmU+AsG8sF1K/T1fS3velRMjLq7Dkcajy6ZkGAkmkqcH/V/h6+ep8muu8h1f31391o9JUUT7Z7I7N21SU9VFLAwpBufNvjVML+MKDhcpS+O/6lIsLEe5u2e+N1bJG4IGniRXhT/Dx9RXosgKLJJHrGsGgzx+VPOnr1vU/DD5D7tz/wAQPilmfuaxlqvjx1dA1RHNXxMXxO2aXBF3UOyNd8WVB02On3Em+WyHd5jpJcSEn5fl0YWzOsXfp0An5+fRuqHuncsuljlslEgS73mln1llBNhKQ9gePoPZA9uhOgVXUT8/9Vela+GUp2ljXpWwdr7jlIWPJyNGFfSZGkp2W4III8gGsMLCxINve5Yh4YVVJoOPVgsRYAigrmnn1PTszcEyKs9RM8bDS7SxtKq3FrrIxVri9wFNwfz7RsjTVLKGjUY8ulDpAjAioHnT5f5ekzld0biWN6qjyU9dASRLRtLNHLSD660QrprIRblLhx/Q+6LC+kFjpB4ft6cTwtR8MkH+Z/4vorny8xma75+Ivyi6WadauLsv47dtbdhpVjJkOag2hkdxYArqFhKcxgKcIbAiQ2+o9inlsS7Vvtndwv8Ar+MgOcEFhUdIt1t0liNRr7Tj0NCP20J/b187/wCLW5WrYN4ULvaSowm1NxwRuNYWqMlXjawBXAT9nzR6Seb/ANR7mzm+AQRq1VDeM6AnAotCDX1z0k5QuC2pWqVaKtPtPA/Z1sP/AMkvsWt2l8xs9i8bPKJd7/HbsjCpFIzCKer25mNr7sofI0ZtKFWildT/AFB4/HuJ+ZY7Wbbo/Ff4JFqfXoU3bpcwItDRGFfkc/5P5dbSb9gZ+YLLLKZwZGq5EeorWeEELHHoV73hLKQFH5/HsL6bZBrjY4GaHiPLoqEkampRSQaUpin+f59YhvrcDMdPpeQaWQVFX5IoRdjCnpIaZw36T9B7bfwliNNQBGK8fs6oiIzVYYr8P+b7Opibr3E8iJGj1JaN/Esks2lNAazMttTKeSL/ANr6Xt7QRIrAa/E8Ty9On2aGAFU4ED8x6/n07x57PrDHLPIlPTxtdpfuZnBljT9YVQC+knhQDcjj3aSA24DjBJz8umpWjJVVPaBj04f6h035Hd+VqkSm+/eCghZC8E7yp5pyCy1dS6MplkZTZQQVjT6XN/dFjiaSuasePr8+mkVmZiR2/wCAfL/Vw6xwbmrUbVBkqdrG59ZVbk6dN9ZLAqDY2Bt/j7dm+lUFEUiSuPMf8V1UxoWxgE/l09U268xJHGZqynkJa6Ro0vpB4GtnDCxB+v8AT/H2iJIwPh6TldLhxTWDT/P0IibrzsixiVsZUzJpEdQIakVEQN/QXgmfUth/bYqP8Pa4bcmnFPLJ446r4y00yahw/wBXp/PrId25/Uq/axSnUSz00bQowIII1y1UjEgnn08+9fToKxSNRhmo9OqtJXEYJU+eOm+pzeYkDmWHGUrAetlq6gPIpP6WCP8ARVPF1IJ/1vbzwQVDOf06DHr8/wBvWkWRiQwHH9v+z1AOSyIVBTSVCOdLEwVLhZGAJW/lcJZQObD1f4397ZYrc6YxU04niD1vS1SPTrNFldx6Ap+6miAGjyTRxxpzd9ExdbR25sW0qQLD8e7UDMyMKqQK+VcDrSqxIdhShJ61Rv55G7Jtz/MzYu26qQzDYHx/2bQFWq0lSGXfW4dz7oqisq3jjYwQQG4PIIuOfY05e8MWxeUaaniP8vR5tFsqo7A0YnH2gfz6r5+GvX1V2b/MC+E+y4Yf4tSYntbHdl5OjLorNiNgCt3pIJ3KiJYkbbUJ1EfUi319iSO7gsdpvZqnxClAft6L+adUtzb28pAQDKg1r6Y+fW8RW7x7A+4lr2iyitM9RUSeKrWxlqGZ3mUyrYqS1jZSGPuLlaORP0qdxrT/AA9IEi8HKtQH5cB0kcn2P2DUU0+KnxGUy6TRgRQtVU0EaMvrkMclUI5BrtddIJUjg249qLeKETCJzoViSeP7ekxZ2LMgBkA/1fb0F9buTsXHMamkfIUVSUdaeM1tPVxUsPBKwurRRySKhtqYcG9vZjJBaQpQMW1Ng16YL3z1lNFQ/mK/n0GGe7B72gWWZNy7mUJHOFWiqaaKPxeJ1YhoggjnGr08tcrwT7MYrDb0ZJyqswGPUZ446STPcoApbsJzjrXj2P8Ayaq7rztLbnb3X/cveA3LtPdrb5wP+47YkElNm3yNTkY56nIrTvLWUsVRVl2R4gXYBm5HuT5OaIZdsNiYI1HhKpJqSAABUVJzjOPPHQaEd/BL4tWaJX1AUFDxxjj8vy9K9Wf4/rf5a0wH3O7uy85MYXaSaTL4kzvKpBayx1UYdmLXA4HsExLs6PpZRxwKDP59HQvL2QnxdQZqZoMeg49OY2p8pYCqyV3aGh1MhEeQCrfg6k01jxqqgEWHIP4/roy7ZHIytGpAHnX9mB04ZbojSjkLiop5+vUs7b+SyIZzVdw16s0bSPFkIaiSEc6gaZa2Ngt7g2uQv4HvyT7IzBmVDTiM4/Ijppf3sx1eIGSnoPn/AIOmuuqfkzi4DU09V2usaraPwUcE8pVnuVCpJM0i3N7ar/X6W9uy/uWFNL+GKjh6V4UPSbw91lAWE91Qa8K46DOqzfy/yMzPTbz7XoIx6BD/AAWImKMsbK6eLWNHPpIFz+Tz7L2k5fjYao1INBX8uJ6OLeDckIJNdQyKDjT1/aOmGrqfmRDEzVO9+1NGqVC0m3Y5YWXTdR5IqOWSCVf7QZdLC3tR4ewh1I0sU8q/n1p5b9QwNdWcAfLA/Z0k58r8qVOqTeW9pi5uq5DZ7Tl2Q3lSNFxEw1i9jfSVH49uo2yeB4g0gKTQV4/I46YWS+1UmB0EenD7Tx6Arv6m7z3jtPGUXYQz2YoMbuSgkxVdl9o0WNOOepjnGQONqlw9LUI8lJF+7Ekv7oVAwIHDd22yTLrQgOfWlK+g6EfL+47jDdyPGGQeESQFpjFDjoI9vZDo6ip6DG7hkhpNwUFF4sxSksrR1qB21zCSwE8q6dTAcH3ixzffc0WPMdz+7dbbf4nbRTSvmK0z5evWcPIlltV7yrZXG4UN06HUSc54Gh6WdBlvjwHlUZWiVkSneMyTojcowqkCNMI43juPrYki/sIT7rzzUSJ4pkYk4U0p6EHH+focwbNy8FowTQRWtc/b/n67qMh8dniV1zuNSMG0bgs6qTN4wxDPaWVze1hawvf3pN/55MogWGTtOrVpI00+Xn5dXOyctmE96hwfXjX/AC9QZsl8f0iDruLHtUNTwjUkrKwEkzSaXkb0qStlABuBwRf2uj37nGS5TxI7hQVoxC4JrXNP8Bx+fSJtm5ehFHar+tf83TUuR6EaP7iTM42Dzor0LOj6imtkdmOu6MQfr6bWvb2pn3nm6P8ATRJZAVOQhBBBNB+fDpobNsBJkZgteFSD/q/ydc6aToxZXFTuXEgRMFgaSSeMgSKXHhOkFzCUZbEEng2IPtj9+c2JWW3SWmkVGg4Pypx/Z1uPl/aCxLONJ4Z/z9TaP/QP56m26MVeOOKzGT96RmAZxG9wkcUakhiQSDYeyu55i59ZFKxvqZhkxkFc+WP5dKRsOyoxj8QHHqOs9fRdHr5o13Zh5JPHDOQs0haJDqBUukZIOkkspvf82t7M05k5smr4kZUDAOk5I4Dhn8q9Vl5d2inhSS1rnBFf8OOoS4/ptp3I3PjXVHj8bTNOvolTxAX8QUroub/kn3u45l5kQA2ySahQGoND68Mn9nTdvy/tTOFRgQgHn8sfLqecB1MaCOqfeeGjLR1RAiqQDGkFRJFTa43WzFzEbflib/ke9HmvmM3B0Q0jagPacn8xwAr/AIetS8uWSoUSQBhkEnFescG3uojHIRvHFqZYRKwNTE9nsGJHqAT0Np0/g/U390bmHmNLp1eOR1oaYBFQK+RP8+lC7DtxTS0gBweOeHrXh055TaXSkEXjj3ZibxxU5VPuorgyyjyX1MSzhLki+pB/T2WbXzVzbrnbQ/gVBFUr+X+Tq8vL21NbjXIK58+GPPptbbnSn2klRLuTDsUaSQHXStKI4UJC6dQADkEarXPHHPtR/Wnmpr5SUbwm/oZr5j5V4fP060vLmwtC1WBalcmgpT/VjqNDtfppkp6E7uwc9Za0StVUqGSvdggR5iEjhEB1/rKqtvV6T7NLjmvm22Dq0bNGgrp04pjgeksXLeyiMapO4kkmv+SvU6PaPTsPkNZufGQNEJws8xjIuqgwzRyJGYp4zIf1xlkN7k+7Tcy8yuTdrGSrqNKUpT51GevW3Le0SyFo3DGpHGn5DqU2zOk4ZpIl3PiEOnyg/cxxqYp1gklZdQubLKRe3IPB9opua+axEtykRUKSrChPA/EopmvT8XK+1QSNFE+lTn9vUsbS6XiimEO68SNDyJHor10jTHMY9IBAZxo/qCB+CCT7vbc4czBlLoSzgimk0qTgHGPQeWQeqf1Z2tBXxMfMj7T0zDbfU7IXi3phkVmjdwlfD4mdk1Saj6TGgvyfzb2tPMnMiyjWjeItKrpwPlXz6ovLlgxNJAUbga5x09V20up1oozJuzDyxkoik5eACSN42M6rJwrAOoA+hJ4vcD2XtzpzDPcaWibwtXALxp/gH7Onm5ZsJIR3AsP8Pz6hLtbqT7emB3Zh1Ii1L48ppbTHKI4yfr+3Gz/UDk/n8e3JecOYZJ/E8Fo4hxCgmvkK1A/Zw6aTlfbHHx0fzzgD1rXp/bYHTpVHO6cBUKrNHNGc+oaUMrhYkT9QfUoa/FiB7L15v5qR3ILBwdWQaU+zp+TlbauyNZFb5gjHWP8A0d9WNLIjbpxEXhpoXaWTKxabrHAqhCoK1CK8vK2+qWvb2sTnzforUSPCZC7BSQpyeHmBj1683KVjXT4xVQMCox+w9N77U6zSKpV93YiISK6Rp/ExbSvrNyYyrDgBjaw/r7UWnN+9tEsbxF6saihApQ0ANPLHlx4dMScubcvaZKKfMGv7eoLbG63kjjnpd24pliijSp8eRVjA0jiN2kaVOVOoGykg2HtXBzvv8JKrG6oqitVz6ENXpOOT9rEbMkikt8+Hz6yY7r/rlKb7h92UAYnwz1JyUTrqhc+UPEyjxLGPo3Nrgfj2quect0t2A0EjSTQqeJFfIcfPq1pyjtrRahINYJz2/Z68Onql676kqIhJJvPHBzDIqK2ZhETHyFCZFaNW5BBt/qhx/T2Fl595gct4SlWrUVjIqR5ZA/LpU3KW0tDUPVa+o/z9J07S6hid3G+MaT9tI8d80PGZEYrr/Z1gHQCSCLfX6ez3+uXNBtVmWOspNCmjJ4fKo6Lv6pbMJe6UCnzBP7a9Bf8AIzF9bbH+OvaW/Nj70xce+du4HF1W25Ya+LKLBXZDL0ONlyc2CqvLTZGmpYalmaJlYabnj8Cv253/AHrmTnmw2rdbZ32p5G8TBSoGnsrTHHj/AC6CXuLs9ttHJ17uG0zINyRaoTRgCfMiuRwr69a0PbXb3ZvaG6sJju485DOuznrMNHPh9v4vGClx+Sqo6mevFLTU9MK+GVRHIhcBjAAFt76NctbBsmxWTPsKMkUxDEFixqPKtcft49c1ucuZ+ZOYr0Q784aW1UgaU0ih8/n68cdZabqndMlUv93sfXZTzhWiAwGS+3qSk8kIeirqFa2hqhFOhBaNiRqFwPp7PZLlgpaTy4ZzSvp8vt6BkahyFmwh4j5Hh/q/b1eR8HP5hP8AMA+GXx+oOg9s/DjE9w7B27uveO6tsZfd+L7RxeU2yu+q+my+awkg2pVU9LWYKLPQzVVMZ4RJDLWygsVK6Y65k9vNm5u3M7vdzPFdsoVqKCDpwCQSKY+X+boZbVzlJslkthbxLJGpJqWIpUk0oAf29Gi63/nL/wAxnA9k5PffZvx/p8F1bJnqfI4fqHDfHLJ7t2umJbHxwVWLre2KHcuK7vwMtPWxGeKrigy9tRSSMxgAIH9oeVJLWOJXl+oj/wBF1HiDXKDtoeFK46fXn/dCzdqCNq0XhSvzpkjPEAU6pEyvxJ2xldq9i9qY7e26c92UN/yZTF9KVPXmS2Su5sXndw1NTLLTZjdmWhqkkx6ZBHWBKed5I4nDsCwHuTlKwxxwalOhFUNQ5AAWvyrToGNcy/qMpKxStUgcK1rT7B8+l98WeyPm98M+46v5FdRddyUm/KXr/dvWdFHvnYU+8tqbUwG9qSgpczJSbbiqaR6nK08VEuid1nXktJFItlBRv20bfvtmNs3FGazZw5C4ZitQBXyGa8P59GNlvL7XILqBlFwq6RqJoKkEk0pX4R55GDjHR5pv5t/857OYStzkXaC4yDC1FZhMtVYT4p9Xw4OmrCtNkqiTMZCfZ8klLncTjl8kKypH4aJnZldZVdSGL2x5Jh1JHaSaiBXVI1fy6MJOd98kowmhaOmdKAinyr+fT9S/zSf51uRoaPG4yfD5vJkVVDQZRPix1q2d3Pk6arqKOtoIJ6GkFJU11PUUMtj9vCrpGS1r+2l9suS3qfp5QnD+1OPn69ei543dWERaLUQSp0+YGcVp/m6BPffcX82nuTuHrTuPtBNi7e7S61eXC4fs3aGJ2T1P2k22Mk0Ec228ruDrOKKtz2KhjDeClyMdXFEXePmJtHs3Tk3l2w29rCKKZ7Ju4ozF1qfOjcDk8P2dIpuat1nmWaQxpLXiqgftp0P3afyF+bm/t5Ajfvy5zsNJWYF6oYj5D0HSu28fT4gKwgxuH2dsbDNkcrUS0cPmnyCzpIryO6SSlfbVnylsVpbiO0tT4LVFCobjxwflwNK+nSeXmjcnmEktwqsOHDqDnezf5nm/6yry25vmR37teGaUeHZ22ey69KDF0ssTtHFNmqHD7SrchKUuxlMEd2ayC1vakclbfFIsljtkZ0nuYgcPLFafbj5dMf12LyNHJdhaeWSa+flUZ9D0Wev+Ju/d5boyW8uyN85rfO5s5Wy5XOZ3dGbyuY3Jl6944Vkr8vlMplaisq6yWCBAWfU2hFvYgWMRy5dg1itFjzgClP2V6Qyc12aytM9ySxpwBJ/wZ/1Y6vC/lt/Jbc/x7rNp/GftHP0eU6Sz8sWF6oy+dzM+WyvT266iWSaDbdPM6T1knXO76yoZFgLt/CshIrQ/tSyKsec+cgXsli27WkYjuYlLPTOseePXHQy5Y5zhuZ/oZHLRs1F+00A+XV+o3ptEANNuLakjpKyPEMjWpNE6/rSRzSugmQ3JUNYf194/yLf6NaIO37MdSkFt1cMWNV6lx7o2q6PLBubEFHsSgqKwLqHABdqQ2kf8Ktr25t+Wwt2AGkQDjgf6v8HTxmjAJBJHD7fs6dKfddCrrBDmcbUlgT40qKhWNwL3ApB4je4uTz7L2kl8MKEIFTnHShp4xSIEGg/1V6WtBuB3Zk+/xcl1BMcteZdCiwv5fsleGW3C8G3tLNM+vUyilKDNAD1dWjrqYVp86dP9BTYOoyFDX5fIYanoIq2NMrWSZKI08+Nq5kgySVCLRxLPooXddSgMWNhfke7xX726lwKFWBDE+YPn5+XThZviBJr5Cnrinr180Oh2DL0r8uu/Om1tFBsvsLurruljTyLG2P2lvXIVe3iqyBWeJ8RQRtGpsSknNj7yZ5h8PdtjiuUKmOSONwQa5KAOR9rDz9Og9y0HivPCZiJVZ6g4NC5IHoKAjq3b+V7uuDbXz0+PLzVXjh3Nl907Ln5IAg3TsbPUcULBPLpR6qKJSP1f04HuKuYreH93+EQKIMn5U4/t6HMk7i0kcgEVGPl8iPL162+/41jwiMjJI+iIrSKFhWZlbn9143WOOnHr0/qYDgE+wEqRKpMoxX9np0RS3ML08KpNBUenTnFmcMUdFr4BIDfxS+amkkdj6vHO8aJqYtZbsLm3Pt4PVdSMCAOGK/6vl1t3VkBr/h6kRbnw8JCz1M0Mrlrt9hUOmjSbpG8SSRsqD8Brckn35xL4YkJWvp/kr1QshpU5/wBXHpwbeW1kQKaySr8R0xpT0cskfI4PikfyIwXizA2/2PtI9vO8gYlWVhwrw+z/AAdeBjc1LCo8ummv3ttV9Akmqk4PE+EmmeO4vrKKokAZRxxa3+HuklvMlEXJUdX1ahROI6iR7t2tIEEWSjYN/up8fJTy8cWAnVC63AOkk2+g9upBNJ3zaAvCn4uHVUU1OoGnpX/V+XTjHnMVISfJUKpN1H20xS301t9vqUI55tcEW9seCoYo7UTz9fl1Qo8g0kCv+r5dCiZsjUr+0jpEFIV3RQnqaymNv2YUYnn824v73BJJIXZmrXyzT/UOrGON+xsg/P8A1fz6x6go0yVnlBH+bDSVAUC6shWJEhU3H4b6+/DxJDrioRQVFBX+fVQFjNfL9nUqNKUKAkMk91ATWVgRR+S0Carta9wT9D+feoYqnRLgLQivD/Y603cKL8f5fy6yt54TctDSI1tGpYotJuB6WlYubXHAU8e3tMcU1WJKnPy60aNTNAP2/wCz1gcU7EmprtagtoQ+WrJJBJ0QJYsAf9YC4490nkmBBIAFf2jrUko8OjVKD9p60zf5q+4I9z/zFPkHLSyvLQbTq+t+v6SOYBFD7U6026tVGUjOpGSvykukNc3PuQdngT93BmqEyRnifT16EmyOGtFK01sxoTnHS+/ks7Yl3B/MD7C3zrEFJ038ddxpSVCxROkOZ3zk9vbQo0i8oISqemkrbHk2BPtXzEoteXREoI+oYfOmn/OOgxvM/j70XFNCELUD7f8AiutpnIZmR2ZDWVVZqBPidipHpuApQwo0a/Ui9gRz+PceLI8biGJBp/ip0jeePS1CdBIA4/6qfLpN1eTjoEZ4yqVLl9ciGPWU9RRSVfUkZHGq5Jvzx7NRCZVoTqYYP+TqgKeVAx8x0F+c3KQXeljp4KgsbI0IMU5JNgpVyYXYC9wCp/P9PZilkoUBh+nUVPy6ZaVWjZaigH5VrT/Z6CLOb73FTwywrTUsbAEGOpoRUQuDcnShn4c/Xggf63s4XbIlWsTEKB/Lj0XtdSMpAIZQPz6Dpuwt0hgUpseJCLNSz4w+JkXmN4pkqohICFBKnkf4+zI2sEuZddCBw/y1/wBXr0gkvcBVB9aDy+2nXS91b+x2lVx2A/bBWMTYeqjZAyhlVmGQA/qFVgBb6G/uj7bZSgMh7lpxoemzeThSyoTn/VT/AGepQ+Qu9blJcZtiCVyX0Nia4q2oCys4yjWuy82Fhb34bVDJKQXKvXyAyetfvCZqskdPzP8AMenTbX/KDeOJRqiow2zkjjVj5pqPJpZgDoZnjyNx+n9RB/pf3tNnswys7DSRnFK0+fWob7cGZY1UZpU5pT/V6cei97i+a+7K2rkkg25saNUYlainp9wXdyfXJLTR5VYpPIjEX+v5uD7DN3ZQrckwMrKvFePHzr0L4AYIKy4l48P8Hz6RNf8AMfsCMGZ9m7KZiI0XIRNuSNxHZmRCgr5AzOPqraxq9tnbYWokJLasljTAp6DIp9nT0txLCxkNSh/4vNOHTQ/zW7FkA+62Bs2uQqQK6mrdz0tQDoBKSxrUyxTRooA+nAtxbj3RuXCrAiSlfLPmPs6p+8GKkoAPt+z59cD8vdyS2qG2XtFmaMCojhy+cVNRNybTRGBZX08g8gj8ezA7CBH4LYxnB/w069JeKWEq07VrQj/YoeilfKvvfO9rxddUs1FLteHbmR3FUFMLuXPTxV5ydFj4/wDKaaUQqoiSn9LqZAuo2AF7kW67YtnGsuWUHAP+HP8Ah8vLqSeQEt7yWdnoX0igIBFDx+f5dFjoq/JRhZUyVYjmVz9yCjTKy6pA7SSxTysmlQBe5bkkgew9eBZGLIqKAKmtOP2n/i+p2s5JEjVIywhp86LT0pw6VMNTXDRUQV9RqiVSKieGjaVpBZbAzUrXlUtpItfnm5+hUGkEPjpoYsTQ0oB6+X+Toy/UZ9Qd9AHqesjz1o8ySV7WdVMitBjZWZAwnQt/uP1KGk5BW3It7UBwQRAVo47sDh6dbYIFZwXAA/iNft49Y3rMlM7aqgFPReJ8dhnjcrYa7HFk30D1JwD9frz7TzE25DqIzHw00zx+Qr0nj0yxsVlfUa0Go49Sc/7PUKmzOdpJG+3yUKqQga+F2zLwsbhAomwciCSMt6VGn8cEjV7PhPBeR/2QRo18gKHzJrxP59FTQMsgVpJWYDHcaVrUVBOR9nTnBl85T0+mOtpAHiUSBtv7ULSTIdTSiSbAyGKoYgEm4/pe3BK5WhJOntTzrgf7PRoscscSmaSUuTxDNT/D1OoNy5x5XHnoPENDhpdo7K1kRIBd3/u6bt/vBP1F/aeS4iSAiNVqxwwAI+VcZHSiFWeUorP611H8ic/y64VW4MvF6pKjDqpkcv8A79XaIZ41IspIwAKMvBtzew9+hWOe2KyqhqKN2rx/Zw63PrWOoclyeOpq/wAuogz2eQr45qBjqca32ztUzAByw/bfDaJFXV6Sw9NrC3HvckNpLGqxRIsqJ3EKFGPOoA/2OqwyXSQkrI5BpXuP+U9T2yuWdUilbDlGVmCNtXathdhYiQYRHKSI1ubF2J5HtNcJbCJHKo1D5AN5Y4g/l0oaW5VQZGepoKaj/n/P/D1gmyVcielcKVCvd5Nq7VJsxX9SnC+oCMA2+pI/r70lvAGW4hiAdga0FCf29KVM2jQrscZJJOPKlT/sdebKZIQRjwbdeMgeo7K2mbF2C+d5Xwn7kbfW3497hmtoXZFSMZo1QP24weqtGxjLeI+n1qT5cOOOo0+dyoh86Q7VGsl2X+4mzIlCs3i1toxJUWsWAINvr9LD25NZRTylpo0rqJUhV4AChwKnpljPCB4ch0E0oS2RQeXUZcxkHenaWk2wCXSMn+5W2kRzqJHkti1WVNLHV9Lf049qPDinjZXSMzrUa6YKnitOPSf6i4RwCx7jwzj7PL9vXRy+WecokG245YoSyo2z8FDFDqYBEijSgT9jQLfpsxtf6+2Es7RqSSKwRWyRXgPKnp9nT31NyjFIn7gCTXH+Dz6yHJZH1O9Jt6afxhHY7S2+8KtKCCHC0QCiy2CgcDj2pntrYMDDTSTioFBUjy61He7hIwaR2AA4n/Px6dKCsqdD3xe0HVDMyrPsrb8hL6TZ0L0i2QBbgkD66bi3KO5t7I3A8ONAgzVhSrVyR/s+fSyOW6MR8RjpJqDUn9nHh1njyEk2hZMFsloWdZWYbF27HYaWUEhqUAAm/wBBZRa31v7rNFZduoVkJz9nGprx/wAPVoJbgoIldypaorjj8+PXdXljHTyH+A7JEYYP+5srbslPGwYGMraFZFdXuLDgXAt9T7atbGzo8fhjurRia+fp/hH+Xrct7dIunW3hjFB/hr59NZySMi6sFtAS2JLR7QwsLSan1soTmTx3YHSCOPqPbxtLNIzHJGraRUnhj8ui6S+u6BGkYIOJxnrnPXIIAGw+0TqtpH9zsQYxIQ7Fg9i2pB+fqB7usG2y4MArpwaeX2nPVZLm/pqhmOkeQABI/wAHU5ck+hI229sh4J5EJdNl4ry6GiUskM+olSXA5AGr8j3oQWocxxwxg0BFRUf0vsPDhnp7xbsxqDI4kJ4Y4f6uPTon2FMom/utsZ3gEvjaXZuJkBbT6HdXYRkFSfpxcXNj7TxW1sLlHjVdIB1ChxnHHBI6WB7rQaSuF4eXpwp0xTS0rpb+7OxSZHYFI9m4zSg0KoVFR9SJqfV9fr9D7MDa2msMyDTUk4FTx6K3mutOlZn0kcRQH/V/qHWGGlxrVJWbbuzkhkjdnii2zQiMH6tIyrJ6pfSCODa3N/dT9JMimCCPUrUqflg1/Lh1uAzRyBTNJUj1+X+bj04jHYZisY2nsqYSo13l2xStMDqBZg3muQD6gBa5+n+CULCjMqRIypUnjjH+Af4OlBMglCLLJpz9leoEu1NrXYLs3ZhlXyuGO24UV3ikuz+JKkKVuQLMD6fSb+3vq5HoaRhTwwf8I9OqNC6qVMkpkYHOAD/xXSczGyNlZKKehrtg9e19C8SRz0k206SUTQAPK8QlllMlhKQdIIF7E/T2aWG63FmwurYnxkYmqllzTy4Z+fmOiy9sGuoXtp3ZoqZDAGo9DXj1T5/MR2Ls3aG4uu5tp7Uwm2HzO19wx5c4SkagTIS0eYhpaKeqg8ssUlTDBOU8igFgOeAPeS3szvW57zYXZv2JSKddAJJoCCTxJpwHWIXvxtdjtl7ay20QQSxNqYUFSGFMD/Vx9eryvh53DX5/4idTPTihhrdr4fFUsLU1JToopcxjKOaSONlj9Ui5SmqdRJ1I/wBRb3L0Vkj3R8R6kE4/PyHWOkzEJUVp/P8A2ehdyHdG7niVZcpVJAoKyeOaYNZCAkZkupddKjm3q+gsfZlHttqXD0NSaf5c+nRbcPIgxxIr6efy6RE3cudNQGbK1tJfiWISyPC4LO5Z4WcgqyrZeNXPPt8bPDGjV82rSnz/AG9OC7L8ctQfbX7eH+XqFVdnSZLxwGelSV5LtVKI5KmnS5hLRyOrusjo5UlWVrek8e7bdt0DTlZq6Afy6auZLhY6K2lm4jHT3TbSydTDJXY2WimicRzLNE8CajLIVWqjb1HVO7aZGsCWvwSB7FSbH4kfiqFDLw7QK/y6D017cI5jkqwFBnP+H/B0iBT5bavYO6uvchlaSWm7j2btveGKMNc9RQR57Dz5HamUWUMxjOUqMcohn1XLJpvxwCbctu8DcoXfLlSBwp/qPRxtr6rJhHhEzX/JT/UOkZ092RnIIp66nqpP4x1zual3GzzeSJ4Yy/8ABd2QzKhPi8ed2vWNxw33BvbUfZXbRxv41vIo1A18q9K5PCVo5sjUO01wCeAI9T095LctLUzZHLpmDT/dZGpPgp0KlJDVNJpVh6Y0TVYCxAH1t7OrWyhnt1kNNNOHn0gumukcolQ54k5A+wdO2C3LsmRJDuEZPMTzzTRxVf8AHK2lEUqKSIp/tZI/1BdI1X+gN/x7PrO3263RvEBY4pT16JjaS3SmRw2lQfX8znI9fXqbBmOu2neGbatUjtEHSH+8mYIqEjW9MJnllMylJNN1IKFVuL3t7U6LRRoVNJJ9a1/aadVFnCSCzAVp61PpU/y6foMXsuogerl2zE5NvCxqKmoaGU20I1SKlnqU1yeokKAoA+vPtUtrblyzqKVAFSfT9nXtCgtQYGPn8+HQd9hYClwu2sxuXb0cmJ3BsuOm3NhHpZQTNVYCvpslo0h2kdtUF1LEmNltceyfddtgurK4tk7YzG38x6+nS3bppdvu0MWKPWgBGft/1evWzhsTeke9tl7L3xGqTRbu2jtvdFM9KqadGZxFHkHWnBQBI46mZxJISbsPrx75+bhZyWe5TQKWUK7D8wcH8+smNvcTWscjHU5UVrStfTPHoRocpHHGv3CGN21CMRoY/DGHvJpEqr5C+u7yN+r6fi5Dt2JiTG7GvnStPy6OY5lAKMB4g8qfs6V9FlcdBGiwNUwGQBmOhqd2ZQvjUsutyykcqty6/wBPp7SsSHKNmOn2U6cDwtJmmonh8/tHSvpdwU+NTz1UrF57yJSRjx1M7cKHKqbQxWaxZm/Te1z7LXRmyf2HP7OlyAudJUCvUXIbnyWdjmiqTAkKgJTUVJojipQBoYi+gS1KBr3NyR9PaGdXVPDYFk4mnRjaLHENB/taimMih9ePWjL/ADY9kf6Mf5t3c2RhiFPi+ysx1h3NQgFUgen7V62w9HmmDLFaVTuTH1xex/VqDfk+8iOXLtL3kS0k06lWJoqZ4q+rPz7vsNOg3PCkHMuqByUdwzfOopQeVO3I8uuHxJ3q+w/lx8Wt2R+OgfbfyM6nrZbCOJ44Mpu3H4LIM0j6pGh8OQfWH9JDH2RbrHKdumSNCzaME0I9f5dCq4cyoYoxRT9n8/l1v65KYRV2Ro63G0tSlPXVNMrmGIM6088yA+aK91CrfUoHHuIIrsuatRgW/ZTouS0bWQBTHpwH+r/Z6aJKTE1K+mnajYXCNBLHInIBUaZUV43CjgMOf6n2540OY6EehHH8+tLb+KCqkY6iPjFjI8VVERpUguBDIq2YBn8YRNRPAIFxf2rW4t51AmFHAx88dMlZlNCR/qHTZVwZB9KzxCZbWiDww1x8bgCyySK0mr8Bbkgf6/u5Khgy408BTB8xn59aVXIOsCnyB/zdMFRGEBZYlGhrKFUjhSQUmpKxzGyn6EJpCj6e7M00X61dQPH5V/zdeAYNVQQf9inHj1DeWMIWARF1KfHNSL4rgXIDg1MYVbfUqPdAA7EknUPQf6uPXi0kSkPiIHPqfz9B8upAr3QL+wCg/S9Kka6UdWteSlYNze92BFvaeS28aktOByDk/t6VR3bKoDgCox6/tH+XoTJZ6Q2cCesuzanUERoQNLgyyE8i/AUc+7Slows0eNS0IxX9nRepRFohZh5Hj+WB16OpnZVENJDCqkf2mfSgJs7gtoDuDfgcHj3XT4KibVUg+XAgjgem9cjxZFHr1IEhQK9VkpIUBs3haOCzF7lVEatO/BsD72t5IxYaFapx/s9VMXlqOP8AV+fUJ6vHiTTFRVVTUKSXkdn1OL20mRi0w+v0Iufr7rK0kg0MVUHiOFOnD4WrGZPn9nXOKDJ1csMK0sVHFLPDTxupEQ0yMiCzsynksLj6kn2nllSWE1Zi4NMfs63rFW1ZRetE35d7sj3n8tvk1umKqFQMt8huyzHUx2fXDis8dtwWa/7sPhwahSBf+lh7lbbXWHaomIBbwzjzFfMj0xXoSbeNNuhz4JqR5HP8h1bZ/JO25j8NgflN2vLQhqzdm7Nhde0dVLeJBRbdxeQ3TkYwyAlU+/zUFxqtqXn8e0m+zTzmOzIIRE/LPp/qr0EpnEtxJPQgliCPLHnT5/Pq5ys3LRlpFkZNI1q8kQ0OvAOkgszNCALkkkm/0N/ZRFaIqiMnuAOPWvmei7xRGfDb+zr5/L+WOg+y+6qWFWEUzSBmYRuGQi5KqS5FmUoT+k8W/r+DS0giEakaVapH2j/P6U4dJ2NWDEnw2r0gq3N+QMujUnr1R6j6NZ/UDqDK9hwPo359qQViIjIBTVk9NmNgKA4/1f6q9IrJZGNonB0TQ/psWUSxsSbqzceMf0F9P+Pu3jBKGPhq4+Z9fl02Y6Gq4/z9Impnl0/sXqaUFg4AN0Kh20PGSGsD9CLn+ntb9Q8hIjp4Y4nqywRsan+XTO2ZkUWIWupUYExwi08SqdTMxBsRpblSb35uPegyFwIfz8ur+DRAAf2U6hzV4WmqqpzC0MMkmo6lebQgPpMT6ZAFVgDzcMPob39vEOlvJc14H8/y6SgIZ6Rms3nXhT8v8vQPbizU2ZkEKENQLIyiOoiUpIqhrkKBrCCxBuCD7DV/uEl2ot4SVGM+eP5ft6EdpZgRgyoO5h+Qz0iHxOLqQdVNTCVNURAp0WE3BIAbnxuBzcAe06QskdalXNM+o6MAiu7O9KqMAcB9vz+XUJ6XEQkA4qksTpSRYEdJE4X0rJwp0qTchb2/x9mv08agGAnUFozCmRSn7f59IO0ggtj/AFf6s9N1VtnbdYXnhpI6KX6GWmL+KcaboJ4FssQR7Aiy+3o5iKEkGNQATxIIGOm5IY3XUKHGKHzp0gsttGjRmmqsXG6i+ipgklRXBtpuUkXULtx9G/w9rluvHOoMWUen+rPRe0MqEagxHy/wfn/P7eixd34bH4WDak1JAYDU5HKJKrVcs2giigIP7ipIg03Bv9b8ewxzQHdYoRQ5JYZBIp5UPUq+1tYri7egFQKeg6C+kQoIQCEZlCqQwcIjXLHSGVzNpta9wR/rewFLbM/6MhogNc/7HWQsLuUSMsKFckf6qfb0sklJi4BZWp4wQ51rGBJGup3/AM4X03U/Uj+vtJRowFSjUrVR6Hh+zpcGKEVNBXz4fn1wkBJZ7aSTIFIZdbIoUGwAZl/2/wCm3vVqrRI+Kx+p458senl69auIgJfFJznh1IpUZ4nkeNVUxul7kkRLfTqIsfzcsD+eePbEvhxzrND+p2UOcA18/n1q3RPBeVlAjz3eZ/Z6dMyKBFI8KuJPGhBUK2lgws0jBShdjcD8gD/EezWKXwzqJJBHlmvr/q8+kvc0esrVq4+w8D69OlMoeC1nQpLIfG1mcJNGSnlDDU/lIJX8j8+0kysjF6tQ0IFMZPHh6enRlbgm2CkkuOIx+wfL58estGzBpIlKMTCCAiCO4Y6EZtIJTSRY8XBH+HtPOYZIfAWqsxNKCnD0Hz+fT0IqasKOePqB/n6xTrH5I1JIZSDISoEZf+wyatTHWwuR+Tzxb3S2jXXqbUq0wPLHn+fz6S3FDKo4acU+3rp4w0AnkLL5LMbcjWjEnwkkkCRWuG/SPZhA8QZtI4j1NMjy/wAvV9JQBqjTXI/4v/B07vaSNtMirqiWZnC2ZULISwdbtEBxqNyf6D62LYpCJTAgAXj9mMnPSzsZFk4kj9nUeERlSnJJCjSLgaTIP7TgF2LgEkf7379HcTY092okZ+VRinrx6si+Gprkkf6qdZItLQgO6KPAtii8s93EhYOD+VFja1/x7bYxsNYKpclqU01B+2o8/I/Z1ZNDRFVJ8M8afL/VnpsmVFpXMRjVdICgR2s3lVXRrELpLcrpH9b8H2oDSLES7ASKPL4h8gP9jh03J4UceohvEAB/Z1jgSPw00zGIAzBAxVgjeQeIMtrsHeMWGkgFxa/Hv0RuDGXQASBqUNaf56dJiiajKxrG1eHH/UD1yQxCWpiOpQKdGRywDodbro8lzJxa173P+Pt5lupVLKQsJ/l8h9vz6YUBZnp/aqtc+fr+zrO6wrTRoQkd1dnkAMaKDYHUT9X1WCk83/p79LLCkiFwcHj/AJaf5ellEMJjXDNwr0404XwMulL3muJAFVxIrr4wWLEvGLEnge0cilrlmqrpxFfmR6efSiI/4qACQeB4cR1hgZfOkblSAFRn/Dr4/IgCEBVk8YJ/Fh/Ue3P1JndJVX5E8acPX/Z62rkUDnuH+ev59c8lABQ1DaVB9Wll+qlpRymrgqY/qR9Dx+famG2K3KsDgClOkl27rak/jJBx5ivUBIkElgoIKFudXBGkBvJe+tTe5Jt+Pd5Ii4IGVJ7gfP8A1eXSaNPFXAWvoc069KtogGCrq0m7MrkGQ6RdTpUD9zk/8a91t5I3l8Q6kThQ+ny+fp1V0ZexaBqYPp1Kp3JjjZ+JIhGgsPGrtCXVwCxOnUqXFrkgG/497uA7rpjIEozxA4fb0rtlYgFqVA+3jx6eJmV4CgjaDVGkYswdlY63JJYGMj1f7z7RiRT+jbnuYVJPkeNP83SqUAxlWLAV4D59NLRokjFlu7WiZTz6rM4GleFcEEi5+g/p7MELpGPGIauRT19K+nRbJCqAMDVgaD/L/q8ussKmSruY2Ro4pIyVsCUPjbUP63U35v6uAfbTTRxQlhip+3P+TrwhEkwkoQ9KV8uH+rI8unhtUkwQiNSUjkQ8owI9MnA41WsFH4a9vx7aJ8UfpAFZEIJyDw6Vj4hgVGP+L6yMyswIBKxu8Lt+qwJFnQW5R7nUbizD2h1okAt0FKHjXOfL5dOMFNTxx0xVY/cYkAsZY01vqDelC6hQg1BV/IB5Hsyt21UEepZFb4TTNB/g6LbslBU5LYHqPSvVPX8z9iu7OnlGoKdn7jkRCpGhjuNV0WJ5Vwo5Iv8A195P+xIH7uviR/oy/wCBv8HDrEn7x2tb7bVk+IwyY9O5cdHs/ls1dXlPjPSxGZmp8LDuShr6YlSlLWbe3dWPj5nTiTRJS5xUvz+m3+Hua3VFu0nWobGR8/8AV59YvTagCD6kdGsrIZppHunlvHIngiYpHISQ7SoCQFsCPUTc82F/Ysj0eEAq0JzU/wCrj0UTyhVMkjAhfQH18ug6y9DUyJLMi+ErrGkkkxiOVQEUkHVO6j6t9AbWvz7fZGVdTAliO35npmLw5GARwATWp6RkQlSsP6yLoSpjUkgAkSsXBtGCLMfox4590topEkV5sBuI9Ps6dmZLhmWFyWjoK/6vT/i+hFx/YtZjKKGM/eNGEkjEdPOyoQJI5T4lVNJlLgai6lNVvpxY/S9eOOjmp4U/zdJ3tQ9BgvQGrefocfnToBex9+ZCn3l1ruFHIqKOtrsa0yMxAP8AEaKvMSFW/bMgnY6R6bj/AB9hvfLp2eKQZCtiv+r+XS2yjVFaKnxZNK8esOwN1vTd0d04iKG0eZouyJ8dE05iDQ5iek3mlP449Al0NuOeyL/W3tPF4Z3B3lFFZCDT7Mf4OrGNTBGGqdLg/sr1DxG4ZshQUkqVLDXpqeJHXUtQqzK3K6/M6ubgH8e3bGdfD8OlCpxx/n1u7gJfWvwjJr0s8XVF3p5fKUnnDOVKokHlj5fQBZoWcMSATqHJ+ht7MIZaOAO41x9vTUyM6a1bw+w/n/q/Z69L7HVqS1QkJ8nDwgpKdcixImuDy2KEMsY0yE2Onm1/ZmXCnVOaMM4z/qHRQ1v2gg1GD5cR6fZ0JmOytPIys0hW8Xif1+IhgxVDJIWZfAl0AI/Va4+l/amO6L/qRHFT+3zx9nWi40l9OW8/5Y/1Z6l5Spkyf+QTi5yVPWYeoiBdo5Yq2F6Np2QtbTL5Lgf2fqf6+2WEkldRHn+fSiKdHnGmumlPnX16tV+B26q/O/FbrCmmyElRXbK/vF1vW00tTK0yT7IztTQUkFWwlIhQUMsQUcXBv9OfeGXuLZQ7dzPcRyAhpO5f9nqc+V7hrrbFYmpQkH+VOjs02aqU1momWWUBo0VFkkhjXUp/bZ3NwCbBm/JGkcX9x6Y4Zsgdyg8fl69CQO4k7aVpn/V/m6npvuGklRYqwVVYsg8zrqamoQ7WuF58zxkWZVuFP6j7LDbFsyUWv+rHS0NqFVAxx/1evTtj951sskjVFSjVZkMVRLM0jGUollmXWukU8o5UKfR9PaU2uhi5H2GmOPD7ejWNgEDA1B4fL9nS/wAZul5YRdadpXUMzxvKdVmuvrMelQDYf149oJLeRCtFqWOa+ny6cWRtXiGuoN+3/V59avX/AAoN2WKX5DfFjuGlpVhTe/SO6NlZGoiS8c+Z6g7GiyuMhktwJRt7fq6QTqKJxwLe5W9v2jPLlxZyMfFiuaqv8IdWFR9rAfLh59E24yzLuENwoQRE541BBFKftz69Vi4TLHCbmwe4SyRyYHde2dxxcgiNMLuPF5iDQ6g3aP7csePzfjj27fK720qMWAaNhj1II/Z0NoVHh+IfiYD+fl19EZdwFvJmKpk+wyENNlKWFiJJJxlaaHIQfbMRoUSrVgr/AGbH6+4At7a4juGhQ6lBNafs/wCL6TNcLGNLV1AZ6eaOtpMnCJqCqpaksEMtLUv9tUxNpJ8MsZ+hsCQVJDWFj7XvaNDINdR9lf8AL0jjl1OfCFFpXy/nTHXpVmRDrhtFqu2u0iAAG5BKyAG5+oJ/2HtSqBiBw7f8nXgatqPH0/ydMMhdZyUqZUvcGILaK/BAEkdjEWtwbG3t6GQxRBHJZCSDXj6Y68ZmHYuB/n/2P9VOo9TJWOreOOCdbBgtUySE+oEEyhVMmn8XFuefahREYymtqAfy6rUqNeMf6vz6bp6eKSQCKERqy6mdpPt0EliNLKSY/Vfj8e2khQxUQnUSaGpB/Z/g60QrE6jVD6+Zp+3qA2OnQsupFjRbHWySRBWtpLEgKIyfp9P8OfbKtPDL4NeP58OqeGripPDFP9Xp0Kkip+mKVpWQKG8EDw04sRpjNTMiLyhv6QQR+faYTKe5yyyUx6dJgp01GB1HcU7XEteUDKFMdMjzH88Mw5Jj/Jvb6e3Irgp2MAV4jzBr1UQeJk1/PqJJU4+nJZYmmKKVMk0oQekfVEjDv9fxquffl8aXsXBHT3h6VqaD/iumqp3b4UYRPFTK6sg8ca0xJCln0yNqkvwSTxb6e1UFsZWZaAvXP7Ok5ZVq5Hdw+fSQbcsy11NkC7yUuOnWsqDplKJBRu1WVcyBjcxwMePV/rD2c220gSKGCorUA8ya/wCDpDLdmNtVKvwA9a/6qdaANVn589uPce4XlM/94937z3HJI5UkLn905fNRyt5BZjqrvp9f9f3JRt4/pl16QyIB6VxToZLdiGz/AKZioT6Gnl/np1s8fyzMd/cX4WdfVVRURRVnYm59+9hy/dQiJaqHLZv+D4olyCvrxeCTSrG2k8W9hzdXR7qoY6lpw4U9Ps6BMrNGaSNU/wAj/n6OdVZFayRY6dIIXuBH9woEbIL6ljkvfS1rgNcEfQ+0io0imSoH8uk84olWXUteHz6l01NT+VRkaSnikd1JM9Kniqbk2J06hE7Nxa9yPr7auJ+BSpogzwzUV/1efV0RWQahQ+n+r/B5efSmkwGBdAy4+j8pA1qyDUt7BVNmseB9bn0kW90S7eVtDVr6/wAv8HV5IlQBwvH5/PpgrNv7dm9C4eEyAEDSp1rpvZWUaVf1cWP+9+3UkmUdvxeXD9v/ABfWzEGXgKetemGfYeAnK/7jEpj9SzyuQzAFm0Rg2BBtYNxYn29+uigagXPH/D9h6bMI9f8AUemCp6t29Ohkijq6SZQzuEJjpWN2Z1ddSqqyqukEt9eb/j27b3E8JrJT5/t9eqJbRiQaqgf6q9BBuLrfEZGU0cL1eKsNc2iVi05F+GcWDXIGoHgi1re0N9usskv06iiH0P29GlnZQ29ZnGpzQVpj/V8+kfP1LhJjIJsnkqOYIjkxRh459AFo4o0ICRKPVZ+T9Ln2lW4VgQVOsDJHl0qkeRpBoPb6elOktk+o6IM6f3kq4AhJaYY95ZEJjDU1OI4nEUaKTcs7f2vofauGcOKirQmlajPy9Om5Wl0gADjQnz6S0/VtXEfVuenKTaCRUY5kVgU9T6YpCrktbiwIBufbnjopKaSEZu7/AGOmSqVKnSvn616hL1Rl7RmgzeMBJLIpjm0PybkshdWIsRYn/XF/dWdtK+CT4YBGftOf2dOiWNQIyo0A1xT0/wA/5dYW6y3UgZnqcU8bmQlvNMA68htSNEw1KDzcf717v+kvwk1p5VFT646S60mkLVKKf5/8V0TD5abRrdp0fXlRPHRKuR3BnIjHBVmoj/ybF0s0jkFQ8YIYEi/1+n59lu8CVZhQksQaegIHmepG9uiY5Lh1BMWoZP8Ak6LLQxB1pj41W8sZZAbtJYO3pjBLOEV/wOD+Dz7B+uSF3DkKpBBJ4fPj1kFA0bIj50jHpnFOlj4RGPSV0iRUQxkpqB0ysbfVm5IH0BPP19oRNplEJ+KhNfX0z59Gfgx0Nciv7D69R5wSRYIqux8bD+jKy3IIuoOmw+oP1/p7dipJRgP1C1D6Ywek9wr0INK0Ofl1LVTFSAKxX9iZWVkLt+5KATdzZQxNuRcj+nurJ4c7xqg8Ohr/AIf+K6ctKCzLLjUK/L9h/wBVeoKwMiIQ11UF3k8WmOJeQ/mQMGuzHT9fpa3u2ozIIEBCMpJOBSn+XpOpAcBCSlPP1J6mUA8ckkTesH9w+SICxYsRZyxVwQ/5tYXA590eRIFGosy8K8elVu4afw140z5Y+XWWOncSTuVDkB5PH60QaNKkRksHH9bfm/19sXRiIErikg4fZ6jpUFkUkxgFAPz+z/i+sUgYzBY1DmONRYoPUCAJkVzca3DAC5t7vI7pbIsJ1OxpUCuPPP5/4ek7MxuNRAoQMHrNPA8cJAkj1WURCNrqWW5aEOFYXKXB4IJH+t71byThjChUquCPxfb/AJutSRv4eojIJ/Yf9XHqWqA0tOLm2mMrbSrMbxrp0kaSUYm4JBPPHtowhrhhP8FKAj1pjpShDW6BQKU6wJE0YeJVX6GTWDp0MH/sI30c83t9Afbcv1MTKgCtIDUGtKDgceo6fjddJLgkAcPX7Pn/AC65OJDqIk8ZaBgIlR2UtGbsb/2SCbsfzf27dotxCsiEUVq14Z4f4erljoPhnTqxT5U6a5obKoWV2McpABUAIQoJUC/ILPYg8abAe1SRShgaqU01oBk49TXoumeQrpGR+zgOuNOgkEOtAHZZSCWIUEeNUROF0gMP6D6XHvZbU5aTWsiUNKcQf+K6TxB5IgyEByM1P+r8+o6on3DIR4xJTkCUDSZBHL+kLLqSNvx+Lr7sZx9OUFFcvj1Nf8B60o/xo6yoOk5rWtKZp1IEA8JNlcvqeR2sNIkUILD6BXFr2Avf2mdtUwjpq01JBwKelT0q1sImlioWJoa+QrXH+fpyiDfajQUZ5POxVSFAEkerQraTpeyKPrYL9PdIYI2YecJbVT/CD5/z6WwSUg1j4n/1f7HXNIgixzs6eUFSGVXBkRU5MqAWDKGNmJ+gv/Qe3Lp0mZ1WoHCo4ceHVUFKtJ8IzT/Vw64V37lM7abImkBCSYyocgXci6KS2ogXvf3qka3EUesqxFCPX06T3ThoNVCVJxTPn/q/PqHLqgjKKoj0ottN/wBLD1IAvpYuTcjkWP492jlf6h4W8uH+TPSYzKINRqK44f6s9YbiZLjU2nSNbaHBjBGtTY2VVQcfQX/1j7duO1wp7iSKj0Py+fVEmWSIEHt/yf5Os9GkrRNGmhAKyRCGYk+LWsjqXtqGnXf/ABHF7H3S7RJbggRkLT4q8Pl1uxkldSAQFDVp6jz8+nmRgRESdSwh0KlihdzHfUVSyu5IBB5039p2KQL4brx4N8+jO6fWlUHkD/L/AFZ6jKqqXURSnXEwaSM6gZns7qlzctETb8i/A9rpgZLSONu11P8Ahyf5/wCbpFEyrKRQ0I8s/n1wpY9FagZ21AycSLa6i12JVhpZlNgPwbe0DwUhkbPhhhk+vn/Lpm3DJdEO+oNgD5dTvR5XCtJywRXcX0nQC6G5BLqAOR+Cfa10iiAlHw08vQjp5W8FnVhWpwfl1MVhpjYqW1+UxEgEHUgLXa+gK3IAP1I/xv7LgsWtu3t1A1JwR8uloljSMx0NW4Y6Z8g1pQpB/Sro8eldJVWNxwC5twbngi3tcjWtqhu2J0k0JpmnD8h8+ie/Yq9Scmh+yn+Xqm3+ZuTNvfqAHgf3H3DINTAXYbmkuQRwLlB/je4P095Q+xsgGz3xFR/jC/zDftHWI33iH+q3mw1nHgSEVx+JejC/yo9zPJtftLaEs7vNSjM5COEuAIocpj9v5gMFYadEkuDqbn8MePrzNLuhuYlBpnh5HJA/wdYz3g+liJapIXgPTGfP16tFOOcQNMisWikivCQSpVmfiNrl2Ca1AX6WOr+o9j6G3aSFQTQU4U6Dc8uiQhAaEVPoPLzx/s9JPIimp55Xk8DGZzI6sGchlvZXCjyCUaeStwb3v7djiWFDER3H8/8Aij0lkkimJKECQaQBTNQcnHSIyNPTTVo8UcbkvPCD42IjRZhLBBMquoljKODze9+fdJ4ZGCRpll4/n0pt7gFSmikv7K0PD59J6fFSCaPyCTwSeTRKwiYNFeKIumn1KoqBpCrybc8+9BWWMxMp1g8T/g6fQl0rJXXgH9v+rHQF960b0uG2/lIS6Cg3XQUzxRxKF8NaJPMFLWvUA06kBeDYWvf2S763hWZ150kUA8j0tsSGlWNM1H+AevQYRV8mO+SeDidv4fJuKjoHomeYGomTKbTqcW2Q0I4JVZ8CoCNzc2Jv9CkyO0sUpw7KB+VKdKI9RDBiag/6v9X8+lDtSOqipYIImklWiatpJD9CajE1lXRTWLFVVnaK/wCWAt7UWgWO5ZWqzIcj/V69VmBZe3II6FJJCGQ6nVwg/UynS8pi8crAqPQ0h0i9uf6+zlLoxEMuNRwKf4ekhtg4q9Sf9Xp6dKHG181IZjKjRTQtriLxzyOVXSSyorWjKqNBvcWPN/aj6hpJC7ihHn/sfb0jitV0trrQH5/s+XS8xm6QZYZ/Cni8aqraCkbsGHiVrsFRCP8AAHUP9h7Wx3Wka6fpGooONf8AZ6tMsRQRR/FT9v5dOS5+Ev4pKlVmlKT6o5BL45xL5CGL3Y+kWF7C3P8Ah7sLldJLnSa49eqRQ+HGVNQ2mnDh1YN/Lw3cuNg+QuwRKXjx+/sV2TjovEywx4reeIipa6rKqHdITlccL/jUbgc+8afeTbhBuCXrAF5VoG/yfLqVuRblZbWSOM0YHIOPSp6PxXbqkrHWKlSogo5mnjnyADrIzMraalbEvGqtYaSLkG39PcH/AAtpFCP5dD3w5EQuR5/y/wA/TSKvIwvH5IdBBbxzRQzWkCkp5yi3N3A9Skg/4ce6Zl7iVpU/bj06vBqWrAlQD6cc/wCf8+ltg9yZJp0WL7oNps37crxHkNq0sgWLyWFyf6e000cca6lqTUep/wCK6WxzSGUIFNK/y/1Y6FnG7jeJlWqkqJ52IJp1YuqOGJYAqPEoP0JN2v8Aj2Wy+MTkjz6XLIpepBBBJ+XVQX893alRur4pdMdjfa3HVvyFhxs0x9D0+J7e2Nl9vhGPp0xS7h2tRADTp16Tbn2L/b2QxXN1YIhkeWHVngNDayf2Cgp69J72MSRA/CFYEn7TQU+2v+DrXXXIyVu3KWuV1YVe3Gb0FEUTR0EkJEiEX1maj4J5YfT2Kp1KqyzUC6TTzpxx0JopfEto2xpIFB5/6j5db83U/YTbv6h6Y3K1Q88m4uoersqlw7gtVbDwHnlXSlzI0yEE/n6L9fcP3EMdrNIgwVk4jiT0TMHZyX/w/wAul+mYjxTNTyTCmzMwkeOGQqJqKihcCavmiYEGQGRfT+n+z7YqzETE0gpwPGvlg568qOkiSeY/1f6q9LPFbwqWRIZmqaesEetkjLAeBdJJniKssEsiMHK/QFgLgm3tmQqkR8OgkZs/ZTpQHkkNX8un5N0ecWZIq9C17y05UjTZiVlAjJ0N6bE3uPbXhoyaC2tvID/N1Y/CT1OiymMnDg05gKtovHIJEIuCTpkCmwN1+vHtNI5OG8unEVHT9MAMONfM+X+x1yllpGKshGiwUI6mLTe4GtHBDEfjn8fX36ORQoJYgA1686GPsJB6zLRRzLpj0qlgOQrJIbAWZQSFbyc2twT9fbuuM11V+X/F/wCTppaBqrxHUmXNUVlUu9S/6ZLeR09dwI2kOqFQTYDgG/Ht+K0aYdwopGPXpD4pT0p/q4dQTlBMB/kzonKpqSVLgNf/AHZpC6LD+xYjgX9qRt6IB4hqfIdXSbxSVI0kDj6/8V1AnczekSMZjeywrcliD6tbktZjb6C3t/WISFiStRk/6uPTJKEVZq8P9X+XqO22spUr5kxUwQSIRVVrrRLIy29cbzskrIGsRZGBPt1JZEOpAK/4ft6Suq0JyV+35dBX3FkKXr/qrtTdNfklkm251h2ZnJabHBz9vJjtkZyq8k9Q+iN5EmVSQq6rG/At7MbS4mmuFSYZFKAfb0njiXxImCnVrz/kHy60AtkRyTrgMfJG08bbcjq3SJmdWlTEwyFW4e7mre6jg/4W9yNPGhRlHAnh8uhVuCPHauiirEEDrch6F61yFH1F1VsigWkix+0NhbQw7GZamKMGiw1JV1iym6rpFZVyMzD6m9vYNvr20Rn7auuB/snoIC3uJHIalc/6vt6M1jOsc5NCI8eKElQzsHWVMeYS9y6NWeF49S2I8bAm359k5vxqpQafPPSyK3pFWlTWvz/L/iupY623rApjmrMPSwuZC0Dy/cU7AsCysZB56fycEuQVtxq9++sZmOBo8/mOnGX+Lj/g9OpVL1/noGBp58e0i6r0MlWZRIFuhNPVqbshAFlJP+HtZLcWhpoYB/5dNvHMiHUhLHh/kP2dPUe0MnURKpjjFQAdUflYSOQbMulUVpVHFrG/1PPtmC8hST9Ru70/CRXh9p681tdhFVFGrzNf8A6hVG2szSOIZMRVSAqQrpGHVQRcAultSiw5PIP+Pt4X9jLLrVuApT0z/qz0lNpdlxrGOH8+kVuCg3BUBqaHF1wp/q7pEXc6QAyoVcrKlgdSmxP459o7jcY5GMMWBUavnTz6MILJkzNmnAD0/wBX7OkHVYOvSJEq8ZUiNWRFf7eYNGoF2PkCFkIk+oNiPoQPaaM+JNrqNXl/xfSwI3aiD8Qx8ukzX4ypph6qeonpeVVikiSKWXhQTGVe30N78fj8+10c4iTJA1kYpn8/l1fwlD4+OmekfX0Bk5Ry8SLrBkSRFVBG6CKoVf3Y1MhABa68WBHHvcbMj1koIjxPTMkGuurNB6+Z9Ok+2PjWLTBJHFLpL1CVCxK5hijvqEoQKYS7voVRrsvI+ntaskWsKcxsa1+VP8nSMIqL4YHAVzx+fUBcVFL5qgTQxvqdkFNqVlYkBZWUOhKoqgW0XFufr7Uxx+Gh8SjxGtCP5f7PTAoKkmop1x8NZS8JIlbC8bSLILq9m41eNgFZCASfof6X9mCW6lCTRQKHpMWH+h4Gf2EUr1Xt8+VgGH6hkhUxFt0br8vqukiphKHSUppP3UGo6W/qPp7Jt2iDsjwZZicfKn+GvUl+2ySme4iduwUPr+zoimPrikkK6ipuNQIuAHCqUWxJBK2C2tp+hNj7BO4wRgs7gvTyGafl1P8AFMghEamqip/PpcRymSJvHOY4ppIyZXVibAaiAzDSY2TgaSRc8eyxo4wGoaH1/wBXl0drqIAHwkef7T1yeXWIwItJWONbrpJCN9VKPZE1KBxqYk88H3SGYiX9GjSg5A81Pp/h6buWeWHwz68fzr1lm8ngdI9SeWy2PGgXDSv9WGkBf9gb39rYg2okAEmvHy9erSNIYtKYA/Z1JEbiMEq0rSpceN11rTrdS9lAVhGGFyeFtf8Ar7QSuyVRnqaGlPXNP2deUFgDJl+FfL/V+fXRVIJ42/x0NYalbmwLJyEKSGwBIv8A4+6s0kVrI7rpZUFTStc+Q8qcePVtSwTk6ak0H2dSKdh56g6SAFOorcFPJHyiG301KSb2P59pmZ3dHdSyovpxrwx8j0ugOmobOa48+oCRs5lkWRVvqnLIQ31P6VVCWMpjIAuP1e1cMpkjEigr+Va8cfn5fn0imjJk1qezj8/n1PVVMLBXChtKsNFpdRUKL6RcsqXvaxufbQKTDWtVlcgGmCcevy88dK1qVDAUjpw8+udKuuDxqG0rMrvGCWAbWC51Bb/uKL/4MT705Ac2coOnw61+dOBPnXy4U61F4YgxjOK+X+CmfLrlAilnUksTG0iFkKAoNLIysxLa0bgji/tO+mZFKsQQMV+z/P1eOoYRk1Y1PDrCI2EiKurS7zHQzqL+m3CgE6SRyBwSfaiZoZIfps6xxI4cPTrdHBqaeHmvTdJpkVtI1O0lmUmzHS6MRIovpOn6WFj/ALD2riMXgqitkLnyrXHRdOZJO+M6akinlSnUWnQg0quNZSaZvLo0hg7yFYmQOV1KzWJIFv6e7uJ2kZ5cxsF4cQuePSSKSVZREQNHp59SGpz5WN3P7ThVS4vodQdKNcqLPyeL29tR+HDrZaGnEcSa8Kfz63NF+uAa6j6fyr/qz13JTqkUyRsRYxzFbAgsrhimmxZyI/pa4BP+HuyOscyNgStxB9PP9nStImELAcQT+3/Y6moLUr6oSg8UxFhZxoJ8Zsf7QZvwefoPbU6xRTySQghGBz8/QDpTZ1uLYiQ0K49K5rj166iZjoMmknSrOxOpdPBkCgaQhVje3PpFj9PbNsro48Nf0jxNfnny4+XT3xCrGnWKolAplSNgVklWa9lKsJZSupDcKLg/TkEi9j7pLGJEKrlg1dXp5DqszaUEQ4Hh/wAX1AqGto1WLRsGbSEHi1c2AcD1lW082ufxx7XpHAFDoP1tIDE+fRfMjFVElKLw6wRh45lRkZPIEWRCAXV5HbRrIX1rKFAJP4NuPb+gIqa1BByPs6YjdUlZUXitPz86fL/VXqXSs6Tya+ELRSMY1JcuEeOW3qP+cUC2m9yP6g+2J7mBEBaoU/LP2/Z8+nEEniKlFAIrj/Vjp5lsXP1a3le2lNKhgqllKWUmQDkngH+vtJdRqY/GNWNMDyP+xTpTK9CSHIYcPX7OvCUqVWMrHp0ARORxYqSWZTrY6xqsObf63tUHBiV4wBqFRqPA/wCXqtWTtUnA4+vWJJ1kqKVmY6klaMEOihizMqnQbcsUBF/qPqbn3XQstqY2Y+LWp+zz/nw+XVEmq6tJ2iv8+s0zHyhQdba2NlJJR7MzauQ2pY/pptdT/X2ntGFzG1MAHP2D5dWkQBzoJbNepRdWljGoSMqSARLpBN41U2A/bDIoAFvz/t/dBAZnDkq0daY/4vpTq1SDSMkEn9nTRWyBzpZHmfT6VlKpGmq4Bv6itwLki4Fr+zNIo/ozC5agYgY7fUA/5+i68YirS/EcD7PXqm7+ZjMH7A6rEbeSFOv85Jpcrf8Ad3TUD1C4DIzKCOOfqPeS/saG/cN5rILfVADFKCh/2esQvvEFH3yyWMGgt3x55Zcf5enH+WjuLG7Y7TzUeSnSipdxdc1KGaacQo81B/EY2n1vZPRT1/qVr8D+nuYTIv1yxVqyuT/NcdY8XUX+LiUgkBfyoOrz6Hce34KKlnrc5i6WTRFreWupAvkn1w0yiB5ld5vI4PHJUcWH0leCSBo0SZgHp9nQNYTCaSoOmmBTFK+R+zoPcluDak1XUVlNuLDzwrT1FJUQrVUrTRL6FMkaLI0YlM4DKEZn0G5+vvTXFtkeIvoMjOemvpp/GLxocKPsNfP8q9Il8rja+nNZjdyYesqImZhBTT0jEsY3pppdKSFlb9tSzHkfVuPdFmto1JVxwqTXzH+rh0oiguJGDOKAZ9PP/BjpDZPe+Ko3tla+jpY/NDVK0tXDC9MyqFmeCfWlFIsYQXOogBvox+hY15HITK7UWn5V/wA/S+W3nMaqONa19fl9nQQd07lwGf6sklxlbHubNYjsPrpMtt7EVcse45MBk9xxYjKVuBhhpq5pczE2QpQqpFIqLLrVSQAS7cjBcbbI8bAygCn+fpTYo8V4NdRUAfLjnpL1nT3yp3JuyrwuK+OPZ2O3XgquWnk21jussiNzYyXHIzPTZPJbjhSvkr6cTF2Mk8asZCQq3t7jtry7e7WIhlmUjSPKo4U6FM+3WsMJuZHJTHAcP9Vc9KHCU24utFyO3+7do1/XG6qTP1lRR4vd1KcVXZRqrRPkpjRNVz0tPFTVs3ieMStGzvcED2Jtqmuo5n+tTTIRX8+iK6SBAvgMXWmfWvTNkOy9rpO6wZalWKN31T08itSxEsLoHEkiMGYD63C8kH+hg99HrGrAz5+fDPy6SAN6HpNyd7bZp3ak/iEzep4YXCX8ZBdR4ai+iZZRcXJsWABH49ujcosqSfT5f8V1YxKqnUKV6wT964YxyCkqKxtJVIUhpnkeLkIgvyhCJzcgE/2bke7tuESjtJKcCf8ABTqqwCgYAUFemWXvFBLNWXrzBTWSSoeiqlAJa0gjkWHT+4lmDMQFF7m5t7aN+iMVY93HJ8unhEjDwyMnq2X+Vp2W3ZneW6Mrh8VXy4zG9E5jbnYNe9LUwYdK+h3DiavYZqKnQlM+VqFmqIxGTqZBqH0PuJPejdduu+XoIiw+tWYU9Rj/ADdDTkTb5o91kdBSA8fQ+n+qvV4tVBShJKeKKOnYXqYZGEYe00MZCi3Dv5ADptpJNjYj3jQ7tEDcJVkqQaH/AACmP59S+0UUkZRQUI8/z6zyZWqmCeQ00REYu0UIdppQArSRtLGVXyfQCxNr8j3r6iKJKw1Y1r+0+vTPhB2w2COPUGooHkIlM06ufzUS+NmHHMAQhCjMRpAAFuLe7tfk5IofP9vl1T6eTVSuPXrjR5iPESiPwTy1UfqZtX7KOZACJqpv2YXIt6QGbn8H2kdBpV2NA3+oft6dDKj1WpYYJ/PPRTP5lkFN2N8C/kttV9Vbn8Zs/Ddm4Cjg1EUOS6u3fgN4pUSLd5pKibEUVYiatTsjEgKv1E/JiTQcxwSN227AoxJphwVP/GSekF/MksTKrHUCP5GoxT161P8AbNZHLgKWmP0g+6poV5jEkMkj6AyyX/ycpUcfkA/429jm60uzANqXgfUH59CHaJ9dqASKpw+3rc++Bu9jnfiJ8ZMkJVyFVjun9sYwU6z6JFr9vCuwt9MjppjpxQhRpvpbk8e4p3LwzfTlCS4lIp9hIr/LpmWSkpLfCTj8/Lo42KrEareslp1nkmgJZ50/yiWRZmeQsb+uKCYDxhrqp5N7D2WvGrDTJkVrx68GXzrU8OhP2/Nj/H+4B5quTzSkzMH8cZZh9xJ6rJ+2WI4LDk8nguuoZGYyxmox9ladWBIOT0rJFoa1Y5aeM/clYwG1PJTzFzaOKeOMrrJDD1Aal+t+Le0ZR0aqH9UD8vn04JSDRaUpkcfz6b5sRkKZdVRTylY2AVYh9xS8gsqOYf3xYfQsNXH093ahlD1oAc/PHTrIqxVQjV1zgqEh1atUTqxVVhqZvHpI5UpOpk/3gf7H24zo9XcVYUp1aUEJrrU0FOnCHLNE7eAS6dfqLKnjD6bppYmM+o8/m9vr7eU2+v5EH7Ok9Cp8Nvt+z5dTKb/gO36/on/Fp/4D/Vf87/zd/p7M4f7Icfz6K2/3IX7R1zh/z0v+un/Aj6fok/zn+H/G/bg/tF+Lh/kP+r7erpxb/V5HoU8N/wAAI/8Ai1f2f+LP/wADf7X1/wBp/p/j7aT/AHI/2p+zpIOHWCv/AFSf8XH9Mn6/p+k/o/x/4m/vZ/tRx4fl/wAX043+4448T/gP+o9EC+a//ZKPyj/4uH/Mh+yf8z/wL/49PJ/76X/mxq9mu2/7lj/V+zryf2q/6df8nH/J8+tEtP8AgPQ/8fF/ntu/8el/xcf+LnjP+BH/AFZv+V3/AJse5ai+H/QvgPxf6U8fn6fOnQh3j+wHxcTw/L/Uet9brz/jzNk/8D/+PRw//Fw/4Gf8W5P+Lr/tf+q/2j3Dl/8A7lTf81H/AMP+qnRWn9mvwf5eh6ov+AkX6P0r/wACf0/5lf0/82f+OX+1eyP/AEST7R0/BxPDz65T/wCZi/R+sf8ALT6S/wDAL/m1/qv9pv7MoPhH2/5/9X29J7jieHl/qHy6YKv9B/zX6vx/wVv+An+1f8dP8b+0c39k32H/AA9Ox/CP9X+r5dOMX/AGD/O/n9P+f/H/AAG/2r+n+1e2n/s14/AP8Pl09/onnwPSrqP+LYP89+hv85/nf84P89/zd/46e9t8CfYPt4npmT+zPHy+3j/qr0zQ/wDAmX/Of8g/5v8As/r/AOb/APxHuz/2jcfh8+nv4eHD/VX5+vURv1Tf5j/Nn/gn62/z3+1f8R7dt+Dfl/l6dHxD7fz6Tsv1q/8Aix/5l/1/5v8AQn6P9r/p/jf2ql+Jfy+zz6ak+AcPPoLMl/wPj/49X+3+n9f6X+v/AEwf8df9j7em4r9g4cOHTfkPs6Q2a/z0P/HjfrP/AAH/AFfrH/AT/H+n+0+1Vr/bjj/Ztx6QXnwLx8/8B6CPLfWr/wCPF+rf8AP83+uf/Pf9Nf8Axr2d2/8AuGvx+fHpD/ofl8Pl9nSBf/Nx/wDFg/zn/KB/wO/U3+f/AObv9f8Aafa5/wDcaT4/Lj9g4fP/AGOmIv7T8j1XT/MI/wCLb1F+j/i+br/4J/xaaL6/77+vsivP9xhx4H/B1J/t5/a3HHh/m4fLog1D+iD/ADf1/t/X/NH9H+Hshb4pPs8+Pnx6nK08v8v5dLmD/Nwf5z/PR/X9H6h/mf8Amx/xz/2u/sPXXwydCb/Q/P8AL/J8+nRf82P+Dxfr+v8AwGf/ADf/AET7S2f9uv2Hh/k61Jx8uA+z/V69cv8AdVH9P+BL/X9P1P8Avj/j7MbH45ePn/hPH/L8+tyf2A+3y/1fs6kxf5n/AKf/AJ+n1/tf4/6r/D2WRf2g+HieP2n/AFHpg/B1zl/zh+n+cg+v6P8APj6/7T/0Vp9r5PgH+lP2fn8unP8ARRx4Dhx/4v8AyU67o/rVfr/H+a/X+iT/ADn+P/E397m+M8eHl+XDpTbf5/8AUesafj9P+aj/AE/5/wDU36/+bX+p/wAfdbX4fL4R/h8+mJ/Ljx8/8nTkv6H/AFf5pvr/AJ7/ADf+7P8Am5/X2lb+08vi6Vj+xHH8vs6xQ/oj/V/nH+v+c/4Df2f+i/8AkL2luP7f8fAfZw6u39iepA/s/o/zH/If61/R/tf/ABHvafB+3/B5dOR/FHw4jrBP9Kf/ADf+erP0fq/W36P+b39f9q93t/8Achvh+Dz48PL/AC9evviPHgeHDh01z/qk/V/mqv6/53/NQ/7x/qv8famL+0HwcfPh/q/y9FU3+4/5HqNB/nKT/ltN+n6/2f8Ak3+n+w9rrj/ch+Hl0htf7U/6X8+PTxJ/wMrv85/ml/z/ANPqPp/j/wAT7QJ/uQ/DivH4fy+fS5v7Vvy/1DqKn+Zl/T+g/wCZ/wCWg/V/tX9fd5P9yI/z/wAI/wBQ60P7OTjwPDrB/wAoP+7/APNVH+Y+n6/7f/Nz/Vf4e3b7+1X/AE469F/uGnH4+uNR+in/AMz/AMAl/R+n6S/7z/0Tf2pT+xfh5ceHH/D69P3v9h5/F5fb1Eqf83F/nv8AOp/mP+A/6X/3n/U/7Vb2Xp8J4fEOHDiett/Zpx+H8v8AV69Y4v1N/nf7P0/4OP8AO/8ATV/xPtbLwHw/D5fn0jl/sG48fz4/4PTrlF9az/gX9B/n/wDOfq/6G/1P+N/auT4o/h/sx9n+r16RRf2if6jw6cYP1r/nf0S/T6fok/X/ANF/429l0/8Atfxcfy4fLpSfjHxfl1K/sTfT6fj/AD36B/1i/wCifaVf9x/8/wDk6fPxjrHF+v8AP9n6/r/sf8Bv8P6f4e27T+xX/TnpYv8AaLx4ef2f6qdc5P8AOwf8t3/X9P8AkD/H+n+x9q2/H9nnw4ef+TpJJwPDj59SY/8AgQv6f0x/5v6/5pv+Tv6f4W9pdv8A9x/w8Tw4eXH5enSiTy/0v+TrnV/op/8AO/qP6fp/m3/R/wA3v+J1e7RcH+Ph5cPy63N+D/S9MGQ/z3+7v7P/AAH/AOWb/r/6K/2n2ax/7jL+fH/L8/8AZ6LL74m/P/UOqdf5k/8AzMPrD/wwsv8AT6/8fBP/AJr/AJt/0/2u/vJP2Q/5IN3/AM9Q+zh/h9esQ/fz/kuWnH/cd/t4p/q+zoLPin/x9+zfp9Kn9f6P+LRlv+B//Vi/5Xf+mfV7lEf8lX/m6P8AD1DC/wDJIPD+zPxdCdlf+Pin/wAz9P8Al8fX9Df8Av8AH/jn/wA27exhP/b/AOifCePDj5fL0+fQX/0McP8AJw/wdOOH/XT/APMuf1Tf8C/8x/uz/Of9NP8Aqf8AC3spP9mvxfEeHHj/AKv59MwcfPh59Leb6D/mVv8AwGP/ABZvr/wHf/Of9dP+bWr2rh8vj8/s6vH8f+r16e0/4sS/8yw/zQ/4+H/ix/oT6f8ANn/U/wCw9pbz/kntx+L/ADcOlT/CPy4/b5dM5/4GYf8A5kr/AMfFtX/j1v8Aj5/+L5if87/vvr4/ZfP/ALiP8X9mP8nW1+Nf9MP9X29OXxY/4u/yz/4vP+Z3b/x8P/A3/P76/X/za/46/wCx9kt//uXafFwX4eP5/P8Ay9CC0/3Ebj8X4vs/wdMXw6/5l1Tf8yz/AOLzP/x8v/Av/MU//AH/AJt/19iiX/c7/RP7MfZwH8/8vQZT/ROHxnjx/wBr/R9Oj3D/AI99/wDi1fom/wCLN/wG/tfT/mz/AKn/AA9lcv8AuWvx8PL7f8HSiP8As5Ph+Lz4/wCr/L0han9Mv/H4f5pf+LT/AJn9L/8AAf8A5s/0/wCbl/bw+Fvi4nh9nV5vw8Ph/P8AL/L8uk7k/wDgU3/M2/003+Y/4Ef2f+sn+p/xv78P7J/7X8/s6VWnwr/Zf2g4/wCrj6dCj0P/AMzn6z/4Hf8AF9n/AOZ/f8yG/wCLLlP+Zlf9WX/jj/02eP2DN+/3Ck/3J4j4eP8AxXp8+lEX+5I/sf7Tz/LrZO6K/wCZX1f/AGTt/wADh/2TN/x5H6x/xfP+r7/qP+bfvH7mj/c5f9y+P+jfDw8vn6dShsHGT+z4nhx8v5dLyu/zsn+Y/V/ur/P/AKP7P/Nj/ifYbT+zk+L4z9nQnl/sz8PxD/V9nUGn/wA2n+b/AOBsf+c/4E/5kf8AAn/aP9R/j7aHw9J/9DPD4/Lhx8v9XHrkfpXf8Dv81U/5v/Ofp/3V/tH9P8L+2ZeJ+LgeHSiTiP8AUePTW/8AwBpP+A/+YX6f8Bfx9f8Apo/p/tftQPhi4/h4/b/q/l1Rvgbh0Vrub/mW3d31/wCZXdm/8Xr/AIBf8eZmv+Lp/wBM3/HT/m3b2M9t/wBzoP8Amv8A8++fRRH8UnDy4/b1qVYL/iz0n0/4smN/X/m/0Uv++H+129iKD/c2f4f7Q8eHxHj8ujnav7Jv9L5f5Otuv+WP/wBkd/G36f8AHr7q/wA3/nf+Pnz36f8Amx/xy/5C9x7u3/JUm/07cOPE8emxxHDy+38urE8J9Kf9X+Zh/wA3/mf0z/q/x/r/ALV7KPxHqo+L8/L7OlHt/wDzkn6/8xUf539H6B+j/D/V/wCx96Hwj4eJ+zgf59UX/cr/AFenQ57b/wCBtL/wWX9H/Aj/ADT/AOa/5u/0/wAL+yk/Eft6MI+J+w/4P9X5dKH/AJSR/wACv8436f8Agg/V/tP9PbEvFeHxH7eHWxx8uP8Ak/1fl11mv803/Fr/AFL/AMDf+BH+bP8Amv8Aav8AiPej8Q+3q3SBH+fn/X+l/wDN/wDBIv1/7R/qf8Le1sfxjh8Pnw68Ov/Z"/>
          <p:cNvSpPr>
            <a:spLocks noChangeAspect="1" noChangeArrowheads="1"/>
          </p:cNvSpPr>
          <p:nvPr/>
        </p:nvSpPr>
        <p:spPr bwMode="auto">
          <a:xfrm>
            <a:off x="1602581" y="234571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156500" y="866215"/>
            <a:ext cx="2295000" cy="841442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Корпорация развития Дальнего Востока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719500" y="843558"/>
            <a:ext cx="2295000" cy="1350150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Корпорация развития Хабаровского края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170001" y="2313589"/>
            <a:ext cx="2295000" cy="744224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Агентство инвестиций и развития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19500" y="2965793"/>
            <a:ext cx="2295000" cy="1280145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Агентство по развитию человеческого капитала на Дальнем Востоке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458117" y="1383637"/>
            <a:ext cx="2254500" cy="185991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инжиниринга</a:t>
            </a: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Центр координации поддержки экспортно-ориентированных субъектов бизнеса</a:t>
            </a: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контрактации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62" indent="-214262" algn="just">
              <a:lnSpc>
                <a:spcPts val="1350"/>
              </a:lnSpc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йный фонд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458250" y="866214"/>
            <a:ext cx="2268000" cy="841442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Система поддержки малого бизнеса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698" name="Picture 2" descr="C:\Users\iaseredin\Desktop\Иван Алексеевич\ПИСЬМА\Япония\Поддержк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926" y="3268432"/>
            <a:ext cx="3147306" cy="1967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Скругленный прямоугольник 27"/>
          <p:cNvSpPr/>
          <p:nvPr/>
        </p:nvSpPr>
        <p:spPr>
          <a:xfrm>
            <a:off x="1178107" y="3890434"/>
            <a:ext cx="2268000" cy="116559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dkEdge">
            <a:bevelT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64" tIns="34288" rIns="68564" bIns="34288" rtlCol="0" anchor="b"/>
          <a:lstStyle/>
          <a:p>
            <a:pPr algn="ctr">
              <a:lnSpc>
                <a:spcPts val="1350"/>
              </a:lnSpc>
            </a:pPr>
            <a:r>
              <a:rPr lang="ru-RU" sz="1200" b="1" spc="-4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финансирования инвестиционных проектов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157858" y="3673501"/>
            <a:ext cx="2295000" cy="744224"/>
          </a:xfrm>
          <a:prstGeom prst="roundRect">
            <a:avLst/>
          </a:prstGeom>
          <a:gradFill flip="none" rotWithShape="1">
            <a:gsLst>
              <a:gs pos="0">
                <a:srgbClr val="0066FF">
                  <a:shade val="30000"/>
                  <a:satMod val="115000"/>
                </a:srgbClr>
              </a:gs>
              <a:gs pos="50000">
                <a:srgbClr val="0066FF">
                  <a:shade val="67500"/>
                  <a:satMod val="115000"/>
                </a:srgbClr>
              </a:gs>
              <a:gs pos="100000">
                <a:srgbClr val="0066FF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64" tIns="34288" rIns="68564" bIns="34288" rtlCol="0" anchor="ctr"/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Фонд развития Дальнего Востока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4006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6348"/>
            <a:ext cx="6858000" cy="73068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1547678" y="482119"/>
            <a:ext cx="5966521" cy="30007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71" tIns="34288" rIns="68571" bIns="34288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sz="2400" b="1" dirty="0">
                <a:solidFill>
                  <a:prstClr val="white"/>
                </a:solidFill>
              </a:rPr>
              <a:t>Информационные ресурсы для инвесторов</a:t>
            </a:r>
          </a:p>
        </p:txBody>
      </p:sp>
      <p:sp>
        <p:nvSpPr>
          <p:cNvPr id="37" name="Выноска 2 36"/>
          <p:cNvSpPr/>
          <p:nvPr/>
        </p:nvSpPr>
        <p:spPr>
          <a:xfrm>
            <a:off x="1394413" y="843558"/>
            <a:ext cx="2448142" cy="1296144"/>
          </a:xfrm>
          <a:prstGeom prst="borderCallout2">
            <a:avLst>
              <a:gd name="adj1" fmla="val 47709"/>
              <a:gd name="adj2" fmla="val 100572"/>
              <a:gd name="adj3" fmla="val 48390"/>
              <a:gd name="adj4" fmla="val 100551"/>
              <a:gd name="adj5" fmla="val 47227"/>
              <a:gd name="adj6" fmla="val 100250"/>
            </a:avLst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8" rIns="68571" bIns="34288" rtlCol="0" anchor="ctr"/>
          <a:lstStyle/>
          <a:p>
            <a:pPr algn="ctr">
              <a:lnSpc>
                <a:spcPts val="1875"/>
              </a:lnSpc>
            </a:pPr>
            <a:r>
              <a:rPr lang="ru-RU" sz="2100" b="1" dirty="0">
                <a:solidFill>
                  <a:prstClr val="white"/>
                </a:solidFill>
              </a:rPr>
              <a:t>Официальный информационный ресурс Хабаровского края</a:t>
            </a:r>
          </a:p>
          <a:p>
            <a:pPr algn="ctr">
              <a:lnSpc>
                <a:spcPts val="1875"/>
              </a:lnSpc>
            </a:pPr>
            <a:r>
              <a:rPr lang="en-US" sz="2100" b="1" dirty="0">
                <a:solidFill>
                  <a:prstClr val="white"/>
                </a:solidFill>
              </a:rPr>
              <a:t>khabkrai.ru</a:t>
            </a:r>
          </a:p>
        </p:txBody>
      </p:sp>
      <p:sp>
        <p:nvSpPr>
          <p:cNvPr id="38" name="Выноска 2 37"/>
          <p:cNvSpPr/>
          <p:nvPr/>
        </p:nvSpPr>
        <p:spPr>
          <a:xfrm>
            <a:off x="1394403" y="2238680"/>
            <a:ext cx="2473859" cy="1231751"/>
          </a:xfrm>
          <a:prstGeom prst="borderCallout2">
            <a:avLst>
              <a:gd name="adj1" fmla="val 47544"/>
              <a:gd name="adj2" fmla="val 100211"/>
              <a:gd name="adj3" fmla="val 47766"/>
              <a:gd name="adj4" fmla="val 99162"/>
              <a:gd name="adj5" fmla="val 48775"/>
              <a:gd name="adj6" fmla="val 99173"/>
            </a:avLst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8" rIns="68571" bIns="34288" rtlCol="0" anchor="ctr"/>
          <a:lstStyle/>
          <a:p>
            <a:pPr algn="ctr">
              <a:lnSpc>
                <a:spcPts val="1875"/>
              </a:lnSpc>
            </a:pPr>
            <a:r>
              <a:rPr lang="ru-RU" sz="2100" b="1" dirty="0">
                <a:solidFill>
                  <a:prstClr val="white"/>
                </a:solidFill>
              </a:rPr>
              <a:t>Инвестиционный портал </a:t>
            </a:r>
            <a:r>
              <a:rPr lang="en-US" sz="2100" b="1" dirty="0">
                <a:solidFill>
                  <a:prstClr val="white"/>
                </a:solidFill>
              </a:rPr>
              <a:t>invest.khv.gov.ru</a:t>
            </a:r>
          </a:p>
        </p:txBody>
      </p:sp>
      <p:sp>
        <p:nvSpPr>
          <p:cNvPr id="21" name="Выноска 2 20"/>
          <p:cNvSpPr/>
          <p:nvPr/>
        </p:nvSpPr>
        <p:spPr>
          <a:xfrm>
            <a:off x="1394402" y="3543885"/>
            <a:ext cx="2490509" cy="1347484"/>
          </a:xfrm>
          <a:prstGeom prst="borderCallout2">
            <a:avLst>
              <a:gd name="adj1" fmla="val 50130"/>
              <a:gd name="adj2" fmla="val 100766"/>
              <a:gd name="adj3" fmla="val 51645"/>
              <a:gd name="adj4" fmla="val 100177"/>
              <a:gd name="adj5" fmla="val 51820"/>
              <a:gd name="adj6" fmla="val 100727"/>
            </a:avLst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8" rIns="68571" bIns="34288" rtlCol="0" anchor="ctr"/>
          <a:lstStyle/>
          <a:p>
            <a:pPr algn="ctr">
              <a:lnSpc>
                <a:spcPts val="1875"/>
              </a:lnSpc>
            </a:pPr>
            <a:r>
              <a:rPr lang="ru-RU" sz="2100" b="1" dirty="0">
                <a:solidFill>
                  <a:prstClr val="white"/>
                </a:solidFill>
              </a:rPr>
              <a:t>Инвестиционное агентство </a:t>
            </a:r>
            <a:r>
              <a:rPr lang="ru-RU" sz="2100" b="1" dirty="0" smtClean="0">
                <a:solidFill>
                  <a:prstClr val="white"/>
                </a:solidFill>
              </a:rPr>
              <a:t>               </a:t>
            </a:r>
            <a:r>
              <a:rPr lang="en-US" sz="2100" b="1" dirty="0" smtClean="0">
                <a:solidFill>
                  <a:prstClr val="white"/>
                </a:solidFill>
              </a:rPr>
              <a:t>khabkrai-invest.ru</a:t>
            </a:r>
            <a:endParaRPr lang="ru-RU" sz="2100" b="1" dirty="0">
              <a:solidFill>
                <a:prstClr val="white"/>
              </a:solidFill>
            </a:endParaRPr>
          </a:p>
        </p:txBody>
      </p:sp>
      <p:pic>
        <p:nvPicPr>
          <p:cNvPr id="2053" name="Picture 5" descr="C:\Documents and Settings\PopovichBV\Рабочий стол\2016-02-12 12-37-34 Скриншот экрана1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6" t="8737" r="8753" b="44099"/>
          <a:stretch/>
        </p:blipFill>
        <p:spPr bwMode="auto">
          <a:xfrm>
            <a:off x="3923928" y="854877"/>
            <a:ext cx="3974720" cy="1289099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2054" name="Picture 6" descr="C:\Documents and Settings\PopovichBV\Рабочий стол\2016-02-12 13-38-33 Скриншот экрана333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r="4564" b="30475"/>
          <a:stretch/>
        </p:blipFill>
        <p:spPr bwMode="auto">
          <a:xfrm>
            <a:off x="3954541" y="3543858"/>
            <a:ext cx="3944106" cy="135015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38" b="13719"/>
          <a:stretch/>
        </p:blipFill>
        <p:spPr>
          <a:xfrm>
            <a:off x="3937171" y="2245461"/>
            <a:ext cx="3961476" cy="1235363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691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289" y="-19047"/>
            <a:ext cx="7004071" cy="85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extBox 4"/>
          <p:cNvSpPr txBox="1">
            <a:spLocks noChangeArrowheads="1"/>
          </p:cNvSpPr>
          <p:nvPr/>
        </p:nvSpPr>
        <p:spPr bwMode="auto">
          <a:xfrm>
            <a:off x="1581478" y="450354"/>
            <a:ext cx="5787628" cy="389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8" rIns="68564" bIns="342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ts val="2475"/>
              </a:lnSpc>
              <a:defRPr/>
            </a:pPr>
            <a:r>
              <a:rPr lang="ru-RU" altLang="ru-RU" sz="2400" b="1" dirty="0">
                <a:solidFill>
                  <a:prstClr val="white"/>
                </a:solidFill>
                <a:latin typeface="Calibri"/>
              </a:rPr>
              <a:t>Динамика развития ТОСЭР</a:t>
            </a:r>
            <a:endParaRPr lang="ru-RU" altLang="ru-RU" sz="2400" b="1" dirty="0">
              <a:solidFill>
                <a:srgbClr val="1F497D"/>
              </a:solidFill>
              <a:latin typeface="Calibri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873836440"/>
              </p:ext>
            </p:extLst>
          </p:nvPr>
        </p:nvGraphicFramePr>
        <p:xfrm>
          <a:off x="1344502" y="958074"/>
          <a:ext cx="6629644" cy="41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453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5" r="17842"/>
          <a:stretch/>
        </p:blipFill>
        <p:spPr bwMode="auto">
          <a:xfrm>
            <a:off x="1259137" y="1354355"/>
            <a:ext cx="2049215" cy="121739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Прямоугольник 51"/>
          <p:cNvSpPr/>
          <p:nvPr/>
        </p:nvSpPr>
        <p:spPr>
          <a:xfrm>
            <a:off x="1303097" y="2211475"/>
            <a:ext cx="782631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FF0000"/>
                </a:solidFill>
                <a:latin typeface="Calibri"/>
              </a:rPr>
              <a:t>62,2 га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259137" y="1081364"/>
            <a:ext cx="2049215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1800" b="1" dirty="0" err="1">
                <a:solidFill>
                  <a:prstClr val="white"/>
                </a:solidFill>
                <a:latin typeface="Calibri"/>
              </a:rPr>
              <a:t>Амурлитмаш</a:t>
            </a:r>
            <a:endParaRPr lang="ru-RU" sz="1800" b="1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3" r="6410"/>
          <a:stretch/>
        </p:blipFill>
        <p:spPr bwMode="auto">
          <a:xfrm>
            <a:off x="3490275" y="1354361"/>
            <a:ext cx="2163475" cy="121739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3490273" y="1081364"/>
            <a:ext cx="2163475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1800" b="1" dirty="0">
                <a:solidFill>
                  <a:prstClr val="white"/>
                </a:solidFill>
                <a:latin typeface="Calibri"/>
              </a:rPr>
              <a:t>Парус</a:t>
            </a:r>
          </a:p>
        </p:txBody>
      </p:sp>
      <p:pic>
        <p:nvPicPr>
          <p:cNvPr id="57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6" r="17685"/>
          <a:stretch/>
        </p:blipFill>
        <p:spPr bwMode="auto">
          <a:xfrm>
            <a:off x="5827020" y="1351447"/>
            <a:ext cx="2051524" cy="122030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5919190" y="2203813"/>
            <a:ext cx="875612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FF0000"/>
                </a:solidFill>
                <a:latin typeface="Calibri"/>
              </a:rPr>
              <a:t>94,1 га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827023" y="1086518"/>
            <a:ext cx="2035091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1800" b="1" dirty="0">
                <a:solidFill>
                  <a:prstClr val="white"/>
                </a:solidFill>
                <a:latin typeface="Calibri"/>
              </a:rPr>
              <a:t>Амурск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237577" y="4418833"/>
            <a:ext cx="6640962" cy="208352"/>
          </a:xfrm>
          <a:prstGeom prst="rect">
            <a:avLst/>
          </a:prstGeom>
          <a:solidFill>
            <a:schemeClr val="bg1">
              <a:lumMod val="75000"/>
              <a:alpha val="39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/>
            <a:endParaRPr lang="ru-RU" sz="1800" b="1" dirty="0">
              <a:solidFill>
                <a:srgbClr val="013A87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67803" y="2203813"/>
            <a:ext cx="782631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FF0000"/>
                </a:solidFill>
                <a:latin typeface="Calibri"/>
              </a:rPr>
              <a:t>59,3 га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90273" y="2571751"/>
            <a:ext cx="2163475" cy="1749846"/>
          </a:xfrm>
          <a:prstGeom prst="rect">
            <a:avLst/>
          </a:prstGeom>
          <a:solidFill>
            <a:schemeClr val="bg1">
              <a:lumMod val="50000"/>
              <a:alpha val="17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404040"/>
                </a:solidFill>
                <a:latin typeface="Calibri"/>
              </a:rPr>
              <a:t>Специализация: 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Машиностроение, пищевая промышленность </a:t>
            </a: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013A87"/>
                </a:solidFill>
                <a:latin typeface="Calibri"/>
              </a:rPr>
              <a:t>и другие</a:t>
            </a:r>
            <a:endParaRPr lang="ru-RU" sz="1800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404040"/>
                </a:solidFill>
                <a:latin typeface="Calibri"/>
              </a:rPr>
              <a:t>Тип –</a:t>
            </a:r>
            <a:r>
              <a:rPr lang="ru-RU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 </a:t>
            </a:r>
            <a:r>
              <a:rPr lang="en-US" sz="1800" b="1" dirty="0">
                <a:solidFill>
                  <a:srgbClr val="013A87"/>
                </a:solidFill>
                <a:latin typeface="Calibri"/>
              </a:rPr>
              <a:t>greenfield</a:t>
            </a:r>
            <a:endParaRPr lang="ru-RU" sz="1800" b="1" dirty="0">
              <a:solidFill>
                <a:srgbClr val="013A87"/>
              </a:solidFill>
              <a:latin typeface="Calibri"/>
            </a:endParaRPr>
          </a:p>
          <a:p>
            <a:pPr defTabSz="685781">
              <a:lnSpc>
                <a:spcPts val="1145"/>
              </a:lnSpc>
            </a:pPr>
            <a:endParaRPr lang="ru-RU" b="1" dirty="0">
              <a:solidFill>
                <a:srgbClr val="013A87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827023" y="2571751"/>
            <a:ext cx="2035091" cy="1749846"/>
          </a:xfrm>
          <a:prstGeom prst="rect">
            <a:avLst/>
          </a:prstGeom>
          <a:solidFill>
            <a:schemeClr val="bg1">
              <a:lumMod val="50000"/>
              <a:alpha val="17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Специализация: 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Лесопереработка </a:t>
            </a: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013A87"/>
                </a:solidFill>
                <a:latin typeface="Calibri"/>
              </a:rPr>
              <a:t>и другие</a:t>
            </a:r>
          </a:p>
          <a:p>
            <a:pPr defTabSz="685781">
              <a:lnSpc>
                <a:spcPts val="1334"/>
              </a:lnSpc>
            </a:pPr>
            <a:endParaRPr lang="ru-RU" sz="1800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334"/>
              </a:lnSpc>
            </a:pPr>
            <a:endParaRPr lang="ru-RU" sz="1800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404040"/>
                </a:solidFill>
                <a:latin typeface="Calibri"/>
              </a:rPr>
              <a:t>Тип 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–  </a:t>
            </a:r>
            <a:r>
              <a:rPr lang="en-US" sz="1800" b="1" dirty="0">
                <a:solidFill>
                  <a:srgbClr val="013A87"/>
                </a:solidFill>
                <a:latin typeface="Calibri"/>
              </a:rPr>
              <a:t>brownfield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 +</a:t>
            </a: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013A87"/>
                </a:solidFill>
                <a:latin typeface="Calibri"/>
              </a:rPr>
              <a:t>            </a:t>
            </a:r>
            <a:r>
              <a:rPr lang="en-US" sz="1800" b="1" dirty="0">
                <a:solidFill>
                  <a:srgbClr val="013A87"/>
                </a:solidFill>
                <a:latin typeface="Calibri"/>
              </a:rPr>
              <a:t>greenfield</a:t>
            </a:r>
            <a:endParaRPr lang="ru-RU" sz="1800" b="1" dirty="0">
              <a:solidFill>
                <a:srgbClr val="013A87"/>
              </a:solidFill>
              <a:latin typeface="Calibri"/>
            </a:endParaRPr>
          </a:p>
          <a:p>
            <a:pPr algn="ctr" defTabSz="685781">
              <a:lnSpc>
                <a:spcPts val="1334"/>
              </a:lnSpc>
            </a:pPr>
            <a:endParaRPr lang="ru-RU" sz="1800" b="1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259137" y="2571751"/>
            <a:ext cx="2049215" cy="1749846"/>
          </a:xfrm>
          <a:prstGeom prst="rect">
            <a:avLst/>
          </a:prstGeom>
          <a:solidFill>
            <a:schemeClr val="bg1">
              <a:lumMod val="50000"/>
              <a:alpha val="17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Специализация:</a:t>
            </a:r>
            <a:r>
              <a:rPr lang="ru-RU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 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Машиностроение </a:t>
            </a: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srgbClr val="013A87"/>
                </a:solidFill>
                <a:latin typeface="Calibri"/>
              </a:rPr>
              <a:t>и другие</a:t>
            </a:r>
          </a:p>
          <a:p>
            <a:pPr defTabSz="685781">
              <a:lnSpc>
                <a:spcPts val="1334"/>
              </a:lnSpc>
            </a:pPr>
            <a:endParaRPr lang="ru-RU" sz="1800" b="1" dirty="0">
              <a:solidFill>
                <a:srgbClr val="C00000"/>
              </a:solidFill>
              <a:latin typeface="Calibri"/>
            </a:endParaRPr>
          </a:p>
          <a:p>
            <a:pPr defTabSz="685781">
              <a:lnSpc>
                <a:spcPts val="1334"/>
              </a:lnSpc>
            </a:pPr>
            <a:endParaRPr lang="ru-RU" sz="1800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334"/>
              </a:lnSpc>
            </a:pPr>
            <a:r>
              <a:rPr lang="ru-RU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Тип</a:t>
            </a:r>
            <a:r>
              <a:rPr lang="ru-RU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 </a:t>
            </a:r>
            <a:r>
              <a:rPr lang="ru-RU" sz="1800" b="1" dirty="0">
                <a:solidFill>
                  <a:srgbClr val="013A87"/>
                </a:solidFill>
                <a:latin typeface="Calibri"/>
              </a:rPr>
              <a:t>– </a:t>
            </a:r>
            <a:r>
              <a:rPr lang="en-US" sz="1800" b="1" dirty="0">
                <a:solidFill>
                  <a:srgbClr val="013A87"/>
                </a:solidFill>
                <a:latin typeface="Calibri"/>
              </a:rPr>
              <a:t>brownfield</a:t>
            </a:r>
            <a:endParaRPr lang="ru-RU" sz="1800" b="1" dirty="0">
              <a:solidFill>
                <a:srgbClr val="013A87"/>
              </a:solidFill>
              <a:latin typeface="Calibri"/>
            </a:endParaRPr>
          </a:p>
          <a:p>
            <a:pPr algn="ctr" defTabSz="685781">
              <a:lnSpc>
                <a:spcPts val="1334"/>
              </a:lnSpc>
              <a:spcBef>
                <a:spcPts val="430"/>
              </a:spcBef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</a:endParaRPr>
          </a:p>
        </p:txBody>
      </p:sp>
      <p:pic>
        <p:nvPicPr>
          <p:cNvPr id="18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520685" y="485845"/>
            <a:ext cx="6102626" cy="273976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2100" b="1" dirty="0">
                <a:solidFill>
                  <a:schemeClr val="bg1"/>
                </a:solidFill>
                <a:latin typeface="Calibri"/>
              </a:rPr>
              <a:t>Площадки ТОСЭР «Комсомольск»</a:t>
            </a:r>
          </a:p>
        </p:txBody>
      </p:sp>
    </p:spTree>
    <p:extLst>
      <p:ext uri="{BB962C8B-B14F-4D97-AF65-F5344CB8AC3E}">
        <p14:creationId xmlns:p14="http://schemas.microsoft.com/office/powerpoint/2010/main" val="72966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трелка вверх 9"/>
          <p:cNvSpPr/>
          <p:nvPr/>
        </p:nvSpPr>
        <p:spPr>
          <a:xfrm rot="5400000">
            <a:off x="2977875" y="2831348"/>
            <a:ext cx="2540750" cy="293379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1646" tIns="45823" rIns="91646" bIns="45823">
            <a:spAutoFit/>
          </a:bodyPr>
          <a:lstStyle/>
          <a:p>
            <a:pPr algn="r" defTabSz="685781">
              <a:lnSpc>
                <a:spcPts val="1003"/>
              </a:lnSpc>
              <a:spcBef>
                <a:spcPts val="430"/>
              </a:spcBef>
            </a:pPr>
            <a:endParaRPr lang="ru-RU" sz="1100" b="1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с одним скругленным углом 27"/>
          <p:cNvSpPr/>
          <p:nvPr/>
        </p:nvSpPr>
        <p:spPr>
          <a:xfrm>
            <a:off x="4619389" y="1177541"/>
            <a:ext cx="3199164" cy="3698875"/>
          </a:xfrm>
          <a:prstGeom prst="round1Rect">
            <a:avLst>
              <a:gd name="adj" fmla="val 13153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/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27" name="Прямоугольник с одним скругленным углом 26"/>
          <p:cNvSpPr/>
          <p:nvPr/>
        </p:nvSpPr>
        <p:spPr>
          <a:xfrm rot="10800000">
            <a:off x="1305035" y="1177541"/>
            <a:ext cx="2535349" cy="3698875"/>
          </a:xfrm>
          <a:prstGeom prst="round1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/>
            <a:endParaRPr lang="ru-RU" sz="1600">
              <a:solidFill>
                <a:prstClr val="whit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63488" y="1321555"/>
            <a:ext cx="1742501" cy="14689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extBox 19"/>
          <p:cNvSpPr txBox="1"/>
          <p:nvPr/>
        </p:nvSpPr>
        <p:spPr>
          <a:xfrm>
            <a:off x="1259900" y="772718"/>
            <a:ext cx="6741124" cy="290583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2100" b="1" dirty="0" smtClean="0">
                <a:solidFill>
                  <a:schemeClr val="accent1"/>
                </a:solidFill>
                <a:latin typeface="Calibri"/>
              </a:rPr>
              <a:t>ТОСЭР </a:t>
            </a:r>
            <a:r>
              <a:rPr lang="ru-RU" sz="2100" b="1" dirty="0">
                <a:solidFill>
                  <a:schemeClr val="accent1"/>
                </a:solidFill>
                <a:latin typeface="Calibri"/>
              </a:rPr>
              <a:t>«Комсомольск»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227" y="2872376"/>
            <a:ext cx="1742501" cy="9172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234" y="1337261"/>
            <a:ext cx="2477049" cy="14862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954" y="3121814"/>
            <a:ext cx="2423609" cy="14532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496" y="3826035"/>
            <a:ext cx="1742240" cy="949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1494481" y="1321550"/>
            <a:ext cx="296600" cy="3453822"/>
          </a:xfrm>
          <a:prstGeom prst="rect">
            <a:avLst/>
          </a:prstGeom>
          <a:noFill/>
        </p:spPr>
        <p:txBody>
          <a:bodyPr vert="vert270" wrap="square" lIns="55426" tIns="27713" rIns="55426" bIns="27713" rtlCol="0">
            <a:spAutoFit/>
          </a:bodyPr>
          <a:lstStyle/>
          <a:p>
            <a:pPr algn="ctr" defTabSz="685781"/>
            <a:r>
              <a:rPr lang="ru-RU" sz="1200" b="1" dirty="0">
                <a:solidFill>
                  <a:prstClr val="white"/>
                </a:solidFill>
                <a:latin typeface="Calibri"/>
              </a:rPr>
              <a:t>ЗАВОД ПО ПРОИЗВОДСТВУ КОМПЛЕКТУЮЩИХ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324356" y="1337259"/>
            <a:ext cx="296600" cy="3539156"/>
          </a:xfrm>
          <a:prstGeom prst="rect">
            <a:avLst/>
          </a:prstGeom>
          <a:noFill/>
        </p:spPr>
        <p:txBody>
          <a:bodyPr vert="vert270" wrap="square" lIns="55426" tIns="27713" rIns="55426" bIns="27713" rtlCol="0">
            <a:spAutoFit/>
          </a:bodyPr>
          <a:lstStyle/>
          <a:p>
            <a:pPr algn="ctr" defTabSz="685781"/>
            <a:r>
              <a:rPr lang="ru-RU" sz="1200" b="1" dirty="0">
                <a:solidFill>
                  <a:prstClr val="white"/>
                </a:solidFill>
                <a:latin typeface="Calibri"/>
              </a:rPr>
              <a:t>ПРЕДПРИЯТИЯ АВИА И СУДОСТРОЕНИЯ</a:t>
            </a:r>
          </a:p>
        </p:txBody>
      </p:sp>
      <p:pic>
        <p:nvPicPr>
          <p:cNvPr id="16" name="Рисунок 6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43000" y="429120"/>
            <a:ext cx="6858000" cy="599578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>
            <a:defPPr>
              <a:defRPr lang="ru-RU"/>
            </a:defPPr>
            <a:lvl1pPr>
              <a:lnSpc>
                <a:spcPts val="2000"/>
              </a:lnSpc>
              <a:defRPr sz="2800" b="1">
                <a:solidFill>
                  <a:srgbClr val="0070C0"/>
                </a:solidFill>
              </a:defRPr>
            </a:lvl1pPr>
          </a:lstStyle>
          <a:p>
            <a:pPr algn="ctr" defTabSz="685781"/>
            <a:r>
              <a:rPr lang="ru-RU" sz="2400" dirty="0">
                <a:solidFill>
                  <a:schemeClr val="bg1"/>
                </a:solidFill>
                <a:latin typeface="Calibri"/>
              </a:rPr>
              <a:t>Инвестиционные </a:t>
            </a:r>
            <a:r>
              <a:rPr lang="ru-RU" sz="2400" dirty="0" smtClean="0">
                <a:solidFill>
                  <a:schemeClr val="bg1"/>
                </a:solidFill>
                <a:latin typeface="Calibri"/>
              </a:rPr>
              <a:t>проекты площадки </a:t>
            </a:r>
            <a:r>
              <a:rPr lang="ru-RU" sz="2400" dirty="0">
                <a:solidFill>
                  <a:schemeClr val="bg1"/>
                </a:solidFill>
                <a:latin typeface="Calibri"/>
              </a:rPr>
              <a:t>«Парус</a:t>
            </a:r>
            <a:r>
              <a:rPr lang="ru-RU" sz="2400" dirty="0" smtClean="0">
                <a:solidFill>
                  <a:schemeClr val="bg1"/>
                </a:solidFill>
                <a:latin typeface="Calibri"/>
              </a:rPr>
              <a:t>»</a:t>
            </a:r>
          </a:p>
          <a:p>
            <a:pPr algn="ctr" defTabSz="685781"/>
            <a:endParaRPr lang="ru-RU" dirty="0">
              <a:solidFill>
                <a:schemeClr val="bg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6389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Объект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049027"/>
            <a:ext cx="6858000" cy="3828567"/>
          </a:xfrm>
          <a:prstGeom prst="roundRect">
            <a:avLst>
              <a:gd name="adj" fmla="val 1305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1471130" y="1757579"/>
            <a:ext cx="1561148" cy="2623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r>
              <a:rPr lang="ru-RU" sz="2000" b="1" spc="153" dirty="0">
                <a:ln w="3175" cmpd="sng">
                  <a:solidFill>
                    <a:srgbClr val="EEECE1">
                      <a:lumMod val="75000"/>
                    </a:srgbClr>
                  </a:solidFill>
                  <a:prstDash val="solid"/>
                </a:ln>
                <a:solidFill>
                  <a:srgbClr val="EEECE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РОССИЯ</a:t>
            </a:r>
          </a:p>
        </p:txBody>
      </p:sp>
      <p:grpSp>
        <p:nvGrpSpPr>
          <p:cNvPr id="2" name="Группа 17"/>
          <p:cNvGrpSpPr/>
          <p:nvPr/>
        </p:nvGrpSpPr>
        <p:grpSpPr>
          <a:xfrm>
            <a:off x="1587849" y="1277636"/>
            <a:ext cx="483734" cy="429867"/>
            <a:chOff x="708660" y="1588765"/>
            <a:chExt cx="902970" cy="891550"/>
          </a:xfrm>
        </p:grpSpPr>
        <p:grpSp>
          <p:nvGrpSpPr>
            <p:cNvPr id="3" name="Группа 12"/>
            <p:cNvGrpSpPr/>
            <p:nvPr/>
          </p:nvGrpSpPr>
          <p:grpSpPr>
            <a:xfrm>
              <a:off x="880110" y="1754505"/>
              <a:ext cx="560070" cy="560070"/>
              <a:chOff x="3154680" y="2800350"/>
              <a:chExt cx="914400" cy="914400"/>
            </a:xfrm>
          </p:grpSpPr>
          <p:sp>
            <p:nvSpPr>
              <p:cNvPr id="11" name="8-конечная звезда 10"/>
              <p:cNvSpPr/>
              <p:nvPr/>
            </p:nvSpPr>
            <p:spPr>
              <a:xfrm>
                <a:off x="3154680" y="2800350"/>
                <a:ext cx="914400" cy="914400"/>
              </a:xfrm>
              <a:prstGeom prst="star8">
                <a:avLst>
                  <a:gd name="adj" fmla="val 16250"/>
                </a:avLst>
              </a:prstGeom>
              <a:solidFill>
                <a:schemeClr val="bg1">
                  <a:alpha val="35000"/>
                </a:schemeClr>
              </a:solidFill>
              <a:ln>
                <a:solidFill>
                  <a:schemeClr val="tx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1"/>
                <a:endParaRPr lang="ru-RU" sz="160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4-конечная звезда 11"/>
              <p:cNvSpPr/>
              <p:nvPr/>
            </p:nvSpPr>
            <p:spPr>
              <a:xfrm>
                <a:off x="3154680" y="2800350"/>
                <a:ext cx="914400" cy="914400"/>
              </a:xfrm>
              <a:prstGeom prst="star4">
                <a:avLst/>
              </a:prstGeom>
              <a:solidFill>
                <a:schemeClr val="bg1">
                  <a:alpha val="35000"/>
                </a:schemeClr>
              </a:solidFill>
              <a:ln>
                <a:solidFill>
                  <a:schemeClr val="tx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1"/>
                <a:endParaRPr lang="ru-RU" sz="16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1074420" y="1588765"/>
              <a:ext cx="171450" cy="1657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r>
                <a:rPr lang="ru-RU" sz="800" b="1" dirty="0">
                  <a:ln w="3175" cmpd="sng">
                    <a:noFill/>
                    <a:prstDash val="solid"/>
                  </a:ln>
                  <a:solidFill>
                    <a:prstClr val="white">
                      <a:alpha val="50000"/>
                    </a:prstClr>
                  </a:solidFill>
                </a:rPr>
                <a:t>С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074420" y="2314575"/>
              <a:ext cx="171450" cy="1657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r>
                <a:rPr lang="ru-RU" sz="800" b="1" dirty="0">
                  <a:ln w="3175" cmpd="sng">
                    <a:noFill/>
                    <a:prstDash val="solid"/>
                  </a:ln>
                  <a:solidFill>
                    <a:prstClr val="white">
                      <a:alpha val="50000"/>
                    </a:prstClr>
                  </a:solidFill>
                </a:rPr>
                <a:t>Ю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440180" y="1951670"/>
              <a:ext cx="171450" cy="1657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r>
                <a:rPr lang="ru-RU" sz="800" b="1" dirty="0">
                  <a:ln w="3175" cmpd="sng">
                    <a:noFill/>
                    <a:prstDash val="solid"/>
                  </a:ln>
                  <a:solidFill>
                    <a:prstClr val="white">
                      <a:alpha val="50000"/>
                    </a:prstClr>
                  </a:solidFill>
                </a:rPr>
                <a:t>В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08660" y="1951670"/>
              <a:ext cx="171450" cy="1657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r>
                <a:rPr lang="ru-RU" sz="800" b="1" dirty="0">
                  <a:ln w="3175" cmpd="sng">
                    <a:noFill/>
                    <a:prstDash val="solid"/>
                  </a:ln>
                  <a:solidFill>
                    <a:prstClr val="white">
                      <a:alpha val="50000"/>
                    </a:prstClr>
                  </a:solidFill>
                </a:rPr>
                <a:t>З</a:t>
              </a: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1227555" y="3037421"/>
            <a:ext cx="1296144" cy="97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r>
              <a:rPr lang="ru-RU" sz="2000" b="1" spc="153" dirty="0">
                <a:ln w="3175" cmpd="sng">
                  <a:solidFill>
                    <a:srgbClr val="EEECE1">
                      <a:lumMod val="75000"/>
                    </a:srgbClr>
                  </a:solidFill>
                  <a:prstDash val="solid"/>
                </a:ln>
                <a:solidFill>
                  <a:srgbClr val="EEECE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КИТАЙ</a:t>
            </a:r>
          </a:p>
        </p:txBody>
      </p:sp>
      <p:sp>
        <p:nvSpPr>
          <p:cNvPr id="36" name="Овал 35"/>
          <p:cNvSpPr/>
          <p:nvPr/>
        </p:nvSpPr>
        <p:spPr>
          <a:xfrm>
            <a:off x="4897366" y="3212409"/>
            <a:ext cx="92330" cy="66480"/>
          </a:xfrm>
          <a:prstGeom prst="ellipse">
            <a:avLst/>
          </a:prstGeom>
          <a:solidFill>
            <a:schemeClr val="accent4">
              <a:alpha val="28000"/>
            </a:schemeClr>
          </a:solidFill>
          <a:ln w="25400"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endParaRPr lang="ru-RU" sz="1000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68" y="3019997"/>
            <a:ext cx="254740" cy="229273"/>
          </a:xfrm>
          <a:prstGeom prst="rect">
            <a:avLst/>
          </a:prstGeom>
          <a:effectLst>
            <a:outerShdw blurRad="76200" dir="16200000" sx="105000" sy="105000" rotWithShape="0">
              <a:prstClr val="black">
                <a:alpha val="75000"/>
              </a:prstClr>
            </a:outerShdw>
          </a:effectLst>
        </p:spPr>
      </p:pic>
      <p:sp>
        <p:nvSpPr>
          <p:cNvPr id="42" name="Прямоугольник 41"/>
          <p:cNvSpPr/>
          <p:nvPr/>
        </p:nvSpPr>
        <p:spPr>
          <a:xfrm>
            <a:off x="5004047" y="4476234"/>
            <a:ext cx="1458162" cy="194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r>
              <a:rPr lang="ru-RU" sz="2000" b="1" spc="153" dirty="0">
                <a:ln w="3175" cmpd="sng">
                  <a:solidFill>
                    <a:srgbClr val="EEECE1">
                      <a:lumMod val="75000"/>
                    </a:srgbClr>
                  </a:solidFill>
                  <a:prstDash val="solid"/>
                </a:ln>
                <a:solidFill>
                  <a:srgbClr val="EEECE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ЯПОНИЯ</a:t>
            </a:r>
          </a:p>
        </p:txBody>
      </p:sp>
      <p:sp>
        <p:nvSpPr>
          <p:cNvPr id="20" name="Овал 19"/>
          <p:cNvSpPr/>
          <p:nvPr/>
        </p:nvSpPr>
        <p:spPr>
          <a:xfrm>
            <a:off x="1549180" y="3901178"/>
            <a:ext cx="92330" cy="66480"/>
          </a:xfrm>
          <a:prstGeom prst="ellipse">
            <a:avLst/>
          </a:prstGeom>
          <a:solidFill>
            <a:schemeClr val="accent4">
              <a:alpha val="28000"/>
            </a:schemeClr>
          </a:solidFill>
          <a:ln w="25400"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endParaRPr lang="ru-RU" sz="1000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877" y="3700817"/>
            <a:ext cx="254740" cy="229273"/>
          </a:xfrm>
          <a:prstGeom prst="rect">
            <a:avLst/>
          </a:prstGeom>
          <a:effectLst>
            <a:outerShdw blurRad="76200" dir="16200000" sx="105000" sy="105000" rotWithShape="0">
              <a:prstClr val="black">
                <a:alpha val="75000"/>
              </a:prstClr>
            </a:outerShdw>
          </a:effectLst>
        </p:spPr>
      </p:pic>
      <p:sp>
        <p:nvSpPr>
          <p:cNvPr id="23" name="Овал 22"/>
          <p:cNvSpPr/>
          <p:nvPr/>
        </p:nvSpPr>
        <p:spPr>
          <a:xfrm>
            <a:off x="4235497" y="2805308"/>
            <a:ext cx="92330" cy="66480"/>
          </a:xfrm>
          <a:prstGeom prst="ellipse">
            <a:avLst/>
          </a:prstGeom>
          <a:solidFill>
            <a:schemeClr val="accent4">
              <a:alpha val="28000"/>
            </a:schemeClr>
          </a:solidFill>
          <a:ln w="25400"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endParaRPr lang="ru-RU" sz="1000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825" y="2610995"/>
            <a:ext cx="254740" cy="229273"/>
          </a:xfrm>
          <a:prstGeom prst="rect">
            <a:avLst/>
          </a:prstGeom>
          <a:effectLst>
            <a:outerShdw blurRad="76200" dir="16200000" sx="105000" sy="105000" rotWithShape="0">
              <a:prstClr val="black">
                <a:alpha val="75000"/>
              </a:prstClr>
            </a:outerShdw>
          </a:effectLst>
        </p:spPr>
      </p:pic>
      <p:sp>
        <p:nvSpPr>
          <p:cNvPr id="25" name="Прямоугольник 24"/>
          <p:cNvSpPr/>
          <p:nvPr/>
        </p:nvSpPr>
        <p:spPr>
          <a:xfrm>
            <a:off x="4462115" y="2433114"/>
            <a:ext cx="2351315" cy="1654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defTabSz="685781"/>
            <a:r>
              <a:rPr lang="ru-RU" b="1" dirty="0">
                <a:ln w="317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Комсомольск-на-Амур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695529" y="3403681"/>
            <a:ext cx="1131335" cy="18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r>
              <a:rPr lang="ru-RU" b="1" dirty="0">
                <a:ln w="317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Хабаровск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064869" y="3014802"/>
            <a:ext cx="2424708" cy="291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defTabSz="685781"/>
            <a:r>
              <a:rPr lang="ru-RU" b="1" dirty="0">
                <a:ln w="317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Ванино</a:t>
            </a:r>
            <a:endParaRPr lang="ru-RU" sz="1600" b="1" dirty="0">
              <a:ln w="3175" cmpd="sng">
                <a:noFill/>
                <a:prstDash val="solid"/>
              </a:ln>
              <a:solidFill>
                <a:prstClr val="white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Times New Roman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088435" y="3259585"/>
            <a:ext cx="1134650" cy="184208"/>
          </a:xfrm>
          <a:prstGeom prst="rect">
            <a:avLst/>
          </a:prstGeom>
        </p:spPr>
        <p:txBody>
          <a:bodyPr wrap="none" lIns="55426" tIns="27713" rIns="55426" bIns="27713">
            <a:spAutoFit/>
          </a:bodyPr>
          <a:lstStyle/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Times New Roman" pitchFamily="18" charset="0"/>
              </a:rPr>
              <a:t>Свободный порт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359542" y="1805225"/>
            <a:ext cx="3453896" cy="273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426" tIns="27713" rIns="55426" bIns="27713" rtlCol="0">
            <a:spAutoFit/>
          </a:bodyPr>
          <a:lstStyle/>
          <a:p>
            <a:pPr defTabSz="685781">
              <a:lnSpc>
                <a:spcPts val="1718"/>
              </a:lnSpc>
            </a:pPr>
            <a:r>
              <a:rPr lang="ru-RU" sz="2300" b="1" dirty="0">
                <a:solidFill>
                  <a:srgbClr val="FFFF00"/>
                </a:solidFill>
                <a:latin typeface="Calibri"/>
              </a:rPr>
              <a:t>Территории развития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540138" y="3804047"/>
            <a:ext cx="1131335" cy="12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r>
              <a:rPr lang="ru-RU" b="1" dirty="0">
                <a:ln w="317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cs typeface="Times New Roman" pitchFamily="18" charset="0"/>
              </a:rPr>
              <a:t>Харбин</a:t>
            </a:r>
          </a:p>
        </p:txBody>
      </p:sp>
      <p:sp>
        <p:nvSpPr>
          <p:cNvPr id="38" name="Овал 37"/>
          <p:cNvSpPr/>
          <p:nvPr/>
        </p:nvSpPr>
        <p:spPr>
          <a:xfrm>
            <a:off x="3776208" y="3255130"/>
            <a:ext cx="92330" cy="66480"/>
          </a:xfrm>
          <a:prstGeom prst="ellipse">
            <a:avLst/>
          </a:prstGeom>
          <a:solidFill>
            <a:schemeClr val="accent4">
              <a:alpha val="28000"/>
            </a:schemeClr>
          </a:solidFill>
          <a:ln w="25400"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6752" tIns="23376" rIns="46752" bIns="23376" rtlCol="0" anchor="ctr"/>
          <a:lstStyle/>
          <a:p>
            <a:pPr algn="ctr" defTabSz="685781"/>
            <a:endParaRPr lang="ru-RU" sz="1000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537" y="3060819"/>
            <a:ext cx="254740" cy="229273"/>
          </a:xfrm>
          <a:prstGeom prst="rect">
            <a:avLst/>
          </a:prstGeom>
          <a:effectLst>
            <a:outerShdw blurRad="76200" dir="16200000" sx="105000" sy="105000" rotWithShape="0">
              <a:prstClr val="black">
                <a:alpha val="75000"/>
              </a:prstClr>
            </a:outerShdw>
          </a:effectLst>
        </p:spPr>
      </p:pic>
      <p:sp>
        <p:nvSpPr>
          <p:cNvPr id="43" name="Прямоугольник 42"/>
          <p:cNvSpPr/>
          <p:nvPr/>
        </p:nvSpPr>
        <p:spPr>
          <a:xfrm>
            <a:off x="3721285" y="3601420"/>
            <a:ext cx="1096178" cy="440688"/>
          </a:xfrm>
          <a:prstGeom prst="rect">
            <a:avLst/>
          </a:prstGeom>
        </p:spPr>
        <p:txBody>
          <a:bodyPr wrap="none" lIns="55426" tIns="27713" rIns="55426" bIns="27713">
            <a:spAutoFit/>
          </a:bodyPr>
          <a:lstStyle/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Территория </a:t>
            </a:r>
          </a:p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опережающего </a:t>
            </a:r>
          </a:p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развития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4424698" y="2596328"/>
            <a:ext cx="1096178" cy="440688"/>
          </a:xfrm>
          <a:prstGeom prst="rect">
            <a:avLst/>
          </a:prstGeom>
        </p:spPr>
        <p:txBody>
          <a:bodyPr wrap="none" lIns="55426" tIns="27713" rIns="55426" bIns="27713">
            <a:spAutoFit/>
          </a:bodyPr>
          <a:lstStyle/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Территория </a:t>
            </a:r>
          </a:p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опережающего </a:t>
            </a:r>
          </a:p>
          <a:p>
            <a:pPr defTabSz="685781">
              <a:lnSpc>
                <a:spcPts val="1003"/>
              </a:lnSpc>
            </a:pPr>
            <a:r>
              <a:rPr lang="ru-RU" sz="1100" b="1" dirty="0">
                <a:ln w="3175" cmpd="sng">
                  <a:noFill/>
                  <a:prstDash val="solid"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Times New Roman" pitchFamily="18" charset="0"/>
              </a:rPr>
              <a:t>развит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46715" y="1051684"/>
            <a:ext cx="6858001" cy="343958"/>
          </a:xfrm>
          <a:prstGeom prst="rect">
            <a:avLst/>
          </a:prstGeom>
          <a:solidFill>
            <a:srgbClr val="D9D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/>
            <a:endParaRPr lang="ru-RU">
              <a:solidFill>
                <a:prstClr val="white"/>
              </a:solidFill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6348"/>
            <a:ext cx="6858000" cy="730680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1482156" y="465518"/>
            <a:ext cx="6114944" cy="568928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>
            <a:defPPr>
              <a:defRPr lang="ru-RU"/>
            </a:defPPr>
            <a:lvl1pPr>
              <a:lnSpc>
                <a:spcPts val="2000"/>
              </a:lnSpc>
              <a:defRPr sz="2800" b="1">
                <a:solidFill>
                  <a:srgbClr val="0070C0"/>
                </a:solidFill>
              </a:defRPr>
            </a:lvl1pPr>
          </a:lstStyle>
          <a:p>
            <a:pPr algn="ctr" defTabSz="685781">
              <a:lnSpc>
                <a:spcPts val="1950"/>
              </a:lnSpc>
            </a:pPr>
            <a:r>
              <a:rPr lang="ru-RU" sz="2400" dirty="0">
                <a:solidFill>
                  <a:schemeClr val="bg1"/>
                </a:solidFill>
                <a:latin typeface="Calibri"/>
              </a:rPr>
              <a:t>Основные инвестиционные точки с особым </a:t>
            </a:r>
            <a:r>
              <a:rPr lang="ru-RU" sz="2400" dirty="0">
                <a:solidFill>
                  <a:srgbClr val="013A87"/>
                </a:solidFill>
                <a:latin typeface="Calibri"/>
              </a:rPr>
              <a:t>режимом хозяйственн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1355573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 tmFilter="0, 0; .2, .5; .8, .5; 1, 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500" autoRev="1" fill="hold"/>
                                        <p:tgtEl>
                                          <p:spTgt spid="3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88"/>
          <p:cNvGrpSpPr/>
          <p:nvPr/>
        </p:nvGrpSpPr>
        <p:grpSpPr>
          <a:xfrm>
            <a:off x="1249236" y="1544406"/>
            <a:ext cx="2588999" cy="2843237"/>
            <a:chOff x="255906" y="1521176"/>
            <a:chExt cx="2851796" cy="3492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" name="Группа 889"/>
            <p:cNvGrpSpPr>
              <a:grpSpLocks noChangeAspect="1"/>
            </p:cNvGrpSpPr>
            <p:nvPr/>
          </p:nvGrpSpPr>
          <p:grpSpPr>
            <a:xfrm>
              <a:off x="255906" y="1521176"/>
              <a:ext cx="2851796" cy="3492000"/>
              <a:chOff x="5278853" y="908050"/>
              <a:chExt cx="3596860" cy="4783138"/>
            </a:xfrm>
            <a:solidFill>
              <a:schemeClr val="bg2">
                <a:lumMod val="40000"/>
                <a:lumOff val="60000"/>
              </a:schemeClr>
            </a:solidFill>
          </p:grpSpPr>
          <p:grpSp>
            <p:nvGrpSpPr>
              <p:cNvPr id="4" name="Group 2936"/>
              <p:cNvGrpSpPr>
                <a:grpSpLocks/>
              </p:cNvGrpSpPr>
              <p:nvPr/>
            </p:nvGrpSpPr>
            <p:grpSpPr bwMode="auto">
              <a:xfrm>
                <a:off x="5278853" y="1633913"/>
                <a:ext cx="3496290" cy="4057275"/>
                <a:chOff x="3328" y="672"/>
                <a:chExt cx="2364" cy="2683"/>
              </a:xfrm>
              <a:grpFill/>
            </p:grpSpPr>
            <p:sp>
              <p:nvSpPr>
                <p:cNvPr id="1123" name="Freeform 2937"/>
                <p:cNvSpPr>
                  <a:spLocks/>
                </p:cNvSpPr>
                <p:nvPr/>
              </p:nvSpPr>
              <p:spPr bwMode="auto">
                <a:xfrm>
                  <a:off x="5684" y="2768"/>
                  <a:ext cx="8" cy="8"/>
                </a:xfrm>
                <a:custGeom>
                  <a:avLst/>
                  <a:gdLst>
                    <a:gd name="T0" fmla="*/ 0 w 8"/>
                    <a:gd name="T1" fmla="*/ 8 h 8"/>
                    <a:gd name="T2" fmla="*/ 0 w 8"/>
                    <a:gd name="T3" fmla="*/ 4 h 8"/>
                    <a:gd name="T4" fmla="*/ 0 w 8"/>
                    <a:gd name="T5" fmla="*/ 2 h 8"/>
                    <a:gd name="T6" fmla="*/ 2 w 8"/>
                    <a:gd name="T7" fmla="*/ 2 h 8"/>
                    <a:gd name="T8" fmla="*/ 6 w 8"/>
                    <a:gd name="T9" fmla="*/ 2 h 8"/>
                    <a:gd name="T10" fmla="*/ 6 w 8"/>
                    <a:gd name="T11" fmla="*/ 4 h 8"/>
                    <a:gd name="T12" fmla="*/ 6 w 8"/>
                    <a:gd name="T13" fmla="*/ 6 h 8"/>
                    <a:gd name="T14" fmla="*/ 4 w 8"/>
                    <a:gd name="T15" fmla="*/ 6 h 8"/>
                    <a:gd name="T16" fmla="*/ 0 w 8"/>
                    <a:gd name="T17" fmla="*/ 6 h 8"/>
                    <a:gd name="T18" fmla="*/ 0 w 8"/>
                    <a:gd name="T19" fmla="*/ 8 h 8"/>
                    <a:gd name="T20" fmla="*/ 4 w 8"/>
                    <a:gd name="T21" fmla="*/ 8 h 8"/>
                    <a:gd name="T22" fmla="*/ 6 w 8"/>
                    <a:gd name="T23" fmla="*/ 8 h 8"/>
                    <a:gd name="T24" fmla="*/ 8 w 8"/>
                    <a:gd name="T25" fmla="*/ 8 h 8"/>
                    <a:gd name="T26" fmla="*/ 8 w 8"/>
                    <a:gd name="T27" fmla="*/ 4 h 8"/>
                    <a:gd name="T28" fmla="*/ 8 w 8"/>
                    <a:gd name="T29" fmla="*/ 2 h 8"/>
                    <a:gd name="T30" fmla="*/ 8 w 8"/>
                    <a:gd name="T31" fmla="*/ 0 h 8"/>
                    <a:gd name="T32" fmla="*/ 2 w 8"/>
                    <a:gd name="T33" fmla="*/ 0 h 8"/>
                    <a:gd name="T34" fmla="*/ 0 w 8"/>
                    <a:gd name="T35" fmla="*/ 0 h 8"/>
                    <a:gd name="T36" fmla="*/ 0 w 8"/>
                    <a:gd name="T37" fmla="*/ 0 h 8"/>
                    <a:gd name="T38" fmla="*/ 0 w 8"/>
                    <a:gd name="T39" fmla="*/ 4 h 8"/>
                    <a:gd name="T40" fmla="*/ 0 w 8"/>
                    <a:gd name="T41" fmla="*/ 8 h 8"/>
                    <a:gd name="T42" fmla="*/ 0 w 8"/>
                    <a:gd name="T4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" h="8">
                      <a:moveTo>
                        <a:pt x="0" y="8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4" name="Freeform 2938"/>
                <p:cNvSpPr>
                  <a:spLocks/>
                </p:cNvSpPr>
                <p:nvPr/>
              </p:nvSpPr>
              <p:spPr bwMode="auto">
                <a:xfrm>
                  <a:off x="5684" y="2768"/>
                  <a:ext cx="8" cy="8"/>
                </a:xfrm>
                <a:custGeom>
                  <a:avLst/>
                  <a:gdLst>
                    <a:gd name="T0" fmla="*/ 0 w 8"/>
                    <a:gd name="T1" fmla="*/ 8 h 8"/>
                    <a:gd name="T2" fmla="*/ 0 w 8"/>
                    <a:gd name="T3" fmla="*/ 4 h 8"/>
                    <a:gd name="T4" fmla="*/ 0 w 8"/>
                    <a:gd name="T5" fmla="*/ 2 h 8"/>
                    <a:gd name="T6" fmla="*/ 2 w 8"/>
                    <a:gd name="T7" fmla="*/ 2 h 8"/>
                    <a:gd name="T8" fmla="*/ 6 w 8"/>
                    <a:gd name="T9" fmla="*/ 2 h 8"/>
                    <a:gd name="T10" fmla="*/ 6 w 8"/>
                    <a:gd name="T11" fmla="*/ 4 h 8"/>
                    <a:gd name="T12" fmla="*/ 6 w 8"/>
                    <a:gd name="T13" fmla="*/ 6 h 8"/>
                    <a:gd name="T14" fmla="*/ 4 w 8"/>
                    <a:gd name="T15" fmla="*/ 6 h 8"/>
                    <a:gd name="T16" fmla="*/ 0 w 8"/>
                    <a:gd name="T17" fmla="*/ 6 h 8"/>
                    <a:gd name="T18" fmla="*/ 0 w 8"/>
                    <a:gd name="T19" fmla="*/ 8 h 8"/>
                    <a:gd name="T20" fmla="*/ 4 w 8"/>
                    <a:gd name="T21" fmla="*/ 8 h 8"/>
                    <a:gd name="T22" fmla="*/ 6 w 8"/>
                    <a:gd name="T23" fmla="*/ 8 h 8"/>
                    <a:gd name="T24" fmla="*/ 8 w 8"/>
                    <a:gd name="T25" fmla="*/ 8 h 8"/>
                    <a:gd name="T26" fmla="*/ 8 w 8"/>
                    <a:gd name="T27" fmla="*/ 4 h 8"/>
                    <a:gd name="T28" fmla="*/ 8 w 8"/>
                    <a:gd name="T29" fmla="*/ 2 h 8"/>
                    <a:gd name="T30" fmla="*/ 8 w 8"/>
                    <a:gd name="T31" fmla="*/ 0 h 8"/>
                    <a:gd name="T32" fmla="*/ 2 w 8"/>
                    <a:gd name="T33" fmla="*/ 0 h 8"/>
                    <a:gd name="T34" fmla="*/ 0 w 8"/>
                    <a:gd name="T35" fmla="*/ 0 h 8"/>
                    <a:gd name="T36" fmla="*/ 0 w 8"/>
                    <a:gd name="T37" fmla="*/ 0 h 8"/>
                    <a:gd name="T38" fmla="*/ 0 w 8"/>
                    <a:gd name="T39" fmla="*/ 4 h 8"/>
                    <a:gd name="T40" fmla="*/ 0 w 8"/>
                    <a:gd name="T41" fmla="*/ 8 h 8"/>
                    <a:gd name="T42" fmla="*/ 0 w 8"/>
                    <a:gd name="T4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" h="8">
                      <a:moveTo>
                        <a:pt x="0" y="8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5" name="Freeform 2939"/>
                <p:cNvSpPr>
                  <a:spLocks/>
                </p:cNvSpPr>
                <p:nvPr/>
              </p:nvSpPr>
              <p:spPr bwMode="auto">
                <a:xfrm>
                  <a:off x="5679" y="2779"/>
                  <a:ext cx="5" cy="8"/>
                </a:xfrm>
                <a:custGeom>
                  <a:avLst/>
                  <a:gdLst>
                    <a:gd name="T0" fmla="*/ 2 w 5"/>
                    <a:gd name="T1" fmla="*/ 8 h 8"/>
                    <a:gd name="T2" fmla="*/ 2 w 5"/>
                    <a:gd name="T3" fmla="*/ 4 h 8"/>
                    <a:gd name="T4" fmla="*/ 2 w 5"/>
                    <a:gd name="T5" fmla="*/ 2 h 8"/>
                    <a:gd name="T6" fmla="*/ 2 w 5"/>
                    <a:gd name="T7" fmla="*/ 2 h 8"/>
                    <a:gd name="T8" fmla="*/ 5 w 5"/>
                    <a:gd name="T9" fmla="*/ 2 h 8"/>
                    <a:gd name="T10" fmla="*/ 5 w 5"/>
                    <a:gd name="T11" fmla="*/ 4 h 8"/>
                    <a:gd name="T12" fmla="*/ 5 w 5"/>
                    <a:gd name="T13" fmla="*/ 6 h 8"/>
                    <a:gd name="T14" fmla="*/ 3 w 5"/>
                    <a:gd name="T15" fmla="*/ 6 h 8"/>
                    <a:gd name="T16" fmla="*/ 0 w 5"/>
                    <a:gd name="T17" fmla="*/ 6 h 8"/>
                    <a:gd name="T18" fmla="*/ 0 w 5"/>
                    <a:gd name="T19" fmla="*/ 8 h 8"/>
                    <a:gd name="T20" fmla="*/ 3 w 5"/>
                    <a:gd name="T21" fmla="*/ 8 h 8"/>
                    <a:gd name="T22" fmla="*/ 5 w 5"/>
                    <a:gd name="T23" fmla="*/ 8 h 8"/>
                    <a:gd name="T24" fmla="*/ 5 w 5"/>
                    <a:gd name="T25" fmla="*/ 8 h 8"/>
                    <a:gd name="T26" fmla="*/ 5 w 5"/>
                    <a:gd name="T27" fmla="*/ 4 h 8"/>
                    <a:gd name="T28" fmla="*/ 5 w 5"/>
                    <a:gd name="T29" fmla="*/ 0 h 8"/>
                    <a:gd name="T30" fmla="*/ 5 w 5"/>
                    <a:gd name="T31" fmla="*/ 0 h 8"/>
                    <a:gd name="T32" fmla="*/ 2 w 5"/>
                    <a:gd name="T33" fmla="*/ 0 h 8"/>
                    <a:gd name="T34" fmla="*/ 0 w 5"/>
                    <a:gd name="T35" fmla="*/ 0 h 8"/>
                    <a:gd name="T36" fmla="*/ 0 w 5"/>
                    <a:gd name="T37" fmla="*/ 0 h 8"/>
                    <a:gd name="T38" fmla="*/ 0 w 5"/>
                    <a:gd name="T39" fmla="*/ 4 h 8"/>
                    <a:gd name="T40" fmla="*/ 0 w 5"/>
                    <a:gd name="T41" fmla="*/ 8 h 8"/>
                    <a:gd name="T42" fmla="*/ 2 w 5"/>
                    <a:gd name="T4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5" y="8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6" name="Freeform 2940"/>
                <p:cNvSpPr>
                  <a:spLocks/>
                </p:cNvSpPr>
                <p:nvPr/>
              </p:nvSpPr>
              <p:spPr bwMode="auto">
                <a:xfrm>
                  <a:off x="5679" y="2779"/>
                  <a:ext cx="5" cy="8"/>
                </a:xfrm>
                <a:custGeom>
                  <a:avLst/>
                  <a:gdLst>
                    <a:gd name="T0" fmla="*/ 2 w 5"/>
                    <a:gd name="T1" fmla="*/ 8 h 8"/>
                    <a:gd name="T2" fmla="*/ 2 w 5"/>
                    <a:gd name="T3" fmla="*/ 4 h 8"/>
                    <a:gd name="T4" fmla="*/ 2 w 5"/>
                    <a:gd name="T5" fmla="*/ 2 h 8"/>
                    <a:gd name="T6" fmla="*/ 2 w 5"/>
                    <a:gd name="T7" fmla="*/ 2 h 8"/>
                    <a:gd name="T8" fmla="*/ 5 w 5"/>
                    <a:gd name="T9" fmla="*/ 2 h 8"/>
                    <a:gd name="T10" fmla="*/ 5 w 5"/>
                    <a:gd name="T11" fmla="*/ 4 h 8"/>
                    <a:gd name="T12" fmla="*/ 5 w 5"/>
                    <a:gd name="T13" fmla="*/ 6 h 8"/>
                    <a:gd name="T14" fmla="*/ 3 w 5"/>
                    <a:gd name="T15" fmla="*/ 6 h 8"/>
                    <a:gd name="T16" fmla="*/ 0 w 5"/>
                    <a:gd name="T17" fmla="*/ 6 h 8"/>
                    <a:gd name="T18" fmla="*/ 0 w 5"/>
                    <a:gd name="T19" fmla="*/ 8 h 8"/>
                    <a:gd name="T20" fmla="*/ 3 w 5"/>
                    <a:gd name="T21" fmla="*/ 8 h 8"/>
                    <a:gd name="T22" fmla="*/ 5 w 5"/>
                    <a:gd name="T23" fmla="*/ 8 h 8"/>
                    <a:gd name="T24" fmla="*/ 5 w 5"/>
                    <a:gd name="T25" fmla="*/ 8 h 8"/>
                    <a:gd name="T26" fmla="*/ 5 w 5"/>
                    <a:gd name="T27" fmla="*/ 4 h 8"/>
                    <a:gd name="T28" fmla="*/ 5 w 5"/>
                    <a:gd name="T29" fmla="*/ 0 h 8"/>
                    <a:gd name="T30" fmla="*/ 5 w 5"/>
                    <a:gd name="T31" fmla="*/ 0 h 8"/>
                    <a:gd name="T32" fmla="*/ 2 w 5"/>
                    <a:gd name="T33" fmla="*/ 0 h 8"/>
                    <a:gd name="T34" fmla="*/ 0 w 5"/>
                    <a:gd name="T35" fmla="*/ 0 h 8"/>
                    <a:gd name="T36" fmla="*/ 0 w 5"/>
                    <a:gd name="T37" fmla="*/ 0 h 8"/>
                    <a:gd name="T38" fmla="*/ 0 w 5"/>
                    <a:gd name="T39" fmla="*/ 4 h 8"/>
                    <a:gd name="T40" fmla="*/ 0 w 5"/>
                    <a:gd name="T41" fmla="*/ 8 h 8"/>
                    <a:gd name="T42" fmla="*/ 2 w 5"/>
                    <a:gd name="T4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5" y="8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2" y="8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7" name="Freeform 2941"/>
                <p:cNvSpPr>
                  <a:spLocks/>
                </p:cNvSpPr>
                <p:nvPr/>
              </p:nvSpPr>
              <p:spPr bwMode="auto">
                <a:xfrm>
                  <a:off x="4887" y="2715"/>
                  <a:ext cx="292" cy="636"/>
                </a:xfrm>
                <a:custGeom>
                  <a:avLst/>
                  <a:gdLst>
                    <a:gd name="T0" fmla="*/ 203 w 292"/>
                    <a:gd name="T1" fmla="*/ 13 h 636"/>
                    <a:gd name="T2" fmla="*/ 196 w 292"/>
                    <a:gd name="T3" fmla="*/ 29 h 636"/>
                    <a:gd name="T4" fmla="*/ 186 w 292"/>
                    <a:gd name="T5" fmla="*/ 35 h 636"/>
                    <a:gd name="T6" fmla="*/ 186 w 292"/>
                    <a:gd name="T7" fmla="*/ 59 h 636"/>
                    <a:gd name="T8" fmla="*/ 225 w 292"/>
                    <a:gd name="T9" fmla="*/ 61 h 636"/>
                    <a:gd name="T10" fmla="*/ 233 w 292"/>
                    <a:gd name="T11" fmla="*/ 96 h 636"/>
                    <a:gd name="T12" fmla="*/ 223 w 292"/>
                    <a:gd name="T13" fmla="*/ 107 h 636"/>
                    <a:gd name="T14" fmla="*/ 207 w 292"/>
                    <a:gd name="T15" fmla="*/ 120 h 636"/>
                    <a:gd name="T16" fmla="*/ 201 w 292"/>
                    <a:gd name="T17" fmla="*/ 140 h 636"/>
                    <a:gd name="T18" fmla="*/ 196 w 292"/>
                    <a:gd name="T19" fmla="*/ 158 h 636"/>
                    <a:gd name="T20" fmla="*/ 181 w 292"/>
                    <a:gd name="T21" fmla="*/ 169 h 636"/>
                    <a:gd name="T22" fmla="*/ 150 w 292"/>
                    <a:gd name="T23" fmla="*/ 173 h 636"/>
                    <a:gd name="T24" fmla="*/ 126 w 292"/>
                    <a:gd name="T25" fmla="*/ 177 h 636"/>
                    <a:gd name="T26" fmla="*/ 92 w 292"/>
                    <a:gd name="T27" fmla="*/ 188 h 636"/>
                    <a:gd name="T28" fmla="*/ 92 w 292"/>
                    <a:gd name="T29" fmla="*/ 240 h 636"/>
                    <a:gd name="T30" fmla="*/ 81 w 292"/>
                    <a:gd name="T31" fmla="*/ 254 h 636"/>
                    <a:gd name="T32" fmla="*/ 92 w 292"/>
                    <a:gd name="T33" fmla="*/ 289 h 636"/>
                    <a:gd name="T34" fmla="*/ 92 w 292"/>
                    <a:gd name="T35" fmla="*/ 361 h 636"/>
                    <a:gd name="T36" fmla="*/ 100 w 292"/>
                    <a:gd name="T37" fmla="*/ 376 h 636"/>
                    <a:gd name="T38" fmla="*/ 68 w 292"/>
                    <a:gd name="T39" fmla="*/ 387 h 636"/>
                    <a:gd name="T40" fmla="*/ 22 w 292"/>
                    <a:gd name="T41" fmla="*/ 409 h 636"/>
                    <a:gd name="T42" fmla="*/ 0 w 292"/>
                    <a:gd name="T43" fmla="*/ 455 h 636"/>
                    <a:gd name="T44" fmla="*/ 11 w 292"/>
                    <a:gd name="T45" fmla="*/ 463 h 636"/>
                    <a:gd name="T46" fmla="*/ 26 w 292"/>
                    <a:gd name="T47" fmla="*/ 479 h 636"/>
                    <a:gd name="T48" fmla="*/ 39 w 292"/>
                    <a:gd name="T49" fmla="*/ 511 h 636"/>
                    <a:gd name="T50" fmla="*/ 54 w 292"/>
                    <a:gd name="T51" fmla="*/ 531 h 636"/>
                    <a:gd name="T52" fmla="*/ 68 w 292"/>
                    <a:gd name="T53" fmla="*/ 564 h 636"/>
                    <a:gd name="T54" fmla="*/ 61 w 292"/>
                    <a:gd name="T55" fmla="*/ 601 h 636"/>
                    <a:gd name="T56" fmla="*/ 52 w 292"/>
                    <a:gd name="T57" fmla="*/ 618 h 636"/>
                    <a:gd name="T58" fmla="*/ 63 w 292"/>
                    <a:gd name="T59" fmla="*/ 620 h 636"/>
                    <a:gd name="T60" fmla="*/ 72 w 292"/>
                    <a:gd name="T61" fmla="*/ 633 h 636"/>
                    <a:gd name="T62" fmla="*/ 78 w 292"/>
                    <a:gd name="T63" fmla="*/ 629 h 636"/>
                    <a:gd name="T64" fmla="*/ 76 w 292"/>
                    <a:gd name="T65" fmla="*/ 616 h 636"/>
                    <a:gd name="T66" fmla="*/ 83 w 292"/>
                    <a:gd name="T67" fmla="*/ 605 h 636"/>
                    <a:gd name="T68" fmla="*/ 94 w 292"/>
                    <a:gd name="T69" fmla="*/ 574 h 636"/>
                    <a:gd name="T70" fmla="*/ 98 w 292"/>
                    <a:gd name="T71" fmla="*/ 537 h 636"/>
                    <a:gd name="T72" fmla="*/ 107 w 292"/>
                    <a:gd name="T73" fmla="*/ 533 h 636"/>
                    <a:gd name="T74" fmla="*/ 109 w 292"/>
                    <a:gd name="T75" fmla="*/ 553 h 636"/>
                    <a:gd name="T76" fmla="*/ 122 w 292"/>
                    <a:gd name="T77" fmla="*/ 542 h 636"/>
                    <a:gd name="T78" fmla="*/ 135 w 292"/>
                    <a:gd name="T79" fmla="*/ 542 h 636"/>
                    <a:gd name="T80" fmla="*/ 140 w 292"/>
                    <a:gd name="T81" fmla="*/ 551 h 636"/>
                    <a:gd name="T82" fmla="*/ 196 w 292"/>
                    <a:gd name="T83" fmla="*/ 544 h 636"/>
                    <a:gd name="T84" fmla="*/ 198 w 292"/>
                    <a:gd name="T85" fmla="*/ 533 h 636"/>
                    <a:gd name="T86" fmla="*/ 205 w 292"/>
                    <a:gd name="T87" fmla="*/ 526 h 636"/>
                    <a:gd name="T88" fmla="*/ 212 w 292"/>
                    <a:gd name="T89" fmla="*/ 515 h 636"/>
                    <a:gd name="T90" fmla="*/ 231 w 292"/>
                    <a:gd name="T91" fmla="*/ 505 h 636"/>
                    <a:gd name="T92" fmla="*/ 240 w 292"/>
                    <a:gd name="T93" fmla="*/ 481 h 636"/>
                    <a:gd name="T94" fmla="*/ 262 w 292"/>
                    <a:gd name="T95" fmla="*/ 419 h 636"/>
                    <a:gd name="T96" fmla="*/ 286 w 292"/>
                    <a:gd name="T97" fmla="*/ 245 h 636"/>
                    <a:gd name="T98" fmla="*/ 286 w 292"/>
                    <a:gd name="T99" fmla="*/ 121 h 636"/>
                    <a:gd name="T100" fmla="*/ 290 w 292"/>
                    <a:gd name="T101" fmla="*/ 61 h 636"/>
                    <a:gd name="T102" fmla="*/ 260 w 292"/>
                    <a:gd name="T103" fmla="*/ 57 h 636"/>
                    <a:gd name="T104" fmla="*/ 247 w 292"/>
                    <a:gd name="T105" fmla="*/ 22 h 636"/>
                    <a:gd name="T106" fmla="*/ 236 w 292"/>
                    <a:gd name="T107" fmla="*/ 9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2" h="636">
                      <a:moveTo>
                        <a:pt x="214" y="0"/>
                      </a:moveTo>
                      <a:lnTo>
                        <a:pt x="212" y="0"/>
                      </a:lnTo>
                      <a:lnTo>
                        <a:pt x="209" y="3"/>
                      </a:lnTo>
                      <a:lnTo>
                        <a:pt x="207" y="5"/>
                      </a:lnTo>
                      <a:lnTo>
                        <a:pt x="205" y="7"/>
                      </a:lnTo>
                      <a:lnTo>
                        <a:pt x="203" y="13"/>
                      </a:lnTo>
                      <a:lnTo>
                        <a:pt x="201" y="18"/>
                      </a:lnTo>
                      <a:lnTo>
                        <a:pt x="199" y="22"/>
                      </a:lnTo>
                      <a:lnTo>
                        <a:pt x="199" y="24"/>
                      </a:lnTo>
                      <a:lnTo>
                        <a:pt x="199" y="24"/>
                      </a:lnTo>
                      <a:lnTo>
                        <a:pt x="198" y="27"/>
                      </a:lnTo>
                      <a:lnTo>
                        <a:pt x="196" y="29"/>
                      </a:lnTo>
                      <a:lnTo>
                        <a:pt x="196" y="29"/>
                      </a:lnTo>
                      <a:lnTo>
                        <a:pt x="194" y="31"/>
                      </a:lnTo>
                      <a:lnTo>
                        <a:pt x="194" y="31"/>
                      </a:lnTo>
                      <a:lnTo>
                        <a:pt x="190" y="33"/>
                      </a:lnTo>
                      <a:lnTo>
                        <a:pt x="190" y="33"/>
                      </a:lnTo>
                      <a:lnTo>
                        <a:pt x="186" y="35"/>
                      </a:lnTo>
                      <a:lnTo>
                        <a:pt x="185" y="37"/>
                      </a:lnTo>
                      <a:lnTo>
                        <a:pt x="183" y="40"/>
                      </a:lnTo>
                      <a:lnTo>
                        <a:pt x="181" y="46"/>
                      </a:lnTo>
                      <a:lnTo>
                        <a:pt x="179" y="51"/>
                      </a:lnTo>
                      <a:lnTo>
                        <a:pt x="179" y="57"/>
                      </a:lnTo>
                      <a:lnTo>
                        <a:pt x="186" y="59"/>
                      </a:lnTo>
                      <a:lnTo>
                        <a:pt x="192" y="61"/>
                      </a:lnTo>
                      <a:lnTo>
                        <a:pt x="199" y="61"/>
                      </a:lnTo>
                      <a:lnTo>
                        <a:pt x="205" y="61"/>
                      </a:lnTo>
                      <a:lnTo>
                        <a:pt x="212" y="61"/>
                      </a:lnTo>
                      <a:lnTo>
                        <a:pt x="218" y="61"/>
                      </a:lnTo>
                      <a:lnTo>
                        <a:pt x="225" y="61"/>
                      </a:lnTo>
                      <a:lnTo>
                        <a:pt x="234" y="61"/>
                      </a:lnTo>
                      <a:lnTo>
                        <a:pt x="234" y="61"/>
                      </a:lnTo>
                      <a:lnTo>
                        <a:pt x="234" y="70"/>
                      </a:lnTo>
                      <a:lnTo>
                        <a:pt x="233" y="77"/>
                      </a:lnTo>
                      <a:lnTo>
                        <a:pt x="234" y="86"/>
                      </a:lnTo>
                      <a:lnTo>
                        <a:pt x="233" y="96"/>
                      </a:lnTo>
                      <a:lnTo>
                        <a:pt x="233" y="96"/>
                      </a:lnTo>
                      <a:lnTo>
                        <a:pt x="227" y="96"/>
                      </a:lnTo>
                      <a:lnTo>
                        <a:pt x="223" y="96"/>
                      </a:lnTo>
                      <a:lnTo>
                        <a:pt x="223" y="99"/>
                      </a:lnTo>
                      <a:lnTo>
                        <a:pt x="223" y="103"/>
                      </a:lnTo>
                      <a:lnTo>
                        <a:pt x="223" y="107"/>
                      </a:lnTo>
                      <a:lnTo>
                        <a:pt x="223" y="112"/>
                      </a:lnTo>
                      <a:lnTo>
                        <a:pt x="222" y="112"/>
                      </a:lnTo>
                      <a:lnTo>
                        <a:pt x="218" y="114"/>
                      </a:lnTo>
                      <a:lnTo>
                        <a:pt x="218" y="114"/>
                      </a:lnTo>
                      <a:lnTo>
                        <a:pt x="212" y="118"/>
                      </a:lnTo>
                      <a:lnTo>
                        <a:pt x="207" y="120"/>
                      </a:lnTo>
                      <a:lnTo>
                        <a:pt x="201" y="121"/>
                      </a:lnTo>
                      <a:lnTo>
                        <a:pt x="203" y="129"/>
                      </a:lnTo>
                      <a:lnTo>
                        <a:pt x="203" y="129"/>
                      </a:lnTo>
                      <a:lnTo>
                        <a:pt x="201" y="134"/>
                      </a:lnTo>
                      <a:lnTo>
                        <a:pt x="201" y="134"/>
                      </a:lnTo>
                      <a:lnTo>
                        <a:pt x="201" y="140"/>
                      </a:lnTo>
                      <a:lnTo>
                        <a:pt x="201" y="140"/>
                      </a:lnTo>
                      <a:lnTo>
                        <a:pt x="201" y="145"/>
                      </a:lnTo>
                      <a:lnTo>
                        <a:pt x="199" y="151"/>
                      </a:lnTo>
                      <a:lnTo>
                        <a:pt x="199" y="151"/>
                      </a:lnTo>
                      <a:lnTo>
                        <a:pt x="198" y="155"/>
                      </a:lnTo>
                      <a:lnTo>
                        <a:pt x="196" y="158"/>
                      </a:lnTo>
                      <a:lnTo>
                        <a:pt x="192" y="162"/>
                      </a:lnTo>
                      <a:lnTo>
                        <a:pt x="188" y="166"/>
                      </a:lnTo>
                      <a:lnTo>
                        <a:pt x="188" y="166"/>
                      </a:lnTo>
                      <a:lnTo>
                        <a:pt x="185" y="168"/>
                      </a:lnTo>
                      <a:lnTo>
                        <a:pt x="185" y="168"/>
                      </a:lnTo>
                      <a:lnTo>
                        <a:pt x="181" y="169"/>
                      </a:lnTo>
                      <a:lnTo>
                        <a:pt x="175" y="171"/>
                      </a:lnTo>
                      <a:lnTo>
                        <a:pt x="175" y="171"/>
                      </a:lnTo>
                      <a:lnTo>
                        <a:pt x="170" y="173"/>
                      </a:lnTo>
                      <a:lnTo>
                        <a:pt x="164" y="173"/>
                      </a:lnTo>
                      <a:lnTo>
                        <a:pt x="157" y="173"/>
                      </a:lnTo>
                      <a:lnTo>
                        <a:pt x="150" y="173"/>
                      </a:lnTo>
                      <a:lnTo>
                        <a:pt x="146" y="179"/>
                      </a:lnTo>
                      <a:lnTo>
                        <a:pt x="140" y="184"/>
                      </a:lnTo>
                      <a:lnTo>
                        <a:pt x="140" y="184"/>
                      </a:lnTo>
                      <a:lnTo>
                        <a:pt x="135" y="182"/>
                      </a:lnTo>
                      <a:lnTo>
                        <a:pt x="129" y="180"/>
                      </a:lnTo>
                      <a:lnTo>
                        <a:pt x="126" y="177"/>
                      </a:lnTo>
                      <a:lnTo>
                        <a:pt x="126" y="177"/>
                      </a:lnTo>
                      <a:lnTo>
                        <a:pt x="120" y="175"/>
                      </a:lnTo>
                      <a:lnTo>
                        <a:pt x="113" y="179"/>
                      </a:lnTo>
                      <a:lnTo>
                        <a:pt x="105" y="182"/>
                      </a:lnTo>
                      <a:lnTo>
                        <a:pt x="98" y="186"/>
                      </a:lnTo>
                      <a:lnTo>
                        <a:pt x="92" y="188"/>
                      </a:lnTo>
                      <a:lnTo>
                        <a:pt x="92" y="201"/>
                      </a:lnTo>
                      <a:lnTo>
                        <a:pt x="94" y="212"/>
                      </a:lnTo>
                      <a:lnTo>
                        <a:pt x="96" y="225"/>
                      </a:lnTo>
                      <a:lnTo>
                        <a:pt x="98" y="238"/>
                      </a:lnTo>
                      <a:lnTo>
                        <a:pt x="96" y="238"/>
                      </a:lnTo>
                      <a:lnTo>
                        <a:pt x="92" y="240"/>
                      </a:lnTo>
                      <a:lnTo>
                        <a:pt x="89" y="241"/>
                      </a:lnTo>
                      <a:lnTo>
                        <a:pt x="89" y="241"/>
                      </a:lnTo>
                      <a:lnTo>
                        <a:pt x="85" y="241"/>
                      </a:lnTo>
                      <a:lnTo>
                        <a:pt x="81" y="243"/>
                      </a:lnTo>
                      <a:lnTo>
                        <a:pt x="81" y="249"/>
                      </a:lnTo>
                      <a:lnTo>
                        <a:pt x="81" y="254"/>
                      </a:lnTo>
                      <a:lnTo>
                        <a:pt x="81" y="258"/>
                      </a:lnTo>
                      <a:lnTo>
                        <a:pt x="81" y="264"/>
                      </a:lnTo>
                      <a:lnTo>
                        <a:pt x="85" y="264"/>
                      </a:lnTo>
                      <a:lnTo>
                        <a:pt x="92" y="264"/>
                      </a:lnTo>
                      <a:lnTo>
                        <a:pt x="92" y="276"/>
                      </a:lnTo>
                      <a:lnTo>
                        <a:pt x="92" y="289"/>
                      </a:lnTo>
                      <a:lnTo>
                        <a:pt x="92" y="300"/>
                      </a:lnTo>
                      <a:lnTo>
                        <a:pt x="92" y="313"/>
                      </a:lnTo>
                      <a:lnTo>
                        <a:pt x="92" y="326"/>
                      </a:lnTo>
                      <a:lnTo>
                        <a:pt x="92" y="337"/>
                      </a:lnTo>
                      <a:lnTo>
                        <a:pt x="92" y="350"/>
                      </a:lnTo>
                      <a:lnTo>
                        <a:pt x="92" y="361"/>
                      </a:lnTo>
                      <a:lnTo>
                        <a:pt x="96" y="361"/>
                      </a:lnTo>
                      <a:lnTo>
                        <a:pt x="103" y="361"/>
                      </a:lnTo>
                      <a:lnTo>
                        <a:pt x="103" y="363"/>
                      </a:lnTo>
                      <a:lnTo>
                        <a:pt x="102" y="367"/>
                      </a:lnTo>
                      <a:lnTo>
                        <a:pt x="100" y="371"/>
                      </a:lnTo>
                      <a:lnTo>
                        <a:pt x="100" y="376"/>
                      </a:lnTo>
                      <a:lnTo>
                        <a:pt x="98" y="380"/>
                      </a:lnTo>
                      <a:lnTo>
                        <a:pt x="89" y="383"/>
                      </a:lnTo>
                      <a:lnTo>
                        <a:pt x="81" y="385"/>
                      </a:lnTo>
                      <a:lnTo>
                        <a:pt x="74" y="387"/>
                      </a:lnTo>
                      <a:lnTo>
                        <a:pt x="68" y="387"/>
                      </a:lnTo>
                      <a:lnTo>
                        <a:pt x="68" y="387"/>
                      </a:lnTo>
                      <a:lnTo>
                        <a:pt x="61" y="389"/>
                      </a:lnTo>
                      <a:lnTo>
                        <a:pt x="52" y="389"/>
                      </a:lnTo>
                      <a:lnTo>
                        <a:pt x="41" y="391"/>
                      </a:lnTo>
                      <a:lnTo>
                        <a:pt x="26" y="391"/>
                      </a:lnTo>
                      <a:lnTo>
                        <a:pt x="24" y="400"/>
                      </a:lnTo>
                      <a:lnTo>
                        <a:pt x="22" y="409"/>
                      </a:lnTo>
                      <a:lnTo>
                        <a:pt x="20" y="417"/>
                      </a:lnTo>
                      <a:lnTo>
                        <a:pt x="17" y="424"/>
                      </a:lnTo>
                      <a:lnTo>
                        <a:pt x="13" y="433"/>
                      </a:lnTo>
                      <a:lnTo>
                        <a:pt x="9" y="441"/>
                      </a:lnTo>
                      <a:lnTo>
                        <a:pt x="6" y="448"/>
                      </a:lnTo>
                      <a:lnTo>
                        <a:pt x="0" y="455"/>
                      </a:lnTo>
                      <a:lnTo>
                        <a:pt x="2" y="457"/>
                      </a:lnTo>
                      <a:lnTo>
                        <a:pt x="2" y="457"/>
                      </a:lnTo>
                      <a:lnTo>
                        <a:pt x="6" y="457"/>
                      </a:lnTo>
                      <a:lnTo>
                        <a:pt x="6" y="457"/>
                      </a:lnTo>
                      <a:lnTo>
                        <a:pt x="9" y="459"/>
                      </a:lnTo>
                      <a:lnTo>
                        <a:pt x="11" y="463"/>
                      </a:lnTo>
                      <a:lnTo>
                        <a:pt x="15" y="465"/>
                      </a:lnTo>
                      <a:lnTo>
                        <a:pt x="15" y="465"/>
                      </a:lnTo>
                      <a:lnTo>
                        <a:pt x="17" y="467"/>
                      </a:lnTo>
                      <a:lnTo>
                        <a:pt x="19" y="470"/>
                      </a:lnTo>
                      <a:lnTo>
                        <a:pt x="20" y="472"/>
                      </a:lnTo>
                      <a:lnTo>
                        <a:pt x="26" y="479"/>
                      </a:lnTo>
                      <a:lnTo>
                        <a:pt x="26" y="479"/>
                      </a:lnTo>
                      <a:lnTo>
                        <a:pt x="28" y="485"/>
                      </a:lnTo>
                      <a:lnTo>
                        <a:pt x="31" y="492"/>
                      </a:lnTo>
                      <a:lnTo>
                        <a:pt x="33" y="498"/>
                      </a:lnTo>
                      <a:lnTo>
                        <a:pt x="37" y="505"/>
                      </a:lnTo>
                      <a:lnTo>
                        <a:pt x="39" y="511"/>
                      </a:lnTo>
                      <a:lnTo>
                        <a:pt x="43" y="516"/>
                      </a:lnTo>
                      <a:lnTo>
                        <a:pt x="46" y="522"/>
                      </a:lnTo>
                      <a:lnTo>
                        <a:pt x="48" y="526"/>
                      </a:lnTo>
                      <a:lnTo>
                        <a:pt x="50" y="527"/>
                      </a:lnTo>
                      <a:lnTo>
                        <a:pt x="52" y="529"/>
                      </a:lnTo>
                      <a:lnTo>
                        <a:pt x="54" y="531"/>
                      </a:lnTo>
                      <a:lnTo>
                        <a:pt x="57" y="533"/>
                      </a:lnTo>
                      <a:lnTo>
                        <a:pt x="59" y="535"/>
                      </a:lnTo>
                      <a:lnTo>
                        <a:pt x="63" y="535"/>
                      </a:lnTo>
                      <a:lnTo>
                        <a:pt x="67" y="537"/>
                      </a:lnTo>
                      <a:lnTo>
                        <a:pt x="68" y="551"/>
                      </a:lnTo>
                      <a:lnTo>
                        <a:pt x="68" y="564"/>
                      </a:lnTo>
                      <a:lnTo>
                        <a:pt x="70" y="579"/>
                      </a:lnTo>
                      <a:lnTo>
                        <a:pt x="72" y="594"/>
                      </a:lnTo>
                      <a:lnTo>
                        <a:pt x="72" y="594"/>
                      </a:lnTo>
                      <a:lnTo>
                        <a:pt x="67" y="596"/>
                      </a:lnTo>
                      <a:lnTo>
                        <a:pt x="65" y="598"/>
                      </a:lnTo>
                      <a:lnTo>
                        <a:pt x="61" y="601"/>
                      </a:lnTo>
                      <a:lnTo>
                        <a:pt x="59" y="603"/>
                      </a:lnTo>
                      <a:lnTo>
                        <a:pt x="57" y="605"/>
                      </a:lnTo>
                      <a:lnTo>
                        <a:pt x="55" y="609"/>
                      </a:lnTo>
                      <a:lnTo>
                        <a:pt x="52" y="614"/>
                      </a:lnTo>
                      <a:lnTo>
                        <a:pt x="50" y="618"/>
                      </a:lnTo>
                      <a:lnTo>
                        <a:pt x="52" y="618"/>
                      </a:lnTo>
                      <a:lnTo>
                        <a:pt x="57" y="618"/>
                      </a:lnTo>
                      <a:lnTo>
                        <a:pt x="57" y="618"/>
                      </a:lnTo>
                      <a:lnTo>
                        <a:pt x="59" y="614"/>
                      </a:lnTo>
                      <a:lnTo>
                        <a:pt x="61" y="616"/>
                      </a:lnTo>
                      <a:lnTo>
                        <a:pt x="61" y="618"/>
                      </a:lnTo>
                      <a:lnTo>
                        <a:pt x="63" y="620"/>
                      </a:lnTo>
                      <a:lnTo>
                        <a:pt x="63" y="620"/>
                      </a:lnTo>
                      <a:lnTo>
                        <a:pt x="61" y="622"/>
                      </a:lnTo>
                      <a:lnTo>
                        <a:pt x="61" y="622"/>
                      </a:lnTo>
                      <a:lnTo>
                        <a:pt x="65" y="625"/>
                      </a:lnTo>
                      <a:lnTo>
                        <a:pt x="68" y="629"/>
                      </a:lnTo>
                      <a:lnTo>
                        <a:pt x="72" y="633"/>
                      </a:lnTo>
                      <a:lnTo>
                        <a:pt x="76" y="636"/>
                      </a:lnTo>
                      <a:lnTo>
                        <a:pt x="76" y="634"/>
                      </a:lnTo>
                      <a:lnTo>
                        <a:pt x="76" y="634"/>
                      </a:lnTo>
                      <a:lnTo>
                        <a:pt x="78" y="633"/>
                      </a:lnTo>
                      <a:lnTo>
                        <a:pt x="78" y="631"/>
                      </a:lnTo>
                      <a:lnTo>
                        <a:pt x="78" y="629"/>
                      </a:lnTo>
                      <a:lnTo>
                        <a:pt x="76" y="627"/>
                      </a:lnTo>
                      <a:lnTo>
                        <a:pt x="76" y="625"/>
                      </a:lnTo>
                      <a:lnTo>
                        <a:pt x="74" y="622"/>
                      </a:lnTo>
                      <a:lnTo>
                        <a:pt x="70" y="618"/>
                      </a:lnTo>
                      <a:lnTo>
                        <a:pt x="72" y="616"/>
                      </a:lnTo>
                      <a:lnTo>
                        <a:pt x="76" y="616"/>
                      </a:lnTo>
                      <a:lnTo>
                        <a:pt x="78" y="614"/>
                      </a:lnTo>
                      <a:lnTo>
                        <a:pt x="79" y="614"/>
                      </a:lnTo>
                      <a:lnTo>
                        <a:pt x="79" y="612"/>
                      </a:lnTo>
                      <a:lnTo>
                        <a:pt x="81" y="610"/>
                      </a:lnTo>
                      <a:lnTo>
                        <a:pt x="81" y="609"/>
                      </a:lnTo>
                      <a:lnTo>
                        <a:pt x="83" y="605"/>
                      </a:lnTo>
                      <a:lnTo>
                        <a:pt x="83" y="601"/>
                      </a:lnTo>
                      <a:lnTo>
                        <a:pt x="85" y="601"/>
                      </a:lnTo>
                      <a:lnTo>
                        <a:pt x="87" y="605"/>
                      </a:lnTo>
                      <a:lnTo>
                        <a:pt x="89" y="607"/>
                      </a:lnTo>
                      <a:lnTo>
                        <a:pt x="92" y="588"/>
                      </a:lnTo>
                      <a:lnTo>
                        <a:pt x="94" y="574"/>
                      </a:lnTo>
                      <a:lnTo>
                        <a:pt x="96" y="564"/>
                      </a:lnTo>
                      <a:lnTo>
                        <a:pt x="98" y="557"/>
                      </a:lnTo>
                      <a:lnTo>
                        <a:pt x="98" y="550"/>
                      </a:lnTo>
                      <a:lnTo>
                        <a:pt x="98" y="546"/>
                      </a:lnTo>
                      <a:lnTo>
                        <a:pt x="98" y="542"/>
                      </a:lnTo>
                      <a:lnTo>
                        <a:pt x="98" y="537"/>
                      </a:lnTo>
                      <a:lnTo>
                        <a:pt x="98" y="537"/>
                      </a:lnTo>
                      <a:lnTo>
                        <a:pt x="100" y="535"/>
                      </a:lnTo>
                      <a:lnTo>
                        <a:pt x="100" y="535"/>
                      </a:lnTo>
                      <a:lnTo>
                        <a:pt x="103" y="535"/>
                      </a:lnTo>
                      <a:lnTo>
                        <a:pt x="107" y="533"/>
                      </a:lnTo>
                      <a:lnTo>
                        <a:pt x="107" y="533"/>
                      </a:lnTo>
                      <a:lnTo>
                        <a:pt x="111" y="531"/>
                      </a:lnTo>
                      <a:lnTo>
                        <a:pt x="111" y="533"/>
                      </a:lnTo>
                      <a:lnTo>
                        <a:pt x="111" y="539"/>
                      </a:lnTo>
                      <a:lnTo>
                        <a:pt x="109" y="542"/>
                      </a:lnTo>
                      <a:lnTo>
                        <a:pt x="109" y="548"/>
                      </a:lnTo>
                      <a:lnTo>
                        <a:pt x="109" y="553"/>
                      </a:lnTo>
                      <a:lnTo>
                        <a:pt x="111" y="551"/>
                      </a:lnTo>
                      <a:lnTo>
                        <a:pt x="114" y="550"/>
                      </a:lnTo>
                      <a:lnTo>
                        <a:pt x="118" y="550"/>
                      </a:lnTo>
                      <a:lnTo>
                        <a:pt x="120" y="548"/>
                      </a:lnTo>
                      <a:lnTo>
                        <a:pt x="122" y="542"/>
                      </a:lnTo>
                      <a:lnTo>
                        <a:pt x="122" y="542"/>
                      </a:lnTo>
                      <a:lnTo>
                        <a:pt x="124" y="537"/>
                      </a:lnTo>
                      <a:lnTo>
                        <a:pt x="126" y="531"/>
                      </a:lnTo>
                      <a:lnTo>
                        <a:pt x="127" y="524"/>
                      </a:lnTo>
                      <a:lnTo>
                        <a:pt x="131" y="533"/>
                      </a:lnTo>
                      <a:lnTo>
                        <a:pt x="135" y="542"/>
                      </a:lnTo>
                      <a:lnTo>
                        <a:pt x="135" y="542"/>
                      </a:lnTo>
                      <a:lnTo>
                        <a:pt x="137" y="550"/>
                      </a:lnTo>
                      <a:lnTo>
                        <a:pt x="138" y="557"/>
                      </a:lnTo>
                      <a:lnTo>
                        <a:pt x="138" y="557"/>
                      </a:lnTo>
                      <a:lnTo>
                        <a:pt x="140" y="557"/>
                      </a:lnTo>
                      <a:lnTo>
                        <a:pt x="140" y="555"/>
                      </a:lnTo>
                      <a:lnTo>
                        <a:pt x="140" y="551"/>
                      </a:lnTo>
                      <a:lnTo>
                        <a:pt x="140" y="548"/>
                      </a:lnTo>
                      <a:lnTo>
                        <a:pt x="155" y="546"/>
                      </a:lnTo>
                      <a:lnTo>
                        <a:pt x="170" y="546"/>
                      </a:lnTo>
                      <a:lnTo>
                        <a:pt x="183" y="546"/>
                      </a:lnTo>
                      <a:lnTo>
                        <a:pt x="196" y="546"/>
                      </a:lnTo>
                      <a:lnTo>
                        <a:pt x="196" y="544"/>
                      </a:lnTo>
                      <a:lnTo>
                        <a:pt x="196" y="544"/>
                      </a:lnTo>
                      <a:lnTo>
                        <a:pt x="196" y="540"/>
                      </a:lnTo>
                      <a:lnTo>
                        <a:pt x="198" y="539"/>
                      </a:lnTo>
                      <a:lnTo>
                        <a:pt x="198" y="535"/>
                      </a:lnTo>
                      <a:lnTo>
                        <a:pt x="198" y="535"/>
                      </a:lnTo>
                      <a:lnTo>
                        <a:pt x="198" y="533"/>
                      </a:lnTo>
                      <a:lnTo>
                        <a:pt x="199" y="531"/>
                      </a:lnTo>
                      <a:lnTo>
                        <a:pt x="199" y="531"/>
                      </a:lnTo>
                      <a:lnTo>
                        <a:pt x="201" y="531"/>
                      </a:lnTo>
                      <a:lnTo>
                        <a:pt x="201" y="531"/>
                      </a:lnTo>
                      <a:lnTo>
                        <a:pt x="201" y="529"/>
                      </a:lnTo>
                      <a:lnTo>
                        <a:pt x="205" y="526"/>
                      </a:lnTo>
                      <a:lnTo>
                        <a:pt x="207" y="524"/>
                      </a:lnTo>
                      <a:lnTo>
                        <a:pt x="209" y="522"/>
                      </a:lnTo>
                      <a:lnTo>
                        <a:pt x="209" y="520"/>
                      </a:lnTo>
                      <a:lnTo>
                        <a:pt x="210" y="518"/>
                      </a:lnTo>
                      <a:lnTo>
                        <a:pt x="212" y="515"/>
                      </a:lnTo>
                      <a:lnTo>
                        <a:pt x="212" y="515"/>
                      </a:lnTo>
                      <a:lnTo>
                        <a:pt x="216" y="515"/>
                      </a:lnTo>
                      <a:lnTo>
                        <a:pt x="222" y="515"/>
                      </a:lnTo>
                      <a:lnTo>
                        <a:pt x="225" y="515"/>
                      </a:lnTo>
                      <a:lnTo>
                        <a:pt x="229" y="515"/>
                      </a:lnTo>
                      <a:lnTo>
                        <a:pt x="231" y="505"/>
                      </a:lnTo>
                      <a:lnTo>
                        <a:pt x="231" y="505"/>
                      </a:lnTo>
                      <a:lnTo>
                        <a:pt x="233" y="500"/>
                      </a:lnTo>
                      <a:lnTo>
                        <a:pt x="234" y="492"/>
                      </a:lnTo>
                      <a:lnTo>
                        <a:pt x="236" y="487"/>
                      </a:lnTo>
                      <a:lnTo>
                        <a:pt x="236" y="487"/>
                      </a:lnTo>
                      <a:lnTo>
                        <a:pt x="240" y="481"/>
                      </a:lnTo>
                      <a:lnTo>
                        <a:pt x="240" y="481"/>
                      </a:lnTo>
                      <a:lnTo>
                        <a:pt x="244" y="476"/>
                      </a:lnTo>
                      <a:lnTo>
                        <a:pt x="247" y="472"/>
                      </a:lnTo>
                      <a:lnTo>
                        <a:pt x="253" y="465"/>
                      </a:lnTo>
                      <a:lnTo>
                        <a:pt x="257" y="450"/>
                      </a:lnTo>
                      <a:lnTo>
                        <a:pt x="258" y="435"/>
                      </a:lnTo>
                      <a:lnTo>
                        <a:pt x="262" y="419"/>
                      </a:lnTo>
                      <a:lnTo>
                        <a:pt x="264" y="404"/>
                      </a:lnTo>
                      <a:lnTo>
                        <a:pt x="270" y="372"/>
                      </a:lnTo>
                      <a:lnTo>
                        <a:pt x="273" y="341"/>
                      </a:lnTo>
                      <a:lnTo>
                        <a:pt x="277" y="310"/>
                      </a:lnTo>
                      <a:lnTo>
                        <a:pt x="282" y="276"/>
                      </a:lnTo>
                      <a:lnTo>
                        <a:pt x="286" y="245"/>
                      </a:lnTo>
                      <a:lnTo>
                        <a:pt x="290" y="214"/>
                      </a:lnTo>
                      <a:lnTo>
                        <a:pt x="290" y="193"/>
                      </a:lnTo>
                      <a:lnTo>
                        <a:pt x="288" y="173"/>
                      </a:lnTo>
                      <a:lnTo>
                        <a:pt x="288" y="153"/>
                      </a:lnTo>
                      <a:lnTo>
                        <a:pt x="286" y="133"/>
                      </a:lnTo>
                      <a:lnTo>
                        <a:pt x="286" y="121"/>
                      </a:lnTo>
                      <a:lnTo>
                        <a:pt x="286" y="112"/>
                      </a:lnTo>
                      <a:lnTo>
                        <a:pt x="286" y="101"/>
                      </a:lnTo>
                      <a:lnTo>
                        <a:pt x="286" y="92"/>
                      </a:lnTo>
                      <a:lnTo>
                        <a:pt x="288" y="81"/>
                      </a:lnTo>
                      <a:lnTo>
                        <a:pt x="288" y="72"/>
                      </a:lnTo>
                      <a:lnTo>
                        <a:pt x="290" y="61"/>
                      </a:lnTo>
                      <a:lnTo>
                        <a:pt x="292" y="51"/>
                      </a:lnTo>
                      <a:lnTo>
                        <a:pt x="284" y="53"/>
                      </a:lnTo>
                      <a:lnTo>
                        <a:pt x="277" y="55"/>
                      </a:lnTo>
                      <a:lnTo>
                        <a:pt x="268" y="55"/>
                      </a:lnTo>
                      <a:lnTo>
                        <a:pt x="260" y="57"/>
                      </a:lnTo>
                      <a:lnTo>
                        <a:pt x="260" y="57"/>
                      </a:lnTo>
                      <a:lnTo>
                        <a:pt x="258" y="48"/>
                      </a:lnTo>
                      <a:lnTo>
                        <a:pt x="257" y="40"/>
                      </a:lnTo>
                      <a:lnTo>
                        <a:pt x="257" y="31"/>
                      </a:lnTo>
                      <a:lnTo>
                        <a:pt x="255" y="24"/>
                      </a:lnTo>
                      <a:lnTo>
                        <a:pt x="251" y="22"/>
                      </a:lnTo>
                      <a:lnTo>
                        <a:pt x="247" y="22"/>
                      </a:lnTo>
                      <a:lnTo>
                        <a:pt x="247" y="22"/>
                      </a:lnTo>
                      <a:lnTo>
                        <a:pt x="242" y="20"/>
                      </a:lnTo>
                      <a:lnTo>
                        <a:pt x="236" y="20"/>
                      </a:lnTo>
                      <a:lnTo>
                        <a:pt x="236" y="18"/>
                      </a:lnTo>
                      <a:lnTo>
                        <a:pt x="236" y="13"/>
                      </a:lnTo>
                      <a:lnTo>
                        <a:pt x="236" y="9"/>
                      </a:lnTo>
                      <a:lnTo>
                        <a:pt x="233" y="5"/>
                      </a:lnTo>
                      <a:lnTo>
                        <a:pt x="225" y="3"/>
                      </a:lnTo>
                      <a:lnTo>
                        <a:pt x="220" y="1"/>
                      </a:lnTo>
                      <a:lnTo>
                        <a:pt x="21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8" name="Freeform 2942"/>
                <p:cNvSpPr>
                  <a:spLocks/>
                </p:cNvSpPr>
                <p:nvPr/>
              </p:nvSpPr>
              <p:spPr bwMode="auto">
                <a:xfrm>
                  <a:off x="4887" y="2715"/>
                  <a:ext cx="292" cy="636"/>
                </a:xfrm>
                <a:custGeom>
                  <a:avLst/>
                  <a:gdLst>
                    <a:gd name="T0" fmla="*/ 203 w 292"/>
                    <a:gd name="T1" fmla="*/ 13 h 636"/>
                    <a:gd name="T2" fmla="*/ 196 w 292"/>
                    <a:gd name="T3" fmla="*/ 29 h 636"/>
                    <a:gd name="T4" fmla="*/ 186 w 292"/>
                    <a:gd name="T5" fmla="*/ 35 h 636"/>
                    <a:gd name="T6" fmla="*/ 186 w 292"/>
                    <a:gd name="T7" fmla="*/ 59 h 636"/>
                    <a:gd name="T8" fmla="*/ 225 w 292"/>
                    <a:gd name="T9" fmla="*/ 61 h 636"/>
                    <a:gd name="T10" fmla="*/ 233 w 292"/>
                    <a:gd name="T11" fmla="*/ 96 h 636"/>
                    <a:gd name="T12" fmla="*/ 223 w 292"/>
                    <a:gd name="T13" fmla="*/ 107 h 636"/>
                    <a:gd name="T14" fmla="*/ 207 w 292"/>
                    <a:gd name="T15" fmla="*/ 120 h 636"/>
                    <a:gd name="T16" fmla="*/ 201 w 292"/>
                    <a:gd name="T17" fmla="*/ 140 h 636"/>
                    <a:gd name="T18" fmla="*/ 196 w 292"/>
                    <a:gd name="T19" fmla="*/ 158 h 636"/>
                    <a:gd name="T20" fmla="*/ 181 w 292"/>
                    <a:gd name="T21" fmla="*/ 169 h 636"/>
                    <a:gd name="T22" fmla="*/ 150 w 292"/>
                    <a:gd name="T23" fmla="*/ 173 h 636"/>
                    <a:gd name="T24" fmla="*/ 126 w 292"/>
                    <a:gd name="T25" fmla="*/ 177 h 636"/>
                    <a:gd name="T26" fmla="*/ 92 w 292"/>
                    <a:gd name="T27" fmla="*/ 188 h 636"/>
                    <a:gd name="T28" fmla="*/ 92 w 292"/>
                    <a:gd name="T29" fmla="*/ 240 h 636"/>
                    <a:gd name="T30" fmla="*/ 81 w 292"/>
                    <a:gd name="T31" fmla="*/ 254 h 636"/>
                    <a:gd name="T32" fmla="*/ 92 w 292"/>
                    <a:gd name="T33" fmla="*/ 289 h 636"/>
                    <a:gd name="T34" fmla="*/ 92 w 292"/>
                    <a:gd name="T35" fmla="*/ 361 h 636"/>
                    <a:gd name="T36" fmla="*/ 100 w 292"/>
                    <a:gd name="T37" fmla="*/ 376 h 636"/>
                    <a:gd name="T38" fmla="*/ 68 w 292"/>
                    <a:gd name="T39" fmla="*/ 387 h 636"/>
                    <a:gd name="T40" fmla="*/ 22 w 292"/>
                    <a:gd name="T41" fmla="*/ 409 h 636"/>
                    <a:gd name="T42" fmla="*/ 0 w 292"/>
                    <a:gd name="T43" fmla="*/ 455 h 636"/>
                    <a:gd name="T44" fmla="*/ 11 w 292"/>
                    <a:gd name="T45" fmla="*/ 463 h 636"/>
                    <a:gd name="T46" fmla="*/ 26 w 292"/>
                    <a:gd name="T47" fmla="*/ 479 h 636"/>
                    <a:gd name="T48" fmla="*/ 39 w 292"/>
                    <a:gd name="T49" fmla="*/ 511 h 636"/>
                    <a:gd name="T50" fmla="*/ 54 w 292"/>
                    <a:gd name="T51" fmla="*/ 531 h 636"/>
                    <a:gd name="T52" fmla="*/ 68 w 292"/>
                    <a:gd name="T53" fmla="*/ 564 h 636"/>
                    <a:gd name="T54" fmla="*/ 61 w 292"/>
                    <a:gd name="T55" fmla="*/ 601 h 636"/>
                    <a:gd name="T56" fmla="*/ 52 w 292"/>
                    <a:gd name="T57" fmla="*/ 618 h 636"/>
                    <a:gd name="T58" fmla="*/ 63 w 292"/>
                    <a:gd name="T59" fmla="*/ 620 h 636"/>
                    <a:gd name="T60" fmla="*/ 72 w 292"/>
                    <a:gd name="T61" fmla="*/ 633 h 636"/>
                    <a:gd name="T62" fmla="*/ 78 w 292"/>
                    <a:gd name="T63" fmla="*/ 629 h 636"/>
                    <a:gd name="T64" fmla="*/ 76 w 292"/>
                    <a:gd name="T65" fmla="*/ 616 h 636"/>
                    <a:gd name="T66" fmla="*/ 83 w 292"/>
                    <a:gd name="T67" fmla="*/ 605 h 636"/>
                    <a:gd name="T68" fmla="*/ 94 w 292"/>
                    <a:gd name="T69" fmla="*/ 574 h 636"/>
                    <a:gd name="T70" fmla="*/ 98 w 292"/>
                    <a:gd name="T71" fmla="*/ 537 h 636"/>
                    <a:gd name="T72" fmla="*/ 107 w 292"/>
                    <a:gd name="T73" fmla="*/ 533 h 636"/>
                    <a:gd name="T74" fmla="*/ 109 w 292"/>
                    <a:gd name="T75" fmla="*/ 553 h 636"/>
                    <a:gd name="T76" fmla="*/ 122 w 292"/>
                    <a:gd name="T77" fmla="*/ 542 h 636"/>
                    <a:gd name="T78" fmla="*/ 135 w 292"/>
                    <a:gd name="T79" fmla="*/ 542 h 636"/>
                    <a:gd name="T80" fmla="*/ 140 w 292"/>
                    <a:gd name="T81" fmla="*/ 551 h 636"/>
                    <a:gd name="T82" fmla="*/ 196 w 292"/>
                    <a:gd name="T83" fmla="*/ 544 h 636"/>
                    <a:gd name="T84" fmla="*/ 198 w 292"/>
                    <a:gd name="T85" fmla="*/ 533 h 636"/>
                    <a:gd name="T86" fmla="*/ 205 w 292"/>
                    <a:gd name="T87" fmla="*/ 526 h 636"/>
                    <a:gd name="T88" fmla="*/ 212 w 292"/>
                    <a:gd name="T89" fmla="*/ 515 h 636"/>
                    <a:gd name="T90" fmla="*/ 231 w 292"/>
                    <a:gd name="T91" fmla="*/ 505 h 636"/>
                    <a:gd name="T92" fmla="*/ 240 w 292"/>
                    <a:gd name="T93" fmla="*/ 481 h 636"/>
                    <a:gd name="T94" fmla="*/ 262 w 292"/>
                    <a:gd name="T95" fmla="*/ 419 h 636"/>
                    <a:gd name="T96" fmla="*/ 286 w 292"/>
                    <a:gd name="T97" fmla="*/ 245 h 636"/>
                    <a:gd name="T98" fmla="*/ 286 w 292"/>
                    <a:gd name="T99" fmla="*/ 121 h 636"/>
                    <a:gd name="T100" fmla="*/ 290 w 292"/>
                    <a:gd name="T101" fmla="*/ 61 h 636"/>
                    <a:gd name="T102" fmla="*/ 260 w 292"/>
                    <a:gd name="T103" fmla="*/ 57 h 636"/>
                    <a:gd name="T104" fmla="*/ 247 w 292"/>
                    <a:gd name="T105" fmla="*/ 22 h 636"/>
                    <a:gd name="T106" fmla="*/ 236 w 292"/>
                    <a:gd name="T107" fmla="*/ 9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2" h="636">
                      <a:moveTo>
                        <a:pt x="214" y="0"/>
                      </a:moveTo>
                      <a:lnTo>
                        <a:pt x="212" y="0"/>
                      </a:lnTo>
                      <a:lnTo>
                        <a:pt x="209" y="3"/>
                      </a:lnTo>
                      <a:lnTo>
                        <a:pt x="207" y="5"/>
                      </a:lnTo>
                      <a:lnTo>
                        <a:pt x="205" y="7"/>
                      </a:lnTo>
                      <a:lnTo>
                        <a:pt x="203" y="13"/>
                      </a:lnTo>
                      <a:lnTo>
                        <a:pt x="201" y="18"/>
                      </a:lnTo>
                      <a:lnTo>
                        <a:pt x="199" y="22"/>
                      </a:lnTo>
                      <a:lnTo>
                        <a:pt x="199" y="24"/>
                      </a:lnTo>
                      <a:lnTo>
                        <a:pt x="199" y="24"/>
                      </a:lnTo>
                      <a:lnTo>
                        <a:pt x="198" y="27"/>
                      </a:lnTo>
                      <a:lnTo>
                        <a:pt x="196" y="29"/>
                      </a:lnTo>
                      <a:lnTo>
                        <a:pt x="196" y="29"/>
                      </a:lnTo>
                      <a:lnTo>
                        <a:pt x="194" y="31"/>
                      </a:lnTo>
                      <a:lnTo>
                        <a:pt x="194" y="31"/>
                      </a:lnTo>
                      <a:lnTo>
                        <a:pt x="190" y="33"/>
                      </a:lnTo>
                      <a:lnTo>
                        <a:pt x="190" y="33"/>
                      </a:lnTo>
                      <a:lnTo>
                        <a:pt x="186" y="35"/>
                      </a:lnTo>
                      <a:lnTo>
                        <a:pt x="185" y="37"/>
                      </a:lnTo>
                      <a:lnTo>
                        <a:pt x="183" y="40"/>
                      </a:lnTo>
                      <a:lnTo>
                        <a:pt x="181" y="46"/>
                      </a:lnTo>
                      <a:lnTo>
                        <a:pt x="179" y="51"/>
                      </a:lnTo>
                      <a:lnTo>
                        <a:pt x="179" y="57"/>
                      </a:lnTo>
                      <a:lnTo>
                        <a:pt x="186" y="59"/>
                      </a:lnTo>
                      <a:lnTo>
                        <a:pt x="192" y="61"/>
                      </a:lnTo>
                      <a:lnTo>
                        <a:pt x="199" y="61"/>
                      </a:lnTo>
                      <a:lnTo>
                        <a:pt x="205" y="61"/>
                      </a:lnTo>
                      <a:lnTo>
                        <a:pt x="212" y="61"/>
                      </a:lnTo>
                      <a:lnTo>
                        <a:pt x="218" y="61"/>
                      </a:lnTo>
                      <a:lnTo>
                        <a:pt x="225" y="61"/>
                      </a:lnTo>
                      <a:lnTo>
                        <a:pt x="234" y="61"/>
                      </a:lnTo>
                      <a:lnTo>
                        <a:pt x="234" y="61"/>
                      </a:lnTo>
                      <a:lnTo>
                        <a:pt x="234" y="70"/>
                      </a:lnTo>
                      <a:lnTo>
                        <a:pt x="233" y="77"/>
                      </a:lnTo>
                      <a:lnTo>
                        <a:pt x="234" y="86"/>
                      </a:lnTo>
                      <a:lnTo>
                        <a:pt x="233" y="96"/>
                      </a:lnTo>
                      <a:lnTo>
                        <a:pt x="233" y="96"/>
                      </a:lnTo>
                      <a:lnTo>
                        <a:pt x="227" y="96"/>
                      </a:lnTo>
                      <a:lnTo>
                        <a:pt x="223" y="96"/>
                      </a:lnTo>
                      <a:lnTo>
                        <a:pt x="223" y="99"/>
                      </a:lnTo>
                      <a:lnTo>
                        <a:pt x="223" y="103"/>
                      </a:lnTo>
                      <a:lnTo>
                        <a:pt x="223" y="107"/>
                      </a:lnTo>
                      <a:lnTo>
                        <a:pt x="223" y="112"/>
                      </a:lnTo>
                      <a:lnTo>
                        <a:pt x="222" y="112"/>
                      </a:lnTo>
                      <a:lnTo>
                        <a:pt x="218" y="114"/>
                      </a:lnTo>
                      <a:lnTo>
                        <a:pt x="218" y="114"/>
                      </a:lnTo>
                      <a:lnTo>
                        <a:pt x="212" y="118"/>
                      </a:lnTo>
                      <a:lnTo>
                        <a:pt x="207" y="120"/>
                      </a:lnTo>
                      <a:lnTo>
                        <a:pt x="201" y="121"/>
                      </a:lnTo>
                      <a:lnTo>
                        <a:pt x="203" y="129"/>
                      </a:lnTo>
                      <a:lnTo>
                        <a:pt x="203" y="129"/>
                      </a:lnTo>
                      <a:lnTo>
                        <a:pt x="201" y="134"/>
                      </a:lnTo>
                      <a:lnTo>
                        <a:pt x="201" y="134"/>
                      </a:lnTo>
                      <a:lnTo>
                        <a:pt x="201" y="140"/>
                      </a:lnTo>
                      <a:lnTo>
                        <a:pt x="201" y="140"/>
                      </a:lnTo>
                      <a:lnTo>
                        <a:pt x="201" y="145"/>
                      </a:lnTo>
                      <a:lnTo>
                        <a:pt x="199" y="151"/>
                      </a:lnTo>
                      <a:lnTo>
                        <a:pt x="199" y="151"/>
                      </a:lnTo>
                      <a:lnTo>
                        <a:pt x="198" y="155"/>
                      </a:lnTo>
                      <a:lnTo>
                        <a:pt x="196" y="158"/>
                      </a:lnTo>
                      <a:lnTo>
                        <a:pt x="192" y="162"/>
                      </a:lnTo>
                      <a:lnTo>
                        <a:pt x="188" y="166"/>
                      </a:lnTo>
                      <a:lnTo>
                        <a:pt x="188" y="166"/>
                      </a:lnTo>
                      <a:lnTo>
                        <a:pt x="185" y="168"/>
                      </a:lnTo>
                      <a:lnTo>
                        <a:pt x="185" y="168"/>
                      </a:lnTo>
                      <a:lnTo>
                        <a:pt x="181" y="169"/>
                      </a:lnTo>
                      <a:lnTo>
                        <a:pt x="175" y="171"/>
                      </a:lnTo>
                      <a:lnTo>
                        <a:pt x="175" y="171"/>
                      </a:lnTo>
                      <a:lnTo>
                        <a:pt x="170" y="173"/>
                      </a:lnTo>
                      <a:lnTo>
                        <a:pt x="164" y="173"/>
                      </a:lnTo>
                      <a:lnTo>
                        <a:pt x="157" y="173"/>
                      </a:lnTo>
                      <a:lnTo>
                        <a:pt x="150" y="173"/>
                      </a:lnTo>
                      <a:lnTo>
                        <a:pt x="146" y="179"/>
                      </a:lnTo>
                      <a:lnTo>
                        <a:pt x="140" y="184"/>
                      </a:lnTo>
                      <a:lnTo>
                        <a:pt x="140" y="184"/>
                      </a:lnTo>
                      <a:lnTo>
                        <a:pt x="135" y="182"/>
                      </a:lnTo>
                      <a:lnTo>
                        <a:pt x="129" y="180"/>
                      </a:lnTo>
                      <a:lnTo>
                        <a:pt x="126" y="177"/>
                      </a:lnTo>
                      <a:lnTo>
                        <a:pt x="126" y="177"/>
                      </a:lnTo>
                      <a:lnTo>
                        <a:pt x="120" y="175"/>
                      </a:lnTo>
                      <a:lnTo>
                        <a:pt x="113" y="179"/>
                      </a:lnTo>
                      <a:lnTo>
                        <a:pt x="105" y="182"/>
                      </a:lnTo>
                      <a:lnTo>
                        <a:pt x="98" y="186"/>
                      </a:lnTo>
                      <a:lnTo>
                        <a:pt x="92" y="188"/>
                      </a:lnTo>
                      <a:lnTo>
                        <a:pt x="92" y="201"/>
                      </a:lnTo>
                      <a:lnTo>
                        <a:pt x="94" y="212"/>
                      </a:lnTo>
                      <a:lnTo>
                        <a:pt x="96" y="225"/>
                      </a:lnTo>
                      <a:lnTo>
                        <a:pt x="98" y="238"/>
                      </a:lnTo>
                      <a:lnTo>
                        <a:pt x="96" y="238"/>
                      </a:lnTo>
                      <a:lnTo>
                        <a:pt x="92" y="240"/>
                      </a:lnTo>
                      <a:lnTo>
                        <a:pt x="89" y="241"/>
                      </a:lnTo>
                      <a:lnTo>
                        <a:pt x="89" y="241"/>
                      </a:lnTo>
                      <a:lnTo>
                        <a:pt x="85" y="241"/>
                      </a:lnTo>
                      <a:lnTo>
                        <a:pt x="81" y="243"/>
                      </a:lnTo>
                      <a:lnTo>
                        <a:pt x="81" y="249"/>
                      </a:lnTo>
                      <a:lnTo>
                        <a:pt x="81" y="254"/>
                      </a:lnTo>
                      <a:lnTo>
                        <a:pt x="81" y="258"/>
                      </a:lnTo>
                      <a:lnTo>
                        <a:pt x="81" y="264"/>
                      </a:lnTo>
                      <a:lnTo>
                        <a:pt x="85" y="264"/>
                      </a:lnTo>
                      <a:lnTo>
                        <a:pt x="92" y="264"/>
                      </a:lnTo>
                      <a:lnTo>
                        <a:pt x="92" y="276"/>
                      </a:lnTo>
                      <a:lnTo>
                        <a:pt x="92" y="289"/>
                      </a:lnTo>
                      <a:lnTo>
                        <a:pt x="92" y="300"/>
                      </a:lnTo>
                      <a:lnTo>
                        <a:pt x="92" y="313"/>
                      </a:lnTo>
                      <a:lnTo>
                        <a:pt x="92" y="326"/>
                      </a:lnTo>
                      <a:lnTo>
                        <a:pt x="92" y="337"/>
                      </a:lnTo>
                      <a:lnTo>
                        <a:pt x="92" y="350"/>
                      </a:lnTo>
                      <a:lnTo>
                        <a:pt x="92" y="361"/>
                      </a:lnTo>
                      <a:lnTo>
                        <a:pt x="96" y="361"/>
                      </a:lnTo>
                      <a:lnTo>
                        <a:pt x="103" y="361"/>
                      </a:lnTo>
                      <a:lnTo>
                        <a:pt x="103" y="363"/>
                      </a:lnTo>
                      <a:lnTo>
                        <a:pt x="102" y="367"/>
                      </a:lnTo>
                      <a:lnTo>
                        <a:pt x="100" y="371"/>
                      </a:lnTo>
                      <a:lnTo>
                        <a:pt x="100" y="376"/>
                      </a:lnTo>
                      <a:lnTo>
                        <a:pt x="98" y="380"/>
                      </a:lnTo>
                      <a:lnTo>
                        <a:pt x="89" y="383"/>
                      </a:lnTo>
                      <a:lnTo>
                        <a:pt x="81" y="385"/>
                      </a:lnTo>
                      <a:lnTo>
                        <a:pt x="74" y="387"/>
                      </a:lnTo>
                      <a:lnTo>
                        <a:pt x="68" y="387"/>
                      </a:lnTo>
                      <a:lnTo>
                        <a:pt x="68" y="387"/>
                      </a:lnTo>
                      <a:lnTo>
                        <a:pt x="61" y="389"/>
                      </a:lnTo>
                      <a:lnTo>
                        <a:pt x="52" y="389"/>
                      </a:lnTo>
                      <a:lnTo>
                        <a:pt x="41" y="391"/>
                      </a:lnTo>
                      <a:lnTo>
                        <a:pt x="26" y="391"/>
                      </a:lnTo>
                      <a:lnTo>
                        <a:pt x="24" y="400"/>
                      </a:lnTo>
                      <a:lnTo>
                        <a:pt x="22" y="409"/>
                      </a:lnTo>
                      <a:lnTo>
                        <a:pt x="20" y="417"/>
                      </a:lnTo>
                      <a:lnTo>
                        <a:pt x="17" y="424"/>
                      </a:lnTo>
                      <a:lnTo>
                        <a:pt x="13" y="433"/>
                      </a:lnTo>
                      <a:lnTo>
                        <a:pt x="9" y="441"/>
                      </a:lnTo>
                      <a:lnTo>
                        <a:pt x="6" y="448"/>
                      </a:lnTo>
                      <a:lnTo>
                        <a:pt x="0" y="455"/>
                      </a:lnTo>
                      <a:lnTo>
                        <a:pt x="2" y="457"/>
                      </a:lnTo>
                      <a:lnTo>
                        <a:pt x="2" y="457"/>
                      </a:lnTo>
                      <a:lnTo>
                        <a:pt x="6" y="457"/>
                      </a:lnTo>
                      <a:lnTo>
                        <a:pt x="6" y="457"/>
                      </a:lnTo>
                      <a:lnTo>
                        <a:pt x="9" y="459"/>
                      </a:lnTo>
                      <a:lnTo>
                        <a:pt x="11" y="463"/>
                      </a:lnTo>
                      <a:lnTo>
                        <a:pt x="15" y="465"/>
                      </a:lnTo>
                      <a:lnTo>
                        <a:pt x="15" y="465"/>
                      </a:lnTo>
                      <a:lnTo>
                        <a:pt x="17" y="467"/>
                      </a:lnTo>
                      <a:lnTo>
                        <a:pt x="19" y="470"/>
                      </a:lnTo>
                      <a:lnTo>
                        <a:pt x="20" y="472"/>
                      </a:lnTo>
                      <a:lnTo>
                        <a:pt x="26" y="479"/>
                      </a:lnTo>
                      <a:lnTo>
                        <a:pt x="26" y="479"/>
                      </a:lnTo>
                      <a:lnTo>
                        <a:pt x="28" y="485"/>
                      </a:lnTo>
                      <a:lnTo>
                        <a:pt x="31" y="492"/>
                      </a:lnTo>
                      <a:lnTo>
                        <a:pt x="33" y="498"/>
                      </a:lnTo>
                      <a:lnTo>
                        <a:pt x="37" y="505"/>
                      </a:lnTo>
                      <a:lnTo>
                        <a:pt x="39" y="511"/>
                      </a:lnTo>
                      <a:lnTo>
                        <a:pt x="43" y="516"/>
                      </a:lnTo>
                      <a:lnTo>
                        <a:pt x="46" y="522"/>
                      </a:lnTo>
                      <a:lnTo>
                        <a:pt x="48" y="526"/>
                      </a:lnTo>
                      <a:lnTo>
                        <a:pt x="50" y="527"/>
                      </a:lnTo>
                      <a:lnTo>
                        <a:pt x="52" y="529"/>
                      </a:lnTo>
                      <a:lnTo>
                        <a:pt x="54" y="531"/>
                      </a:lnTo>
                      <a:lnTo>
                        <a:pt x="57" y="533"/>
                      </a:lnTo>
                      <a:lnTo>
                        <a:pt x="59" y="535"/>
                      </a:lnTo>
                      <a:lnTo>
                        <a:pt x="63" y="535"/>
                      </a:lnTo>
                      <a:lnTo>
                        <a:pt x="67" y="537"/>
                      </a:lnTo>
                      <a:lnTo>
                        <a:pt x="68" y="551"/>
                      </a:lnTo>
                      <a:lnTo>
                        <a:pt x="68" y="564"/>
                      </a:lnTo>
                      <a:lnTo>
                        <a:pt x="70" y="579"/>
                      </a:lnTo>
                      <a:lnTo>
                        <a:pt x="72" y="594"/>
                      </a:lnTo>
                      <a:lnTo>
                        <a:pt x="72" y="594"/>
                      </a:lnTo>
                      <a:lnTo>
                        <a:pt x="67" y="596"/>
                      </a:lnTo>
                      <a:lnTo>
                        <a:pt x="65" y="598"/>
                      </a:lnTo>
                      <a:lnTo>
                        <a:pt x="61" y="601"/>
                      </a:lnTo>
                      <a:lnTo>
                        <a:pt x="59" y="603"/>
                      </a:lnTo>
                      <a:lnTo>
                        <a:pt x="57" y="605"/>
                      </a:lnTo>
                      <a:lnTo>
                        <a:pt x="55" y="609"/>
                      </a:lnTo>
                      <a:lnTo>
                        <a:pt x="52" y="614"/>
                      </a:lnTo>
                      <a:lnTo>
                        <a:pt x="50" y="618"/>
                      </a:lnTo>
                      <a:lnTo>
                        <a:pt x="52" y="618"/>
                      </a:lnTo>
                      <a:lnTo>
                        <a:pt x="57" y="618"/>
                      </a:lnTo>
                      <a:lnTo>
                        <a:pt x="57" y="618"/>
                      </a:lnTo>
                      <a:lnTo>
                        <a:pt x="59" y="614"/>
                      </a:lnTo>
                      <a:lnTo>
                        <a:pt x="61" y="616"/>
                      </a:lnTo>
                      <a:lnTo>
                        <a:pt x="61" y="618"/>
                      </a:lnTo>
                      <a:lnTo>
                        <a:pt x="63" y="620"/>
                      </a:lnTo>
                      <a:lnTo>
                        <a:pt x="63" y="620"/>
                      </a:lnTo>
                      <a:lnTo>
                        <a:pt x="61" y="622"/>
                      </a:lnTo>
                      <a:lnTo>
                        <a:pt x="61" y="622"/>
                      </a:lnTo>
                      <a:lnTo>
                        <a:pt x="65" y="625"/>
                      </a:lnTo>
                      <a:lnTo>
                        <a:pt x="68" y="629"/>
                      </a:lnTo>
                      <a:lnTo>
                        <a:pt x="72" y="633"/>
                      </a:lnTo>
                      <a:lnTo>
                        <a:pt x="76" y="636"/>
                      </a:lnTo>
                      <a:lnTo>
                        <a:pt x="76" y="634"/>
                      </a:lnTo>
                      <a:lnTo>
                        <a:pt x="76" y="634"/>
                      </a:lnTo>
                      <a:lnTo>
                        <a:pt x="78" y="633"/>
                      </a:lnTo>
                      <a:lnTo>
                        <a:pt x="78" y="631"/>
                      </a:lnTo>
                      <a:lnTo>
                        <a:pt x="78" y="629"/>
                      </a:lnTo>
                      <a:lnTo>
                        <a:pt x="76" y="627"/>
                      </a:lnTo>
                      <a:lnTo>
                        <a:pt x="76" y="625"/>
                      </a:lnTo>
                      <a:lnTo>
                        <a:pt x="74" y="622"/>
                      </a:lnTo>
                      <a:lnTo>
                        <a:pt x="70" y="618"/>
                      </a:lnTo>
                      <a:lnTo>
                        <a:pt x="72" y="616"/>
                      </a:lnTo>
                      <a:lnTo>
                        <a:pt x="76" y="616"/>
                      </a:lnTo>
                      <a:lnTo>
                        <a:pt x="78" y="614"/>
                      </a:lnTo>
                      <a:lnTo>
                        <a:pt x="79" y="614"/>
                      </a:lnTo>
                      <a:lnTo>
                        <a:pt x="79" y="612"/>
                      </a:lnTo>
                      <a:lnTo>
                        <a:pt x="81" y="610"/>
                      </a:lnTo>
                      <a:lnTo>
                        <a:pt x="81" y="609"/>
                      </a:lnTo>
                      <a:lnTo>
                        <a:pt x="83" y="605"/>
                      </a:lnTo>
                      <a:lnTo>
                        <a:pt x="83" y="601"/>
                      </a:lnTo>
                      <a:lnTo>
                        <a:pt x="85" y="601"/>
                      </a:lnTo>
                      <a:lnTo>
                        <a:pt x="87" y="605"/>
                      </a:lnTo>
                      <a:lnTo>
                        <a:pt x="89" y="607"/>
                      </a:lnTo>
                      <a:lnTo>
                        <a:pt x="92" y="588"/>
                      </a:lnTo>
                      <a:lnTo>
                        <a:pt x="94" y="574"/>
                      </a:lnTo>
                      <a:lnTo>
                        <a:pt x="96" y="564"/>
                      </a:lnTo>
                      <a:lnTo>
                        <a:pt x="98" y="557"/>
                      </a:lnTo>
                      <a:lnTo>
                        <a:pt x="98" y="550"/>
                      </a:lnTo>
                      <a:lnTo>
                        <a:pt x="98" y="546"/>
                      </a:lnTo>
                      <a:lnTo>
                        <a:pt x="98" y="542"/>
                      </a:lnTo>
                      <a:lnTo>
                        <a:pt x="98" y="537"/>
                      </a:lnTo>
                      <a:lnTo>
                        <a:pt x="98" y="537"/>
                      </a:lnTo>
                      <a:lnTo>
                        <a:pt x="100" y="535"/>
                      </a:lnTo>
                      <a:lnTo>
                        <a:pt x="100" y="535"/>
                      </a:lnTo>
                      <a:lnTo>
                        <a:pt x="103" y="535"/>
                      </a:lnTo>
                      <a:lnTo>
                        <a:pt x="107" y="533"/>
                      </a:lnTo>
                      <a:lnTo>
                        <a:pt x="107" y="533"/>
                      </a:lnTo>
                      <a:lnTo>
                        <a:pt x="111" y="531"/>
                      </a:lnTo>
                      <a:lnTo>
                        <a:pt x="111" y="533"/>
                      </a:lnTo>
                      <a:lnTo>
                        <a:pt x="111" y="539"/>
                      </a:lnTo>
                      <a:lnTo>
                        <a:pt x="109" y="542"/>
                      </a:lnTo>
                      <a:lnTo>
                        <a:pt x="109" y="548"/>
                      </a:lnTo>
                      <a:lnTo>
                        <a:pt x="109" y="553"/>
                      </a:lnTo>
                      <a:lnTo>
                        <a:pt x="111" y="551"/>
                      </a:lnTo>
                      <a:lnTo>
                        <a:pt x="114" y="550"/>
                      </a:lnTo>
                      <a:lnTo>
                        <a:pt x="118" y="550"/>
                      </a:lnTo>
                      <a:lnTo>
                        <a:pt x="120" y="548"/>
                      </a:lnTo>
                      <a:lnTo>
                        <a:pt x="122" y="542"/>
                      </a:lnTo>
                      <a:lnTo>
                        <a:pt x="122" y="542"/>
                      </a:lnTo>
                      <a:lnTo>
                        <a:pt x="124" y="537"/>
                      </a:lnTo>
                      <a:lnTo>
                        <a:pt x="126" y="531"/>
                      </a:lnTo>
                      <a:lnTo>
                        <a:pt x="127" y="524"/>
                      </a:lnTo>
                      <a:lnTo>
                        <a:pt x="131" y="533"/>
                      </a:lnTo>
                      <a:lnTo>
                        <a:pt x="135" y="542"/>
                      </a:lnTo>
                      <a:lnTo>
                        <a:pt x="135" y="542"/>
                      </a:lnTo>
                      <a:lnTo>
                        <a:pt x="137" y="550"/>
                      </a:lnTo>
                      <a:lnTo>
                        <a:pt x="138" y="557"/>
                      </a:lnTo>
                      <a:lnTo>
                        <a:pt x="138" y="557"/>
                      </a:lnTo>
                      <a:lnTo>
                        <a:pt x="140" y="557"/>
                      </a:lnTo>
                      <a:lnTo>
                        <a:pt x="140" y="555"/>
                      </a:lnTo>
                      <a:lnTo>
                        <a:pt x="140" y="551"/>
                      </a:lnTo>
                      <a:lnTo>
                        <a:pt x="140" y="548"/>
                      </a:lnTo>
                      <a:lnTo>
                        <a:pt x="155" y="546"/>
                      </a:lnTo>
                      <a:lnTo>
                        <a:pt x="170" y="546"/>
                      </a:lnTo>
                      <a:lnTo>
                        <a:pt x="183" y="546"/>
                      </a:lnTo>
                      <a:lnTo>
                        <a:pt x="196" y="546"/>
                      </a:lnTo>
                      <a:lnTo>
                        <a:pt x="196" y="544"/>
                      </a:lnTo>
                      <a:lnTo>
                        <a:pt x="196" y="544"/>
                      </a:lnTo>
                      <a:lnTo>
                        <a:pt x="196" y="540"/>
                      </a:lnTo>
                      <a:lnTo>
                        <a:pt x="198" y="539"/>
                      </a:lnTo>
                      <a:lnTo>
                        <a:pt x="198" y="535"/>
                      </a:lnTo>
                      <a:lnTo>
                        <a:pt x="198" y="535"/>
                      </a:lnTo>
                      <a:lnTo>
                        <a:pt x="198" y="533"/>
                      </a:lnTo>
                      <a:lnTo>
                        <a:pt x="199" y="531"/>
                      </a:lnTo>
                      <a:lnTo>
                        <a:pt x="199" y="531"/>
                      </a:lnTo>
                      <a:lnTo>
                        <a:pt x="201" y="531"/>
                      </a:lnTo>
                      <a:lnTo>
                        <a:pt x="201" y="531"/>
                      </a:lnTo>
                      <a:lnTo>
                        <a:pt x="201" y="529"/>
                      </a:lnTo>
                      <a:lnTo>
                        <a:pt x="205" y="526"/>
                      </a:lnTo>
                      <a:lnTo>
                        <a:pt x="207" y="524"/>
                      </a:lnTo>
                      <a:lnTo>
                        <a:pt x="209" y="522"/>
                      </a:lnTo>
                      <a:lnTo>
                        <a:pt x="209" y="520"/>
                      </a:lnTo>
                      <a:lnTo>
                        <a:pt x="210" y="518"/>
                      </a:lnTo>
                      <a:lnTo>
                        <a:pt x="212" y="515"/>
                      </a:lnTo>
                      <a:lnTo>
                        <a:pt x="212" y="515"/>
                      </a:lnTo>
                      <a:lnTo>
                        <a:pt x="216" y="515"/>
                      </a:lnTo>
                      <a:lnTo>
                        <a:pt x="222" y="515"/>
                      </a:lnTo>
                      <a:lnTo>
                        <a:pt x="225" y="515"/>
                      </a:lnTo>
                      <a:lnTo>
                        <a:pt x="229" y="515"/>
                      </a:lnTo>
                      <a:lnTo>
                        <a:pt x="231" y="505"/>
                      </a:lnTo>
                      <a:lnTo>
                        <a:pt x="231" y="505"/>
                      </a:lnTo>
                      <a:lnTo>
                        <a:pt x="233" y="500"/>
                      </a:lnTo>
                      <a:lnTo>
                        <a:pt x="234" y="492"/>
                      </a:lnTo>
                      <a:lnTo>
                        <a:pt x="236" y="487"/>
                      </a:lnTo>
                      <a:lnTo>
                        <a:pt x="236" y="487"/>
                      </a:lnTo>
                      <a:lnTo>
                        <a:pt x="240" y="481"/>
                      </a:lnTo>
                      <a:lnTo>
                        <a:pt x="240" y="481"/>
                      </a:lnTo>
                      <a:lnTo>
                        <a:pt x="244" y="476"/>
                      </a:lnTo>
                      <a:lnTo>
                        <a:pt x="247" y="472"/>
                      </a:lnTo>
                      <a:lnTo>
                        <a:pt x="253" y="465"/>
                      </a:lnTo>
                      <a:lnTo>
                        <a:pt x="257" y="450"/>
                      </a:lnTo>
                      <a:lnTo>
                        <a:pt x="258" y="435"/>
                      </a:lnTo>
                      <a:lnTo>
                        <a:pt x="262" y="419"/>
                      </a:lnTo>
                      <a:lnTo>
                        <a:pt x="264" y="404"/>
                      </a:lnTo>
                      <a:lnTo>
                        <a:pt x="270" y="372"/>
                      </a:lnTo>
                      <a:lnTo>
                        <a:pt x="273" y="341"/>
                      </a:lnTo>
                      <a:lnTo>
                        <a:pt x="277" y="310"/>
                      </a:lnTo>
                      <a:lnTo>
                        <a:pt x="282" y="276"/>
                      </a:lnTo>
                      <a:lnTo>
                        <a:pt x="286" y="245"/>
                      </a:lnTo>
                      <a:lnTo>
                        <a:pt x="290" y="214"/>
                      </a:lnTo>
                      <a:lnTo>
                        <a:pt x="290" y="193"/>
                      </a:lnTo>
                      <a:lnTo>
                        <a:pt x="288" y="173"/>
                      </a:lnTo>
                      <a:lnTo>
                        <a:pt x="288" y="153"/>
                      </a:lnTo>
                      <a:lnTo>
                        <a:pt x="286" y="133"/>
                      </a:lnTo>
                      <a:lnTo>
                        <a:pt x="286" y="121"/>
                      </a:lnTo>
                      <a:lnTo>
                        <a:pt x="286" y="112"/>
                      </a:lnTo>
                      <a:lnTo>
                        <a:pt x="286" y="101"/>
                      </a:lnTo>
                      <a:lnTo>
                        <a:pt x="286" y="92"/>
                      </a:lnTo>
                      <a:lnTo>
                        <a:pt x="288" y="81"/>
                      </a:lnTo>
                      <a:lnTo>
                        <a:pt x="288" y="72"/>
                      </a:lnTo>
                      <a:lnTo>
                        <a:pt x="290" y="61"/>
                      </a:lnTo>
                      <a:lnTo>
                        <a:pt x="292" y="51"/>
                      </a:lnTo>
                      <a:lnTo>
                        <a:pt x="284" y="53"/>
                      </a:lnTo>
                      <a:lnTo>
                        <a:pt x="277" y="55"/>
                      </a:lnTo>
                      <a:lnTo>
                        <a:pt x="268" y="55"/>
                      </a:lnTo>
                      <a:lnTo>
                        <a:pt x="260" y="57"/>
                      </a:lnTo>
                      <a:lnTo>
                        <a:pt x="260" y="57"/>
                      </a:lnTo>
                      <a:lnTo>
                        <a:pt x="258" y="48"/>
                      </a:lnTo>
                      <a:lnTo>
                        <a:pt x="257" y="40"/>
                      </a:lnTo>
                      <a:lnTo>
                        <a:pt x="257" y="31"/>
                      </a:lnTo>
                      <a:lnTo>
                        <a:pt x="255" y="24"/>
                      </a:lnTo>
                      <a:lnTo>
                        <a:pt x="251" y="22"/>
                      </a:lnTo>
                      <a:lnTo>
                        <a:pt x="247" y="22"/>
                      </a:lnTo>
                      <a:lnTo>
                        <a:pt x="247" y="22"/>
                      </a:lnTo>
                      <a:lnTo>
                        <a:pt x="242" y="20"/>
                      </a:lnTo>
                      <a:lnTo>
                        <a:pt x="236" y="20"/>
                      </a:lnTo>
                      <a:lnTo>
                        <a:pt x="236" y="18"/>
                      </a:lnTo>
                      <a:lnTo>
                        <a:pt x="236" y="13"/>
                      </a:lnTo>
                      <a:lnTo>
                        <a:pt x="236" y="9"/>
                      </a:lnTo>
                      <a:lnTo>
                        <a:pt x="233" y="5"/>
                      </a:lnTo>
                      <a:lnTo>
                        <a:pt x="225" y="3"/>
                      </a:lnTo>
                      <a:lnTo>
                        <a:pt x="220" y="1"/>
                      </a:lnTo>
                      <a:lnTo>
                        <a:pt x="214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9" name="Freeform 2943"/>
                <p:cNvSpPr>
                  <a:spLocks/>
                </p:cNvSpPr>
                <p:nvPr/>
              </p:nvSpPr>
              <p:spPr bwMode="auto">
                <a:xfrm>
                  <a:off x="5181" y="2764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0" name="Freeform 2944"/>
                <p:cNvSpPr>
                  <a:spLocks/>
                </p:cNvSpPr>
                <p:nvPr/>
              </p:nvSpPr>
              <p:spPr bwMode="auto">
                <a:xfrm>
                  <a:off x="5181" y="2764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1" name="Freeform 2945"/>
                <p:cNvSpPr>
                  <a:spLocks noEditPoints="1"/>
                </p:cNvSpPr>
                <p:nvPr/>
              </p:nvSpPr>
              <p:spPr bwMode="auto">
                <a:xfrm>
                  <a:off x="4885" y="2929"/>
                  <a:ext cx="292" cy="408"/>
                </a:xfrm>
                <a:custGeom>
                  <a:avLst/>
                  <a:gdLst>
                    <a:gd name="T0" fmla="*/ 61 w 292"/>
                    <a:gd name="T1" fmla="*/ 408 h 408"/>
                    <a:gd name="T2" fmla="*/ 61 w 292"/>
                    <a:gd name="T3" fmla="*/ 408 h 408"/>
                    <a:gd name="T4" fmla="*/ 63 w 292"/>
                    <a:gd name="T5" fmla="*/ 406 h 408"/>
                    <a:gd name="T6" fmla="*/ 98 w 292"/>
                    <a:gd name="T7" fmla="*/ 350 h 408"/>
                    <a:gd name="T8" fmla="*/ 91 w 292"/>
                    <a:gd name="T9" fmla="*/ 393 h 408"/>
                    <a:gd name="T10" fmla="*/ 85 w 292"/>
                    <a:gd name="T11" fmla="*/ 387 h 408"/>
                    <a:gd name="T12" fmla="*/ 83 w 292"/>
                    <a:gd name="T13" fmla="*/ 396 h 408"/>
                    <a:gd name="T14" fmla="*/ 80 w 292"/>
                    <a:gd name="T15" fmla="*/ 400 h 408"/>
                    <a:gd name="T16" fmla="*/ 72 w 292"/>
                    <a:gd name="T17" fmla="*/ 404 h 408"/>
                    <a:gd name="T18" fmla="*/ 80 w 292"/>
                    <a:gd name="T19" fmla="*/ 400 h 408"/>
                    <a:gd name="T20" fmla="*/ 83 w 292"/>
                    <a:gd name="T21" fmla="*/ 396 h 408"/>
                    <a:gd name="T22" fmla="*/ 85 w 292"/>
                    <a:gd name="T23" fmla="*/ 387 h 408"/>
                    <a:gd name="T24" fmla="*/ 91 w 292"/>
                    <a:gd name="T25" fmla="*/ 393 h 408"/>
                    <a:gd name="T26" fmla="*/ 98 w 292"/>
                    <a:gd name="T27" fmla="*/ 350 h 408"/>
                    <a:gd name="T28" fmla="*/ 233 w 292"/>
                    <a:gd name="T29" fmla="*/ 291 h 408"/>
                    <a:gd name="T30" fmla="*/ 224 w 292"/>
                    <a:gd name="T31" fmla="*/ 301 h 408"/>
                    <a:gd name="T32" fmla="*/ 214 w 292"/>
                    <a:gd name="T33" fmla="*/ 301 h 408"/>
                    <a:gd name="T34" fmla="*/ 211 w 292"/>
                    <a:gd name="T35" fmla="*/ 308 h 408"/>
                    <a:gd name="T36" fmla="*/ 203 w 292"/>
                    <a:gd name="T37" fmla="*/ 315 h 408"/>
                    <a:gd name="T38" fmla="*/ 201 w 292"/>
                    <a:gd name="T39" fmla="*/ 317 h 408"/>
                    <a:gd name="T40" fmla="*/ 203 w 292"/>
                    <a:gd name="T41" fmla="*/ 315 h 408"/>
                    <a:gd name="T42" fmla="*/ 211 w 292"/>
                    <a:gd name="T43" fmla="*/ 308 h 408"/>
                    <a:gd name="T44" fmla="*/ 214 w 292"/>
                    <a:gd name="T45" fmla="*/ 301 h 408"/>
                    <a:gd name="T46" fmla="*/ 224 w 292"/>
                    <a:gd name="T47" fmla="*/ 301 h 408"/>
                    <a:gd name="T48" fmla="*/ 233 w 292"/>
                    <a:gd name="T49" fmla="*/ 291 h 408"/>
                    <a:gd name="T50" fmla="*/ 102 w 292"/>
                    <a:gd name="T51" fmla="*/ 153 h 408"/>
                    <a:gd name="T52" fmla="*/ 100 w 292"/>
                    <a:gd name="T53" fmla="*/ 162 h 408"/>
                    <a:gd name="T54" fmla="*/ 83 w 292"/>
                    <a:gd name="T55" fmla="*/ 169 h 408"/>
                    <a:gd name="T56" fmla="*/ 63 w 292"/>
                    <a:gd name="T57" fmla="*/ 173 h 408"/>
                    <a:gd name="T58" fmla="*/ 28 w 292"/>
                    <a:gd name="T59" fmla="*/ 175 h 408"/>
                    <a:gd name="T60" fmla="*/ 21 w 292"/>
                    <a:gd name="T61" fmla="*/ 203 h 408"/>
                    <a:gd name="T62" fmla="*/ 15 w 292"/>
                    <a:gd name="T63" fmla="*/ 217 h 408"/>
                    <a:gd name="T64" fmla="*/ 0 w 292"/>
                    <a:gd name="T65" fmla="*/ 241 h 408"/>
                    <a:gd name="T66" fmla="*/ 15 w 292"/>
                    <a:gd name="T67" fmla="*/ 217 h 408"/>
                    <a:gd name="T68" fmla="*/ 21 w 292"/>
                    <a:gd name="T69" fmla="*/ 203 h 408"/>
                    <a:gd name="T70" fmla="*/ 28 w 292"/>
                    <a:gd name="T71" fmla="*/ 175 h 408"/>
                    <a:gd name="T72" fmla="*/ 63 w 292"/>
                    <a:gd name="T73" fmla="*/ 173 h 408"/>
                    <a:gd name="T74" fmla="*/ 83 w 292"/>
                    <a:gd name="T75" fmla="*/ 169 h 408"/>
                    <a:gd name="T76" fmla="*/ 100 w 292"/>
                    <a:gd name="T77" fmla="*/ 162 h 408"/>
                    <a:gd name="T78" fmla="*/ 102 w 292"/>
                    <a:gd name="T79" fmla="*/ 153 h 408"/>
                    <a:gd name="T80" fmla="*/ 288 w 292"/>
                    <a:gd name="T81" fmla="*/ 31 h 408"/>
                    <a:gd name="T82" fmla="*/ 275 w 292"/>
                    <a:gd name="T83" fmla="*/ 127 h 408"/>
                    <a:gd name="T84" fmla="*/ 264 w 292"/>
                    <a:gd name="T85" fmla="*/ 205 h 408"/>
                    <a:gd name="T86" fmla="*/ 255 w 292"/>
                    <a:gd name="T87" fmla="*/ 251 h 408"/>
                    <a:gd name="T88" fmla="*/ 242 w 292"/>
                    <a:gd name="T89" fmla="*/ 267 h 408"/>
                    <a:gd name="T90" fmla="*/ 242 w 292"/>
                    <a:gd name="T91" fmla="*/ 267 h 408"/>
                    <a:gd name="T92" fmla="*/ 249 w 292"/>
                    <a:gd name="T93" fmla="*/ 258 h 408"/>
                    <a:gd name="T94" fmla="*/ 260 w 292"/>
                    <a:gd name="T95" fmla="*/ 221 h 408"/>
                    <a:gd name="T96" fmla="*/ 272 w 292"/>
                    <a:gd name="T97" fmla="*/ 158 h 408"/>
                    <a:gd name="T98" fmla="*/ 284 w 292"/>
                    <a:gd name="T99" fmla="*/ 62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92" h="408">
                      <a:moveTo>
                        <a:pt x="63" y="406"/>
                      </a:moveTo>
                      <a:lnTo>
                        <a:pt x="63" y="406"/>
                      </a:lnTo>
                      <a:lnTo>
                        <a:pt x="61" y="408"/>
                      </a:lnTo>
                      <a:lnTo>
                        <a:pt x="61" y="408"/>
                      </a:lnTo>
                      <a:lnTo>
                        <a:pt x="61" y="408"/>
                      </a:lnTo>
                      <a:lnTo>
                        <a:pt x="61" y="408"/>
                      </a:lnTo>
                      <a:lnTo>
                        <a:pt x="61" y="408"/>
                      </a:lnTo>
                      <a:lnTo>
                        <a:pt x="63" y="406"/>
                      </a:lnTo>
                      <a:lnTo>
                        <a:pt x="63" y="406"/>
                      </a:lnTo>
                      <a:close/>
                      <a:moveTo>
                        <a:pt x="100" y="336"/>
                      </a:moveTo>
                      <a:lnTo>
                        <a:pt x="100" y="343"/>
                      </a:lnTo>
                      <a:lnTo>
                        <a:pt x="98" y="350"/>
                      </a:lnTo>
                      <a:lnTo>
                        <a:pt x="96" y="360"/>
                      </a:lnTo>
                      <a:lnTo>
                        <a:pt x="94" y="374"/>
                      </a:lnTo>
                      <a:lnTo>
                        <a:pt x="91" y="393"/>
                      </a:lnTo>
                      <a:lnTo>
                        <a:pt x="89" y="391"/>
                      </a:lnTo>
                      <a:lnTo>
                        <a:pt x="87" y="387"/>
                      </a:lnTo>
                      <a:lnTo>
                        <a:pt x="85" y="387"/>
                      </a:lnTo>
                      <a:lnTo>
                        <a:pt x="85" y="391"/>
                      </a:lnTo>
                      <a:lnTo>
                        <a:pt x="83" y="395"/>
                      </a:lnTo>
                      <a:lnTo>
                        <a:pt x="83" y="396"/>
                      </a:lnTo>
                      <a:lnTo>
                        <a:pt x="81" y="398"/>
                      </a:lnTo>
                      <a:lnTo>
                        <a:pt x="81" y="400"/>
                      </a:lnTo>
                      <a:lnTo>
                        <a:pt x="80" y="400"/>
                      </a:lnTo>
                      <a:lnTo>
                        <a:pt x="78" y="402"/>
                      </a:lnTo>
                      <a:lnTo>
                        <a:pt x="74" y="402"/>
                      </a:lnTo>
                      <a:lnTo>
                        <a:pt x="72" y="404"/>
                      </a:lnTo>
                      <a:lnTo>
                        <a:pt x="74" y="402"/>
                      </a:lnTo>
                      <a:lnTo>
                        <a:pt x="78" y="402"/>
                      </a:lnTo>
                      <a:lnTo>
                        <a:pt x="80" y="400"/>
                      </a:lnTo>
                      <a:lnTo>
                        <a:pt x="81" y="400"/>
                      </a:lnTo>
                      <a:lnTo>
                        <a:pt x="81" y="398"/>
                      </a:lnTo>
                      <a:lnTo>
                        <a:pt x="83" y="396"/>
                      </a:lnTo>
                      <a:lnTo>
                        <a:pt x="83" y="395"/>
                      </a:lnTo>
                      <a:lnTo>
                        <a:pt x="85" y="391"/>
                      </a:lnTo>
                      <a:lnTo>
                        <a:pt x="85" y="387"/>
                      </a:lnTo>
                      <a:lnTo>
                        <a:pt x="87" y="387"/>
                      </a:lnTo>
                      <a:lnTo>
                        <a:pt x="89" y="391"/>
                      </a:lnTo>
                      <a:lnTo>
                        <a:pt x="91" y="393"/>
                      </a:lnTo>
                      <a:lnTo>
                        <a:pt x="94" y="374"/>
                      </a:lnTo>
                      <a:lnTo>
                        <a:pt x="96" y="360"/>
                      </a:lnTo>
                      <a:lnTo>
                        <a:pt x="98" y="350"/>
                      </a:lnTo>
                      <a:lnTo>
                        <a:pt x="100" y="343"/>
                      </a:lnTo>
                      <a:lnTo>
                        <a:pt x="100" y="336"/>
                      </a:lnTo>
                      <a:close/>
                      <a:moveTo>
                        <a:pt x="233" y="291"/>
                      </a:moveTo>
                      <a:lnTo>
                        <a:pt x="231" y="301"/>
                      </a:lnTo>
                      <a:lnTo>
                        <a:pt x="227" y="301"/>
                      </a:lnTo>
                      <a:lnTo>
                        <a:pt x="224" y="301"/>
                      </a:lnTo>
                      <a:lnTo>
                        <a:pt x="218" y="301"/>
                      </a:lnTo>
                      <a:lnTo>
                        <a:pt x="214" y="301"/>
                      </a:lnTo>
                      <a:lnTo>
                        <a:pt x="214" y="301"/>
                      </a:lnTo>
                      <a:lnTo>
                        <a:pt x="212" y="304"/>
                      </a:lnTo>
                      <a:lnTo>
                        <a:pt x="211" y="306"/>
                      </a:lnTo>
                      <a:lnTo>
                        <a:pt x="211" y="308"/>
                      </a:lnTo>
                      <a:lnTo>
                        <a:pt x="209" y="310"/>
                      </a:lnTo>
                      <a:lnTo>
                        <a:pt x="207" y="312"/>
                      </a:lnTo>
                      <a:lnTo>
                        <a:pt x="203" y="315"/>
                      </a:lnTo>
                      <a:lnTo>
                        <a:pt x="203" y="317"/>
                      </a:lnTo>
                      <a:lnTo>
                        <a:pt x="203" y="317"/>
                      </a:lnTo>
                      <a:lnTo>
                        <a:pt x="201" y="317"/>
                      </a:lnTo>
                      <a:lnTo>
                        <a:pt x="203" y="317"/>
                      </a:lnTo>
                      <a:lnTo>
                        <a:pt x="203" y="317"/>
                      </a:lnTo>
                      <a:lnTo>
                        <a:pt x="203" y="315"/>
                      </a:lnTo>
                      <a:lnTo>
                        <a:pt x="207" y="312"/>
                      </a:lnTo>
                      <a:lnTo>
                        <a:pt x="209" y="310"/>
                      </a:lnTo>
                      <a:lnTo>
                        <a:pt x="211" y="308"/>
                      </a:lnTo>
                      <a:lnTo>
                        <a:pt x="211" y="306"/>
                      </a:lnTo>
                      <a:lnTo>
                        <a:pt x="212" y="304"/>
                      </a:lnTo>
                      <a:lnTo>
                        <a:pt x="214" y="301"/>
                      </a:lnTo>
                      <a:lnTo>
                        <a:pt x="214" y="301"/>
                      </a:lnTo>
                      <a:lnTo>
                        <a:pt x="218" y="301"/>
                      </a:lnTo>
                      <a:lnTo>
                        <a:pt x="224" y="301"/>
                      </a:lnTo>
                      <a:lnTo>
                        <a:pt x="227" y="301"/>
                      </a:lnTo>
                      <a:lnTo>
                        <a:pt x="231" y="301"/>
                      </a:lnTo>
                      <a:lnTo>
                        <a:pt x="233" y="291"/>
                      </a:lnTo>
                      <a:close/>
                      <a:moveTo>
                        <a:pt x="104" y="149"/>
                      </a:moveTo>
                      <a:lnTo>
                        <a:pt x="104" y="149"/>
                      </a:lnTo>
                      <a:lnTo>
                        <a:pt x="102" y="153"/>
                      </a:lnTo>
                      <a:lnTo>
                        <a:pt x="102" y="157"/>
                      </a:lnTo>
                      <a:lnTo>
                        <a:pt x="102" y="157"/>
                      </a:lnTo>
                      <a:lnTo>
                        <a:pt x="100" y="162"/>
                      </a:lnTo>
                      <a:lnTo>
                        <a:pt x="100" y="166"/>
                      </a:lnTo>
                      <a:lnTo>
                        <a:pt x="91" y="168"/>
                      </a:lnTo>
                      <a:lnTo>
                        <a:pt x="83" y="169"/>
                      </a:lnTo>
                      <a:lnTo>
                        <a:pt x="76" y="171"/>
                      </a:lnTo>
                      <a:lnTo>
                        <a:pt x="70" y="171"/>
                      </a:lnTo>
                      <a:lnTo>
                        <a:pt x="63" y="173"/>
                      </a:lnTo>
                      <a:lnTo>
                        <a:pt x="54" y="173"/>
                      </a:lnTo>
                      <a:lnTo>
                        <a:pt x="43" y="175"/>
                      </a:lnTo>
                      <a:lnTo>
                        <a:pt x="28" y="175"/>
                      </a:lnTo>
                      <a:lnTo>
                        <a:pt x="24" y="186"/>
                      </a:lnTo>
                      <a:lnTo>
                        <a:pt x="22" y="195"/>
                      </a:lnTo>
                      <a:lnTo>
                        <a:pt x="21" y="203"/>
                      </a:lnTo>
                      <a:lnTo>
                        <a:pt x="21" y="203"/>
                      </a:lnTo>
                      <a:lnTo>
                        <a:pt x="17" y="210"/>
                      </a:lnTo>
                      <a:lnTo>
                        <a:pt x="15" y="217"/>
                      </a:lnTo>
                      <a:lnTo>
                        <a:pt x="9" y="225"/>
                      </a:lnTo>
                      <a:lnTo>
                        <a:pt x="6" y="232"/>
                      </a:lnTo>
                      <a:lnTo>
                        <a:pt x="0" y="241"/>
                      </a:lnTo>
                      <a:lnTo>
                        <a:pt x="6" y="232"/>
                      </a:lnTo>
                      <a:lnTo>
                        <a:pt x="9" y="225"/>
                      </a:lnTo>
                      <a:lnTo>
                        <a:pt x="15" y="217"/>
                      </a:lnTo>
                      <a:lnTo>
                        <a:pt x="17" y="210"/>
                      </a:lnTo>
                      <a:lnTo>
                        <a:pt x="21" y="203"/>
                      </a:lnTo>
                      <a:lnTo>
                        <a:pt x="21" y="203"/>
                      </a:lnTo>
                      <a:lnTo>
                        <a:pt x="22" y="195"/>
                      </a:lnTo>
                      <a:lnTo>
                        <a:pt x="24" y="186"/>
                      </a:lnTo>
                      <a:lnTo>
                        <a:pt x="28" y="175"/>
                      </a:lnTo>
                      <a:lnTo>
                        <a:pt x="43" y="175"/>
                      </a:lnTo>
                      <a:lnTo>
                        <a:pt x="54" y="173"/>
                      </a:lnTo>
                      <a:lnTo>
                        <a:pt x="63" y="173"/>
                      </a:lnTo>
                      <a:lnTo>
                        <a:pt x="70" y="171"/>
                      </a:lnTo>
                      <a:lnTo>
                        <a:pt x="76" y="171"/>
                      </a:lnTo>
                      <a:lnTo>
                        <a:pt x="83" y="169"/>
                      </a:lnTo>
                      <a:lnTo>
                        <a:pt x="91" y="168"/>
                      </a:lnTo>
                      <a:lnTo>
                        <a:pt x="100" y="166"/>
                      </a:lnTo>
                      <a:lnTo>
                        <a:pt x="100" y="162"/>
                      </a:lnTo>
                      <a:lnTo>
                        <a:pt x="102" y="157"/>
                      </a:lnTo>
                      <a:lnTo>
                        <a:pt x="102" y="157"/>
                      </a:lnTo>
                      <a:lnTo>
                        <a:pt x="102" y="153"/>
                      </a:lnTo>
                      <a:lnTo>
                        <a:pt x="104" y="149"/>
                      </a:lnTo>
                      <a:close/>
                      <a:moveTo>
                        <a:pt x="292" y="0"/>
                      </a:moveTo>
                      <a:lnTo>
                        <a:pt x="288" y="31"/>
                      </a:lnTo>
                      <a:lnTo>
                        <a:pt x="284" y="62"/>
                      </a:lnTo>
                      <a:lnTo>
                        <a:pt x="279" y="96"/>
                      </a:lnTo>
                      <a:lnTo>
                        <a:pt x="275" y="127"/>
                      </a:lnTo>
                      <a:lnTo>
                        <a:pt x="272" y="158"/>
                      </a:lnTo>
                      <a:lnTo>
                        <a:pt x="266" y="190"/>
                      </a:lnTo>
                      <a:lnTo>
                        <a:pt x="264" y="205"/>
                      </a:lnTo>
                      <a:lnTo>
                        <a:pt x="260" y="221"/>
                      </a:lnTo>
                      <a:lnTo>
                        <a:pt x="259" y="236"/>
                      </a:lnTo>
                      <a:lnTo>
                        <a:pt x="255" y="251"/>
                      </a:lnTo>
                      <a:lnTo>
                        <a:pt x="249" y="258"/>
                      </a:lnTo>
                      <a:lnTo>
                        <a:pt x="246" y="262"/>
                      </a:lnTo>
                      <a:lnTo>
                        <a:pt x="242" y="267"/>
                      </a:lnTo>
                      <a:lnTo>
                        <a:pt x="242" y="267"/>
                      </a:lnTo>
                      <a:lnTo>
                        <a:pt x="238" y="273"/>
                      </a:lnTo>
                      <a:lnTo>
                        <a:pt x="242" y="267"/>
                      </a:lnTo>
                      <a:lnTo>
                        <a:pt x="242" y="267"/>
                      </a:lnTo>
                      <a:lnTo>
                        <a:pt x="246" y="262"/>
                      </a:lnTo>
                      <a:lnTo>
                        <a:pt x="249" y="258"/>
                      </a:lnTo>
                      <a:lnTo>
                        <a:pt x="255" y="251"/>
                      </a:lnTo>
                      <a:lnTo>
                        <a:pt x="259" y="236"/>
                      </a:lnTo>
                      <a:lnTo>
                        <a:pt x="260" y="221"/>
                      </a:lnTo>
                      <a:lnTo>
                        <a:pt x="264" y="205"/>
                      </a:lnTo>
                      <a:lnTo>
                        <a:pt x="266" y="190"/>
                      </a:lnTo>
                      <a:lnTo>
                        <a:pt x="272" y="158"/>
                      </a:lnTo>
                      <a:lnTo>
                        <a:pt x="275" y="127"/>
                      </a:lnTo>
                      <a:lnTo>
                        <a:pt x="279" y="96"/>
                      </a:lnTo>
                      <a:lnTo>
                        <a:pt x="284" y="62"/>
                      </a:lnTo>
                      <a:lnTo>
                        <a:pt x="288" y="31"/>
                      </a:lnTo>
                      <a:lnTo>
                        <a:pt x="29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2" name="Freeform 2946"/>
                <p:cNvSpPr>
                  <a:spLocks/>
                </p:cNvSpPr>
                <p:nvPr/>
              </p:nvSpPr>
              <p:spPr bwMode="auto">
                <a:xfrm>
                  <a:off x="4946" y="3335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2 w 2"/>
                    <a:gd name="T3" fmla="*/ 0 h 2"/>
                    <a:gd name="T4" fmla="*/ 0 w 2"/>
                    <a:gd name="T5" fmla="*/ 2 h 2"/>
                    <a:gd name="T6" fmla="*/ 0 w 2"/>
                    <a:gd name="T7" fmla="*/ 2 h 2"/>
                    <a:gd name="T8" fmla="*/ 0 w 2"/>
                    <a:gd name="T9" fmla="*/ 2 h 2"/>
                    <a:gd name="T10" fmla="*/ 0 w 2"/>
                    <a:gd name="T11" fmla="*/ 2 h 2"/>
                    <a:gd name="T12" fmla="*/ 0 w 2"/>
                    <a:gd name="T13" fmla="*/ 2 h 2"/>
                    <a:gd name="T14" fmla="*/ 2 w 2"/>
                    <a:gd name="T15" fmla="*/ 0 h 2"/>
                    <a:gd name="T16" fmla="*/ 2 w 2"/>
                    <a:gd name="T1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3" name="Freeform 2947"/>
                <p:cNvSpPr>
                  <a:spLocks/>
                </p:cNvSpPr>
                <p:nvPr/>
              </p:nvSpPr>
              <p:spPr bwMode="auto">
                <a:xfrm>
                  <a:off x="4957" y="3265"/>
                  <a:ext cx="28" cy="68"/>
                </a:xfrm>
                <a:custGeom>
                  <a:avLst/>
                  <a:gdLst>
                    <a:gd name="T0" fmla="*/ 28 w 28"/>
                    <a:gd name="T1" fmla="*/ 0 h 68"/>
                    <a:gd name="T2" fmla="*/ 28 w 28"/>
                    <a:gd name="T3" fmla="*/ 7 h 68"/>
                    <a:gd name="T4" fmla="*/ 26 w 28"/>
                    <a:gd name="T5" fmla="*/ 14 h 68"/>
                    <a:gd name="T6" fmla="*/ 24 w 28"/>
                    <a:gd name="T7" fmla="*/ 24 h 68"/>
                    <a:gd name="T8" fmla="*/ 22 w 28"/>
                    <a:gd name="T9" fmla="*/ 38 h 68"/>
                    <a:gd name="T10" fmla="*/ 19 w 28"/>
                    <a:gd name="T11" fmla="*/ 57 h 68"/>
                    <a:gd name="T12" fmla="*/ 17 w 28"/>
                    <a:gd name="T13" fmla="*/ 55 h 68"/>
                    <a:gd name="T14" fmla="*/ 15 w 28"/>
                    <a:gd name="T15" fmla="*/ 51 h 68"/>
                    <a:gd name="T16" fmla="*/ 13 w 28"/>
                    <a:gd name="T17" fmla="*/ 51 h 68"/>
                    <a:gd name="T18" fmla="*/ 13 w 28"/>
                    <a:gd name="T19" fmla="*/ 55 h 68"/>
                    <a:gd name="T20" fmla="*/ 11 w 28"/>
                    <a:gd name="T21" fmla="*/ 59 h 68"/>
                    <a:gd name="T22" fmla="*/ 11 w 28"/>
                    <a:gd name="T23" fmla="*/ 60 h 68"/>
                    <a:gd name="T24" fmla="*/ 9 w 28"/>
                    <a:gd name="T25" fmla="*/ 62 h 68"/>
                    <a:gd name="T26" fmla="*/ 9 w 28"/>
                    <a:gd name="T27" fmla="*/ 64 h 68"/>
                    <a:gd name="T28" fmla="*/ 8 w 28"/>
                    <a:gd name="T29" fmla="*/ 64 h 68"/>
                    <a:gd name="T30" fmla="*/ 6 w 28"/>
                    <a:gd name="T31" fmla="*/ 66 h 68"/>
                    <a:gd name="T32" fmla="*/ 2 w 28"/>
                    <a:gd name="T33" fmla="*/ 66 h 68"/>
                    <a:gd name="T34" fmla="*/ 0 w 28"/>
                    <a:gd name="T35" fmla="*/ 68 h 68"/>
                    <a:gd name="T36" fmla="*/ 2 w 28"/>
                    <a:gd name="T37" fmla="*/ 66 h 68"/>
                    <a:gd name="T38" fmla="*/ 6 w 28"/>
                    <a:gd name="T39" fmla="*/ 66 h 68"/>
                    <a:gd name="T40" fmla="*/ 8 w 28"/>
                    <a:gd name="T41" fmla="*/ 64 h 68"/>
                    <a:gd name="T42" fmla="*/ 9 w 28"/>
                    <a:gd name="T43" fmla="*/ 64 h 68"/>
                    <a:gd name="T44" fmla="*/ 9 w 28"/>
                    <a:gd name="T45" fmla="*/ 62 h 68"/>
                    <a:gd name="T46" fmla="*/ 11 w 28"/>
                    <a:gd name="T47" fmla="*/ 60 h 68"/>
                    <a:gd name="T48" fmla="*/ 11 w 28"/>
                    <a:gd name="T49" fmla="*/ 59 h 68"/>
                    <a:gd name="T50" fmla="*/ 13 w 28"/>
                    <a:gd name="T51" fmla="*/ 55 h 68"/>
                    <a:gd name="T52" fmla="*/ 13 w 28"/>
                    <a:gd name="T53" fmla="*/ 51 h 68"/>
                    <a:gd name="T54" fmla="*/ 15 w 28"/>
                    <a:gd name="T55" fmla="*/ 51 h 68"/>
                    <a:gd name="T56" fmla="*/ 17 w 28"/>
                    <a:gd name="T57" fmla="*/ 55 h 68"/>
                    <a:gd name="T58" fmla="*/ 19 w 28"/>
                    <a:gd name="T59" fmla="*/ 57 h 68"/>
                    <a:gd name="T60" fmla="*/ 22 w 28"/>
                    <a:gd name="T61" fmla="*/ 38 h 68"/>
                    <a:gd name="T62" fmla="*/ 24 w 28"/>
                    <a:gd name="T63" fmla="*/ 24 h 68"/>
                    <a:gd name="T64" fmla="*/ 26 w 28"/>
                    <a:gd name="T65" fmla="*/ 14 h 68"/>
                    <a:gd name="T66" fmla="*/ 28 w 28"/>
                    <a:gd name="T67" fmla="*/ 7 h 68"/>
                    <a:gd name="T68" fmla="*/ 28 w 28"/>
                    <a:gd name="T69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8" h="68">
                      <a:moveTo>
                        <a:pt x="28" y="0"/>
                      </a:moveTo>
                      <a:lnTo>
                        <a:pt x="28" y="7"/>
                      </a:lnTo>
                      <a:lnTo>
                        <a:pt x="26" y="14"/>
                      </a:lnTo>
                      <a:lnTo>
                        <a:pt x="24" y="24"/>
                      </a:lnTo>
                      <a:lnTo>
                        <a:pt x="22" y="38"/>
                      </a:lnTo>
                      <a:lnTo>
                        <a:pt x="19" y="57"/>
                      </a:lnTo>
                      <a:lnTo>
                        <a:pt x="17" y="55"/>
                      </a:lnTo>
                      <a:lnTo>
                        <a:pt x="15" y="51"/>
                      </a:lnTo>
                      <a:lnTo>
                        <a:pt x="13" y="51"/>
                      </a:lnTo>
                      <a:lnTo>
                        <a:pt x="13" y="55"/>
                      </a:lnTo>
                      <a:lnTo>
                        <a:pt x="11" y="59"/>
                      </a:lnTo>
                      <a:lnTo>
                        <a:pt x="11" y="60"/>
                      </a:lnTo>
                      <a:lnTo>
                        <a:pt x="9" y="62"/>
                      </a:lnTo>
                      <a:lnTo>
                        <a:pt x="9" y="64"/>
                      </a:lnTo>
                      <a:lnTo>
                        <a:pt x="8" y="64"/>
                      </a:lnTo>
                      <a:lnTo>
                        <a:pt x="6" y="66"/>
                      </a:lnTo>
                      <a:lnTo>
                        <a:pt x="2" y="66"/>
                      </a:lnTo>
                      <a:lnTo>
                        <a:pt x="0" y="68"/>
                      </a:lnTo>
                      <a:lnTo>
                        <a:pt x="2" y="66"/>
                      </a:lnTo>
                      <a:lnTo>
                        <a:pt x="6" y="66"/>
                      </a:lnTo>
                      <a:lnTo>
                        <a:pt x="8" y="64"/>
                      </a:lnTo>
                      <a:lnTo>
                        <a:pt x="9" y="64"/>
                      </a:lnTo>
                      <a:lnTo>
                        <a:pt x="9" y="62"/>
                      </a:lnTo>
                      <a:lnTo>
                        <a:pt x="11" y="60"/>
                      </a:lnTo>
                      <a:lnTo>
                        <a:pt x="11" y="59"/>
                      </a:lnTo>
                      <a:lnTo>
                        <a:pt x="13" y="55"/>
                      </a:lnTo>
                      <a:lnTo>
                        <a:pt x="13" y="51"/>
                      </a:lnTo>
                      <a:lnTo>
                        <a:pt x="15" y="51"/>
                      </a:lnTo>
                      <a:lnTo>
                        <a:pt x="17" y="55"/>
                      </a:lnTo>
                      <a:lnTo>
                        <a:pt x="19" y="57"/>
                      </a:lnTo>
                      <a:lnTo>
                        <a:pt x="22" y="38"/>
                      </a:lnTo>
                      <a:lnTo>
                        <a:pt x="24" y="24"/>
                      </a:lnTo>
                      <a:lnTo>
                        <a:pt x="26" y="14"/>
                      </a:lnTo>
                      <a:lnTo>
                        <a:pt x="28" y="7"/>
                      </a:lnTo>
                      <a:lnTo>
                        <a:pt x="2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4" name="Freeform 2948"/>
                <p:cNvSpPr>
                  <a:spLocks/>
                </p:cNvSpPr>
                <p:nvPr/>
              </p:nvSpPr>
              <p:spPr bwMode="auto">
                <a:xfrm>
                  <a:off x="5086" y="3220"/>
                  <a:ext cx="32" cy="26"/>
                </a:xfrm>
                <a:custGeom>
                  <a:avLst/>
                  <a:gdLst>
                    <a:gd name="T0" fmla="*/ 32 w 32"/>
                    <a:gd name="T1" fmla="*/ 0 h 26"/>
                    <a:gd name="T2" fmla="*/ 30 w 32"/>
                    <a:gd name="T3" fmla="*/ 10 h 26"/>
                    <a:gd name="T4" fmla="*/ 26 w 32"/>
                    <a:gd name="T5" fmla="*/ 10 h 26"/>
                    <a:gd name="T6" fmla="*/ 23 w 32"/>
                    <a:gd name="T7" fmla="*/ 10 h 26"/>
                    <a:gd name="T8" fmla="*/ 17 w 32"/>
                    <a:gd name="T9" fmla="*/ 10 h 26"/>
                    <a:gd name="T10" fmla="*/ 13 w 32"/>
                    <a:gd name="T11" fmla="*/ 10 h 26"/>
                    <a:gd name="T12" fmla="*/ 13 w 32"/>
                    <a:gd name="T13" fmla="*/ 10 h 26"/>
                    <a:gd name="T14" fmla="*/ 11 w 32"/>
                    <a:gd name="T15" fmla="*/ 13 h 26"/>
                    <a:gd name="T16" fmla="*/ 10 w 32"/>
                    <a:gd name="T17" fmla="*/ 15 h 26"/>
                    <a:gd name="T18" fmla="*/ 10 w 32"/>
                    <a:gd name="T19" fmla="*/ 17 h 26"/>
                    <a:gd name="T20" fmla="*/ 8 w 32"/>
                    <a:gd name="T21" fmla="*/ 19 h 26"/>
                    <a:gd name="T22" fmla="*/ 6 w 32"/>
                    <a:gd name="T23" fmla="*/ 21 h 26"/>
                    <a:gd name="T24" fmla="*/ 2 w 32"/>
                    <a:gd name="T25" fmla="*/ 24 h 26"/>
                    <a:gd name="T26" fmla="*/ 2 w 32"/>
                    <a:gd name="T27" fmla="*/ 26 h 26"/>
                    <a:gd name="T28" fmla="*/ 2 w 32"/>
                    <a:gd name="T29" fmla="*/ 26 h 26"/>
                    <a:gd name="T30" fmla="*/ 0 w 32"/>
                    <a:gd name="T31" fmla="*/ 26 h 26"/>
                    <a:gd name="T32" fmla="*/ 2 w 32"/>
                    <a:gd name="T33" fmla="*/ 26 h 26"/>
                    <a:gd name="T34" fmla="*/ 2 w 32"/>
                    <a:gd name="T35" fmla="*/ 26 h 26"/>
                    <a:gd name="T36" fmla="*/ 2 w 32"/>
                    <a:gd name="T37" fmla="*/ 24 h 26"/>
                    <a:gd name="T38" fmla="*/ 6 w 32"/>
                    <a:gd name="T39" fmla="*/ 21 h 26"/>
                    <a:gd name="T40" fmla="*/ 8 w 32"/>
                    <a:gd name="T41" fmla="*/ 19 h 26"/>
                    <a:gd name="T42" fmla="*/ 10 w 32"/>
                    <a:gd name="T43" fmla="*/ 17 h 26"/>
                    <a:gd name="T44" fmla="*/ 10 w 32"/>
                    <a:gd name="T45" fmla="*/ 15 h 26"/>
                    <a:gd name="T46" fmla="*/ 11 w 32"/>
                    <a:gd name="T47" fmla="*/ 13 h 26"/>
                    <a:gd name="T48" fmla="*/ 13 w 32"/>
                    <a:gd name="T49" fmla="*/ 10 h 26"/>
                    <a:gd name="T50" fmla="*/ 13 w 32"/>
                    <a:gd name="T51" fmla="*/ 10 h 26"/>
                    <a:gd name="T52" fmla="*/ 17 w 32"/>
                    <a:gd name="T53" fmla="*/ 10 h 26"/>
                    <a:gd name="T54" fmla="*/ 23 w 32"/>
                    <a:gd name="T55" fmla="*/ 10 h 26"/>
                    <a:gd name="T56" fmla="*/ 26 w 32"/>
                    <a:gd name="T57" fmla="*/ 10 h 26"/>
                    <a:gd name="T58" fmla="*/ 30 w 32"/>
                    <a:gd name="T59" fmla="*/ 10 h 26"/>
                    <a:gd name="T60" fmla="*/ 32 w 32"/>
                    <a:gd name="T61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2" h="26">
                      <a:moveTo>
                        <a:pt x="32" y="0"/>
                      </a:moveTo>
                      <a:lnTo>
                        <a:pt x="30" y="10"/>
                      </a:lnTo>
                      <a:lnTo>
                        <a:pt x="26" y="10"/>
                      </a:lnTo>
                      <a:lnTo>
                        <a:pt x="23" y="10"/>
                      </a:lnTo>
                      <a:lnTo>
                        <a:pt x="17" y="10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1" y="13"/>
                      </a:lnTo>
                      <a:lnTo>
                        <a:pt x="10" y="15"/>
                      </a:lnTo>
                      <a:lnTo>
                        <a:pt x="10" y="17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2" y="24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0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4"/>
                      </a:lnTo>
                      <a:lnTo>
                        <a:pt x="6" y="21"/>
                      </a:lnTo>
                      <a:lnTo>
                        <a:pt x="8" y="19"/>
                      </a:lnTo>
                      <a:lnTo>
                        <a:pt x="10" y="17"/>
                      </a:lnTo>
                      <a:lnTo>
                        <a:pt x="10" y="15"/>
                      </a:lnTo>
                      <a:lnTo>
                        <a:pt x="11" y="13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7" y="10"/>
                      </a:lnTo>
                      <a:lnTo>
                        <a:pt x="23" y="10"/>
                      </a:lnTo>
                      <a:lnTo>
                        <a:pt x="26" y="10"/>
                      </a:lnTo>
                      <a:lnTo>
                        <a:pt x="30" y="10"/>
                      </a:lnTo>
                      <a:lnTo>
                        <a:pt x="3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5" name="Freeform 2949"/>
                <p:cNvSpPr>
                  <a:spLocks/>
                </p:cNvSpPr>
                <p:nvPr/>
              </p:nvSpPr>
              <p:spPr bwMode="auto">
                <a:xfrm>
                  <a:off x="4885" y="3078"/>
                  <a:ext cx="104" cy="92"/>
                </a:xfrm>
                <a:custGeom>
                  <a:avLst/>
                  <a:gdLst>
                    <a:gd name="T0" fmla="*/ 104 w 104"/>
                    <a:gd name="T1" fmla="*/ 0 h 92"/>
                    <a:gd name="T2" fmla="*/ 104 w 104"/>
                    <a:gd name="T3" fmla="*/ 0 h 92"/>
                    <a:gd name="T4" fmla="*/ 102 w 104"/>
                    <a:gd name="T5" fmla="*/ 4 h 92"/>
                    <a:gd name="T6" fmla="*/ 102 w 104"/>
                    <a:gd name="T7" fmla="*/ 8 h 92"/>
                    <a:gd name="T8" fmla="*/ 102 w 104"/>
                    <a:gd name="T9" fmla="*/ 8 h 92"/>
                    <a:gd name="T10" fmla="*/ 100 w 104"/>
                    <a:gd name="T11" fmla="*/ 13 h 92"/>
                    <a:gd name="T12" fmla="*/ 100 w 104"/>
                    <a:gd name="T13" fmla="*/ 17 h 92"/>
                    <a:gd name="T14" fmla="*/ 91 w 104"/>
                    <a:gd name="T15" fmla="*/ 19 h 92"/>
                    <a:gd name="T16" fmla="*/ 83 w 104"/>
                    <a:gd name="T17" fmla="*/ 20 h 92"/>
                    <a:gd name="T18" fmla="*/ 76 w 104"/>
                    <a:gd name="T19" fmla="*/ 22 h 92"/>
                    <a:gd name="T20" fmla="*/ 70 w 104"/>
                    <a:gd name="T21" fmla="*/ 22 h 92"/>
                    <a:gd name="T22" fmla="*/ 63 w 104"/>
                    <a:gd name="T23" fmla="*/ 24 h 92"/>
                    <a:gd name="T24" fmla="*/ 54 w 104"/>
                    <a:gd name="T25" fmla="*/ 24 h 92"/>
                    <a:gd name="T26" fmla="*/ 43 w 104"/>
                    <a:gd name="T27" fmla="*/ 26 h 92"/>
                    <a:gd name="T28" fmla="*/ 28 w 104"/>
                    <a:gd name="T29" fmla="*/ 26 h 92"/>
                    <a:gd name="T30" fmla="*/ 24 w 104"/>
                    <a:gd name="T31" fmla="*/ 37 h 92"/>
                    <a:gd name="T32" fmla="*/ 22 w 104"/>
                    <a:gd name="T33" fmla="*/ 46 h 92"/>
                    <a:gd name="T34" fmla="*/ 21 w 104"/>
                    <a:gd name="T35" fmla="*/ 54 h 92"/>
                    <a:gd name="T36" fmla="*/ 21 w 104"/>
                    <a:gd name="T37" fmla="*/ 54 h 92"/>
                    <a:gd name="T38" fmla="*/ 17 w 104"/>
                    <a:gd name="T39" fmla="*/ 61 h 92"/>
                    <a:gd name="T40" fmla="*/ 15 w 104"/>
                    <a:gd name="T41" fmla="*/ 68 h 92"/>
                    <a:gd name="T42" fmla="*/ 9 w 104"/>
                    <a:gd name="T43" fmla="*/ 76 h 92"/>
                    <a:gd name="T44" fmla="*/ 6 w 104"/>
                    <a:gd name="T45" fmla="*/ 83 h 92"/>
                    <a:gd name="T46" fmla="*/ 0 w 104"/>
                    <a:gd name="T47" fmla="*/ 92 h 92"/>
                    <a:gd name="T48" fmla="*/ 6 w 104"/>
                    <a:gd name="T49" fmla="*/ 83 h 92"/>
                    <a:gd name="T50" fmla="*/ 9 w 104"/>
                    <a:gd name="T51" fmla="*/ 76 h 92"/>
                    <a:gd name="T52" fmla="*/ 15 w 104"/>
                    <a:gd name="T53" fmla="*/ 68 h 92"/>
                    <a:gd name="T54" fmla="*/ 17 w 104"/>
                    <a:gd name="T55" fmla="*/ 61 h 92"/>
                    <a:gd name="T56" fmla="*/ 21 w 104"/>
                    <a:gd name="T57" fmla="*/ 54 h 92"/>
                    <a:gd name="T58" fmla="*/ 21 w 104"/>
                    <a:gd name="T59" fmla="*/ 54 h 92"/>
                    <a:gd name="T60" fmla="*/ 22 w 104"/>
                    <a:gd name="T61" fmla="*/ 46 h 92"/>
                    <a:gd name="T62" fmla="*/ 24 w 104"/>
                    <a:gd name="T63" fmla="*/ 37 h 92"/>
                    <a:gd name="T64" fmla="*/ 28 w 104"/>
                    <a:gd name="T65" fmla="*/ 26 h 92"/>
                    <a:gd name="T66" fmla="*/ 43 w 104"/>
                    <a:gd name="T67" fmla="*/ 26 h 92"/>
                    <a:gd name="T68" fmla="*/ 54 w 104"/>
                    <a:gd name="T69" fmla="*/ 24 h 92"/>
                    <a:gd name="T70" fmla="*/ 63 w 104"/>
                    <a:gd name="T71" fmla="*/ 24 h 92"/>
                    <a:gd name="T72" fmla="*/ 70 w 104"/>
                    <a:gd name="T73" fmla="*/ 22 h 92"/>
                    <a:gd name="T74" fmla="*/ 76 w 104"/>
                    <a:gd name="T75" fmla="*/ 22 h 92"/>
                    <a:gd name="T76" fmla="*/ 83 w 104"/>
                    <a:gd name="T77" fmla="*/ 20 h 92"/>
                    <a:gd name="T78" fmla="*/ 91 w 104"/>
                    <a:gd name="T79" fmla="*/ 19 h 92"/>
                    <a:gd name="T80" fmla="*/ 100 w 104"/>
                    <a:gd name="T81" fmla="*/ 17 h 92"/>
                    <a:gd name="T82" fmla="*/ 100 w 104"/>
                    <a:gd name="T83" fmla="*/ 13 h 92"/>
                    <a:gd name="T84" fmla="*/ 102 w 104"/>
                    <a:gd name="T85" fmla="*/ 8 h 92"/>
                    <a:gd name="T86" fmla="*/ 102 w 104"/>
                    <a:gd name="T87" fmla="*/ 8 h 92"/>
                    <a:gd name="T88" fmla="*/ 102 w 104"/>
                    <a:gd name="T89" fmla="*/ 4 h 92"/>
                    <a:gd name="T90" fmla="*/ 104 w 104"/>
                    <a:gd name="T91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4" h="92">
                      <a:moveTo>
                        <a:pt x="104" y="0"/>
                      </a:moveTo>
                      <a:lnTo>
                        <a:pt x="104" y="0"/>
                      </a:lnTo>
                      <a:lnTo>
                        <a:pt x="102" y="4"/>
                      </a:lnTo>
                      <a:lnTo>
                        <a:pt x="102" y="8"/>
                      </a:lnTo>
                      <a:lnTo>
                        <a:pt x="102" y="8"/>
                      </a:lnTo>
                      <a:lnTo>
                        <a:pt x="100" y="13"/>
                      </a:lnTo>
                      <a:lnTo>
                        <a:pt x="100" y="17"/>
                      </a:lnTo>
                      <a:lnTo>
                        <a:pt x="91" y="19"/>
                      </a:lnTo>
                      <a:lnTo>
                        <a:pt x="83" y="20"/>
                      </a:lnTo>
                      <a:lnTo>
                        <a:pt x="76" y="22"/>
                      </a:lnTo>
                      <a:lnTo>
                        <a:pt x="70" y="22"/>
                      </a:lnTo>
                      <a:lnTo>
                        <a:pt x="63" y="24"/>
                      </a:lnTo>
                      <a:lnTo>
                        <a:pt x="54" y="24"/>
                      </a:lnTo>
                      <a:lnTo>
                        <a:pt x="43" y="26"/>
                      </a:lnTo>
                      <a:lnTo>
                        <a:pt x="28" y="26"/>
                      </a:lnTo>
                      <a:lnTo>
                        <a:pt x="24" y="37"/>
                      </a:lnTo>
                      <a:lnTo>
                        <a:pt x="22" y="46"/>
                      </a:lnTo>
                      <a:lnTo>
                        <a:pt x="21" y="54"/>
                      </a:lnTo>
                      <a:lnTo>
                        <a:pt x="21" y="54"/>
                      </a:lnTo>
                      <a:lnTo>
                        <a:pt x="17" y="61"/>
                      </a:lnTo>
                      <a:lnTo>
                        <a:pt x="15" y="68"/>
                      </a:lnTo>
                      <a:lnTo>
                        <a:pt x="9" y="76"/>
                      </a:lnTo>
                      <a:lnTo>
                        <a:pt x="6" y="83"/>
                      </a:lnTo>
                      <a:lnTo>
                        <a:pt x="0" y="92"/>
                      </a:lnTo>
                      <a:lnTo>
                        <a:pt x="6" y="83"/>
                      </a:lnTo>
                      <a:lnTo>
                        <a:pt x="9" y="76"/>
                      </a:lnTo>
                      <a:lnTo>
                        <a:pt x="15" y="68"/>
                      </a:lnTo>
                      <a:lnTo>
                        <a:pt x="17" y="61"/>
                      </a:lnTo>
                      <a:lnTo>
                        <a:pt x="21" y="54"/>
                      </a:lnTo>
                      <a:lnTo>
                        <a:pt x="21" y="54"/>
                      </a:lnTo>
                      <a:lnTo>
                        <a:pt x="22" y="46"/>
                      </a:lnTo>
                      <a:lnTo>
                        <a:pt x="24" y="37"/>
                      </a:lnTo>
                      <a:lnTo>
                        <a:pt x="28" y="26"/>
                      </a:lnTo>
                      <a:lnTo>
                        <a:pt x="43" y="26"/>
                      </a:lnTo>
                      <a:lnTo>
                        <a:pt x="54" y="24"/>
                      </a:lnTo>
                      <a:lnTo>
                        <a:pt x="63" y="24"/>
                      </a:lnTo>
                      <a:lnTo>
                        <a:pt x="70" y="22"/>
                      </a:lnTo>
                      <a:lnTo>
                        <a:pt x="76" y="22"/>
                      </a:lnTo>
                      <a:lnTo>
                        <a:pt x="83" y="20"/>
                      </a:lnTo>
                      <a:lnTo>
                        <a:pt x="91" y="19"/>
                      </a:lnTo>
                      <a:lnTo>
                        <a:pt x="100" y="17"/>
                      </a:lnTo>
                      <a:lnTo>
                        <a:pt x="100" y="13"/>
                      </a:lnTo>
                      <a:lnTo>
                        <a:pt x="102" y="8"/>
                      </a:lnTo>
                      <a:lnTo>
                        <a:pt x="102" y="8"/>
                      </a:lnTo>
                      <a:lnTo>
                        <a:pt x="102" y="4"/>
                      </a:lnTo>
                      <a:lnTo>
                        <a:pt x="10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6" name="Freeform 2950"/>
                <p:cNvSpPr>
                  <a:spLocks/>
                </p:cNvSpPr>
                <p:nvPr/>
              </p:nvSpPr>
              <p:spPr bwMode="auto">
                <a:xfrm>
                  <a:off x="5123" y="2929"/>
                  <a:ext cx="54" cy="273"/>
                </a:xfrm>
                <a:custGeom>
                  <a:avLst/>
                  <a:gdLst>
                    <a:gd name="T0" fmla="*/ 54 w 54"/>
                    <a:gd name="T1" fmla="*/ 0 h 273"/>
                    <a:gd name="T2" fmla="*/ 50 w 54"/>
                    <a:gd name="T3" fmla="*/ 31 h 273"/>
                    <a:gd name="T4" fmla="*/ 46 w 54"/>
                    <a:gd name="T5" fmla="*/ 62 h 273"/>
                    <a:gd name="T6" fmla="*/ 41 w 54"/>
                    <a:gd name="T7" fmla="*/ 96 h 273"/>
                    <a:gd name="T8" fmla="*/ 37 w 54"/>
                    <a:gd name="T9" fmla="*/ 127 h 273"/>
                    <a:gd name="T10" fmla="*/ 34 w 54"/>
                    <a:gd name="T11" fmla="*/ 158 h 273"/>
                    <a:gd name="T12" fmla="*/ 28 w 54"/>
                    <a:gd name="T13" fmla="*/ 190 h 273"/>
                    <a:gd name="T14" fmla="*/ 26 w 54"/>
                    <a:gd name="T15" fmla="*/ 205 h 273"/>
                    <a:gd name="T16" fmla="*/ 22 w 54"/>
                    <a:gd name="T17" fmla="*/ 221 h 273"/>
                    <a:gd name="T18" fmla="*/ 21 w 54"/>
                    <a:gd name="T19" fmla="*/ 236 h 273"/>
                    <a:gd name="T20" fmla="*/ 17 w 54"/>
                    <a:gd name="T21" fmla="*/ 251 h 273"/>
                    <a:gd name="T22" fmla="*/ 11 w 54"/>
                    <a:gd name="T23" fmla="*/ 258 h 273"/>
                    <a:gd name="T24" fmla="*/ 8 w 54"/>
                    <a:gd name="T25" fmla="*/ 262 h 273"/>
                    <a:gd name="T26" fmla="*/ 4 w 54"/>
                    <a:gd name="T27" fmla="*/ 267 h 273"/>
                    <a:gd name="T28" fmla="*/ 4 w 54"/>
                    <a:gd name="T29" fmla="*/ 267 h 273"/>
                    <a:gd name="T30" fmla="*/ 0 w 54"/>
                    <a:gd name="T31" fmla="*/ 273 h 273"/>
                    <a:gd name="T32" fmla="*/ 4 w 54"/>
                    <a:gd name="T33" fmla="*/ 267 h 273"/>
                    <a:gd name="T34" fmla="*/ 4 w 54"/>
                    <a:gd name="T35" fmla="*/ 267 h 273"/>
                    <a:gd name="T36" fmla="*/ 8 w 54"/>
                    <a:gd name="T37" fmla="*/ 262 h 273"/>
                    <a:gd name="T38" fmla="*/ 11 w 54"/>
                    <a:gd name="T39" fmla="*/ 258 h 273"/>
                    <a:gd name="T40" fmla="*/ 17 w 54"/>
                    <a:gd name="T41" fmla="*/ 251 h 273"/>
                    <a:gd name="T42" fmla="*/ 21 w 54"/>
                    <a:gd name="T43" fmla="*/ 236 h 273"/>
                    <a:gd name="T44" fmla="*/ 22 w 54"/>
                    <a:gd name="T45" fmla="*/ 221 h 273"/>
                    <a:gd name="T46" fmla="*/ 26 w 54"/>
                    <a:gd name="T47" fmla="*/ 205 h 273"/>
                    <a:gd name="T48" fmla="*/ 28 w 54"/>
                    <a:gd name="T49" fmla="*/ 190 h 273"/>
                    <a:gd name="T50" fmla="*/ 34 w 54"/>
                    <a:gd name="T51" fmla="*/ 158 h 273"/>
                    <a:gd name="T52" fmla="*/ 37 w 54"/>
                    <a:gd name="T53" fmla="*/ 127 h 273"/>
                    <a:gd name="T54" fmla="*/ 41 w 54"/>
                    <a:gd name="T55" fmla="*/ 96 h 273"/>
                    <a:gd name="T56" fmla="*/ 46 w 54"/>
                    <a:gd name="T57" fmla="*/ 62 h 273"/>
                    <a:gd name="T58" fmla="*/ 50 w 54"/>
                    <a:gd name="T59" fmla="*/ 31 h 273"/>
                    <a:gd name="T60" fmla="*/ 54 w 54"/>
                    <a:gd name="T61" fmla="*/ 0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54" h="273">
                      <a:moveTo>
                        <a:pt x="54" y="0"/>
                      </a:moveTo>
                      <a:lnTo>
                        <a:pt x="50" y="31"/>
                      </a:lnTo>
                      <a:lnTo>
                        <a:pt x="46" y="62"/>
                      </a:lnTo>
                      <a:lnTo>
                        <a:pt x="41" y="96"/>
                      </a:lnTo>
                      <a:lnTo>
                        <a:pt x="37" y="127"/>
                      </a:lnTo>
                      <a:lnTo>
                        <a:pt x="34" y="158"/>
                      </a:lnTo>
                      <a:lnTo>
                        <a:pt x="28" y="190"/>
                      </a:lnTo>
                      <a:lnTo>
                        <a:pt x="26" y="205"/>
                      </a:lnTo>
                      <a:lnTo>
                        <a:pt x="22" y="221"/>
                      </a:lnTo>
                      <a:lnTo>
                        <a:pt x="21" y="236"/>
                      </a:lnTo>
                      <a:lnTo>
                        <a:pt x="17" y="251"/>
                      </a:lnTo>
                      <a:lnTo>
                        <a:pt x="11" y="258"/>
                      </a:lnTo>
                      <a:lnTo>
                        <a:pt x="8" y="262"/>
                      </a:lnTo>
                      <a:lnTo>
                        <a:pt x="4" y="267"/>
                      </a:lnTo>
                      <a:lnTo>
                        <a:pt x="4" y="267"/>
                      </a:lnTo>
                      <a:lnTo>
                        <a:pt x="0" y="273"/>
                      </a:lnTo>
                      <a:lnTo>
                        <a:pt x="4" y="267"/>
                      </a:lnTo>
                      <a:lnTo>
                        <a:pt x="4" y="267"/>
                      </a:lnTo>
                      <a:lnTo>
                        <a:pt x="8" y="262"/>
                      </a:lnTo>
                      <a:lnTo>
                        <a:pt x="11" y="258"/>
                      </a:lnTo>
                      <a:lnTo>
                        <a:pt x="17" y="251"/>
                      </a:lnTo>
                      <a:lnTo>
                        <a:pt x="21" y="236"/>
                      </a:lnTo>
                      <a:lnTo>
                        <a:pt x="22" y="221"/>
                      </a:lnTo>
                      <a:lnTo>
                        <a:pt x="26" y="205"/>
                      </a:lnTo>
                      <a:lnTo>
                        <a:pt x="28" y="190"/>
                      </a:lnTo>
                      <a:lnTo>
                        <a:pt x="34" y="158"/>
                      </a:lnTo>
                      <a:lnTo>
                        <a:pt x="37" y="127"/>
                      </a:lnTo>
                      <a:lnTo>
                        <a:pt x="41" y="96"/>
                      </a:lnTo>
                      <a:lnTo>
                        <a:pt x="46" y="62"/>
                      </a:lnTo>
                      <a:lnTo>
                        <a:pt x="50" y="31"/>
                      </a:lnTo>
                      <a:lnTo>
                        <a:pt x="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7" name="Freeform 2951"/>
                <p:cNvSpPr>
                  <a:spLocks/>
                </p:cNvSpPr>
                <p:nvPr/>
              </p:nvSpPr>
              <p:spPr bwMode="auto">
                <a:xfrm>
                  <a:off x="4885" y="2766"/>
                  <a:ext cx="296" cy="589"/>
                </a:xfrm>
                <a:custGeom>
                  <a:avLst/>
                  <a:gdLst>
                    <a:gd name="T0" fmla="*/ 288 w 296"/>
                    <a:gd name="T1" fmla="*/ 50 h 589"/>
                    <a:gd name="T2" fmla="*/ 288 w 296"/>
                    <a:gd name="T3" fmla="*/ 194 h 589"/>
                    <a:gd name="T4" fmla="*/ 259 w 296"/>
                    <a:gd name="T5" fmla="*/ 399 h 589"/>
                    <a:gd name="T6" fmla="*/ 236 w 296"/>
                    <a:gd name="T7" fmla="*/ 441 h 589"/>
                    <a:gd name="T8" fmla="*/ 214 w 296"/>
                    <a:gd name="T9" fmla="*/ 464 h 589"/>
                    <a:gd name="T10" fmla="*/ 203 w 296"/>
                    <a:gd name="T11" fmla="*/ 480 h 589"/>
                    <a:gd name="T12" fmla="*/ 198 w 296"/>
                    <a:gd name="T13" fmla="*/ 489 h 589"/>
                    <a:gd name="T14" fmla="*/ 142 w 296"/>
                    <a:gd name="T15" fmla="*/ 500 h 589"/>
                    <a:gd name="T16" fmla="*/ 133 w 296"/>
                    <a:gd name="T17" fmla="*/ 482 h 589"/>
                    <a:gd name="T18" fmla="*/ 116 w 296"/>
                    <a:gd name="T19" fmla="*/ 499 h 589"/>
                    <a:gd name="T20" fmla="*/ 109 w 296"/>
                    <a:gd name="T21" fmla="*/ 482 h 589"/>
                    <a:gd name="T22" fmla="*/ 100 w 296"/>
                    <a:gd name="T23" fmla="*/ 495 h 589"/>
                    <a:gd name="T24" fmla="*/ 87 w 296"/>
                    <a:gd name="T25" fmla="*/ 550 h 589"/>
                    <a:gd name="T26" fmla="*/ 78 w 296"/>
                    <a:gd name="T27" fmla="*/ 565 h 589"/>
                    <a:gd name="T28" fmla="*/ 80 w 296"/>
                    <a:gd name="T29" fmla="*/ 582 h 589"/>
                    <a:gd name="T30" fmla="*/ 63 w 296"/>
                    <a:gd name="T31" fmla="*/ 571 h 589"/>
                    <a:gd name="T32" fmla="*/ 54 w 296"/>
                    <a:gd name="T33" fmla="*/ 567 h 589"/>
                    <a:gd name="T34" fmla="*/ 59 w 296"/>
                    <a:gd name="T35" fmla="*/ 554 h 589"/>
                    <a:gd name="T36" fmla="*/ 70 w 296"/>
                    <a:gd name="T37" fmla="*/ 513 h 589"/>
                    <a:gd name="T38" fmla="*/ 52 w 296"/>
                    <a:gd name="T39" fmla="*/ 476 h 589"/>
                    <a:gd name="T40" fmla="*/ 30 w 296"/>
                    <a:gd name="T41" fmla="*/ 434 h 589"/>
                    <a:gd name="T42" fmla="*/ 13 w 296"/>
                    <a:gd name="T43" fmla="*/ 412 h 589"/>
                    <a:gd name="T44" fmla="*/ 11 w 296"/>
                    <a:gd name="T45" fmla="*/ 390 h 589"/>
                    <a:gd name="T46" fmla="*/ 54 w 296"/>
                    <a:gd name="T47" fmla="*/ 338 h 589"/>
                    <a:gd name="T48" fmla="*/ 102 w 296"/>
                    <a:gd name="T49" fmla="*/ 325 h 589"/>
                    <a:gd name="T50" fmla="*/ 94 w 296"/>
                    <a:gd name="T51" fmla="*/ 286 h 589"/>
                    <a:gd name="T52" fmla="*/ 83 w 296"/>
                    <a:gd name="T53" fmla="*/ 213 h 589"/>
                    <a:gd name="T54" fmla="*/ 81 w 296"/>
                    <a:gd name="T55" fmla="*/ 192 h 589"/>
                    <a:gd name="T56" fmla="*/ 93 w 296"/>
                    <a:gd name="T57" fmla="*/ 225 h 589"/>
                    <a:gd name="T58" fmla="*/ 98 w 296"/>
                    <a:gd name="T59" fmla="*/ 312 h 589"/>
                    <a:gd name="T60" fmla="*/ 83 w 296"/>
                    <a:gd name="T61" fmla="*/ 332 h 589"/>
                    <a:gd name="T62" fmla="*/ 22 w 296"/>
                    <a:gd name="T63" fmla="*/ 358 h 589"/>
                    <a:gd name="T64" fmla="*/ 4 w 296"/>
                    <a:gd name="T65" fmla="*/ 406 h 589"/>
                    <a:gd name="T66" fmla="*/ 26 w 296"/>
                    <a:gd name="T67" fmla="*/ 428 h 589"/>
                    <a:gd name="T68" fmla="*/ 43 w 296"/>
                    <a:gd name="T69" fmla="*/ 467 h 589"/>
                    <a:gd name="T70" fmla="*/ 56 w 296"/>
                    <a:gd name="T71" fmla="*/ 482 h 589"/>
                    <a:gd name="T72" fmla="*/ 70 w 296"/>
                    <a:gd name="T73" fmla="*/ 528 h 589"/>
                    <a:gd name="T74" fmla="*/ 57 w 296"/>
                    <a:gd name="T75" fmla="*/ 554 h 589"/>
                    <a:gd name="T76" fmla="*/ 61 w 296"/>
                    <a:gd name="T77" fmla="*/ 567 h 589"/>
                    <a:gd name="T78" fmla="*/ 61 w 296"/>
                    <a:gd name="T79" fmla="*/ 571 h 589"/>
                    <a:gd name="T80" fmla="*/ 80 w 296"/>
                    <a:gd name="T81" fmla="*/ 582 h 589"/>
                    <a:gd name="T82" fmla="*/ 76 w 296"/>
                    <a:gd name="T83" fmla="*/ 571 h 589"/>
                    <a:gd name="T84" fmla="*/ 83 w 296"/>
                    <a:gd name="T85" fmla="*/ 561 h 589"/>
                    <a:gd name="T86" fmla="*/ 93 w 296"/>
                    <a:gd name="T87" fmla="*/ 559 h 589"/>
                    <a:gd name="T88" fmla="*/ 102 w 296"/>
                    <a:gd name="T89" fmla="*/ 491 h 589"/>
                    <a:gd name="T90" fmla="*/ 109 w 296"/>
                    <a:gd name="T91" fmla="*/ 497 h 589"/>
                    <a:gd name="T92" fmla="*/ 124 w 296"/>
                    <a:gd name="T93" fmla="*/ 499 h 589"/>
                    <a:gd name="T94" fmla="*/ 129 w 296"/>
                    <a:gd name="T95" fmla="*/ 480 h 589"/>
                    <a:gd name="T96" fmla="*/ 144 w 296"/>
                    <a:gd name="T97" fmla="*/ 506 h 589"/>
                    <a:gd name="T98" fmla="*/ 200 w 296"/>
                    <a:gd name="T99" fmla="*/ 493 h 589"/>
                    <a:gd name="T100" fmla="*/ 207 w 296"/>
                    <a:gd name="T101" fmla="*/ 476 h 589"/>
                    <a:gd name="T102" fmla="*/ 216 w 296"/>
                    <a:gd name="T103" fmla="*/ 465 h 589"/>
                    <a:gd name="T104" fmla="*/ 236 w 296"/>
                    <a:gd name="T105" fmla="*/ 449 h 589"/>
                    <a:gd name="T106" fmla="*/ 262 w 296"/>
                    <a:gd name="T107" fmla="*/ 384 h 589"/>
                    <a:gd name="T108" fmla="*/ 288 w 296"/>
                    <a:gd name="T109" fmla="*/ 194 h 589"/>
                    <a:gd name="T110" fmla="*/ 292 w 296"/>
                    <a:gd name="T111" fmla="*/ 122 h 589"/>
                    <a:gd name="T112" fmla="*/ 290 w 296"/>
                    <a:gd name="T113" fmla="*/ 41 h 5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96" h="589">
                      <a:moveTo>
                        <a:pt x="296" y="0"/>
                      </a:moveTo>
                      <a:lnTo>
                        <a:pt x="296" y="0"/>
                      </a:lnTo>
                      <a:lnTo>
                        <a:pt x="294" y="0"/>
                      </a:lnTo>
                      <a:lnTo>
                        <a:pt x="292" y="10"/>
                      </a:lnTo>
                      <a:lnTo>
                        <a:pt x="290" y="21"/>
                      </a:lnTo>
                      <a:lnTo>
                        <a:pt x="290" y="30"/>
                      </a:lnTo>
                      <a:lnTo>
                        <a:pt x="288" y="41"/>
                      </a:lnTo>
                      <a:lnTo>
                        <a:pt x="288" y="50"/>
                      </a:lnTo>
                      <a:lnTo>
                        <a:pt x="288" y="61"/>
                      </a:lnTo>
                      <a:lnTo>
                        <a:pt x="288" y="70"/>
                      </a:lnTo>
                      <a:lnTo>
                        <a:pt x="288" y="82"/>
                      </a:lnTo>
                      <a:lnTo>
                        <a:pt x="290" y="102"/>
                      </a:lnTo>
                      <a:lnTo>
                        <a:pt x="290" y="122"/>
                      </a:lnTo>
                      <a:lnTo>
                        <a:pt x="292" y="142"/>
                      </a:lnTo>
                      <a:lnTo>
                        <a:pt x="292" y="163"/>
                      </a:lnTo>
                      <a:lnTo>
                        <a:pt x="288" y="194"/>
                      </a:lnTo>
                      <a:lnTo>
                        <a:pt x="284" y="225"/>
                      </a:lnTo>
                      <a:lnTo>
                        <a:pt x="279" y="259"/>
                      </a:lnTo>
                      <a:lnTo>
                        <a:pt x="275" y="290"/>
                      </a:lnTo>
                      <a:lnTo>
                        <a:pt x="272" y="321"/>
                      </a:lnTo>
                      <a:lnTo>
                        <a:pt x="266" y="353"/>
                      </a:lnTo>
                      <a:lnTo>
                        <a:pt x="264" y="368"/>
                      </a:lnTo>
                      <a:lnTo>
                        <a:pt x="260" y="384"/>
                      </a:lnTo>
                      <a:lnTo>
                        <a:pt x="259" y="399"/>
                      </a:lnTo>
                      <a:lnTo>
                        <a:pt x="255" y="414"/>
                      </a:lnTo>
                      <a:lnTo>
                        <a:pt x="249" y="421"/>
                      </a:lnTo>
                      <a:lnTo>
                        <a:pt x="246" y="425"/>
                      </a:lnTo>
                      <a:lnTo>
                        <a:pt x="242" y="430"/>
                      </a:lnTo>
                      <a:lnTo>
                        <a:pt x="242" y="430"/>
                      </a:lnTo>
                      <a:lnTo>
                        <a:pt x="238" y="436"/>
                      </a:lnTo>
                      <a:lnTo>
                        <a:pt x="238" y="436"/>
                      </a:lnTo>
                      <a:lnTo>
                        <a:pt x="236" y="441"/>
                      </a:lnTo>
                      <a:lnTo>
                        <a:pt x="235" y="449"/>
                      </a:lnTo>
                      <a:lnTo>
                        <a:pt x="233" y="454"/>
                      </a:lnTo>
                      <a:lnTo>
                        <a:pt x="233" y="454"/>
                      </a:lnTo>
                      <a:lnTo>
                        <a:pt x="231" y="464"/>
                      </a:lnTo>
                      <a:lnTo>
                        <a:pt x="227" y="464"/>
                      </a:lnTo>
                      <a:lnTo>
                        <a:pt x="224" y="464"/>
                      </a:lnTo>
                      <a:lnTo>
                        <a:pt x="218" y="464"/>
                      </a:lnTo>
                      <a:lnTo>
                        <a:pt x="214" y="464"/>
                      </a:lnTo>
                      <a:lnTo>
                        <a:pt x="214" y="464"/>
                      </a:lnTo>
                      <a:lnTo>
                        <a:pt x="212" y="467"/>
                      </a:lnTo>
                      <a:lnTo>
                        <a:pt x="211" y="469"/>
                      </a:lnTo>
                      <a:lnTo>
                        <a:pt x="211" y="471"/>
                      </a:lnTo>
                      <a:lnTo>
                        <a:pt x="209" y="473"/>
                      </a:lnTo>
                      <a:lnTo>
                        <a:pt x="207" y="475"/>
                      </a:lnTo>
                      <a:lnTo>
                        <a:pt x="203" y="478"/>
                      </a:lnTo>
                      <a:lnTo>
                        <a:pt x="203" y="480"/>
                      </a:lnTo>
                      <a:lnTo>
                        <a:pt x="203" y="480"/>
                      </a:lnTo>
                      <a:lnTo>
                        <a:pt x="201" y="480"/>
                      </a:lnTo>
                      <a:lnTo>
                        <a:pt x="201" y="480"/>
                      </a:lnTo>
                      <a:lnTo>
                        <a:pt x="200" y="482"/>
                      </a:lnTo>
                      <a:lnTo>
                        <a:pt x="200" y="484"/>
                      </a:lnTo>
                      <a:lnTo>
                        <a:pt x="200" y="484"/>
                      </a:lnTo>
                      <a:lnTo>
                        <a:pt x="200" y="488"/>
                      </a:lnTo>
                      <a:lnTo>
                        <a:pt x="198" y="489"/>
                      </a:lnTo>
                      <a:lnTo>
                        <a:pt x="198" y="493"/>
                      </a:lnTo>
                      <a:lnTo>
                        <a:pt x="198" y="493"/>
                      </a:lnTo>
                      <a:lnTo>
                        <a:pt x="198" y="495"/>
                      </a:lnTo>
                      <a:lnTo>
                        <a:pt x="185" y="495"/>
                      </a:lnTo>
                      <a:lnTo>
                        <a:pt x="172" y="495"/>
                      </a:lnTo>
                      <a:lnTo>
                        <a:pt x="157" y="495"/>
                      </a:lnTo>
                      <a:lnTo>
                        <a:pt x="142" y="497"/>
                      </a:lnTo>
                      <a:lnTo>
                        <a:pt x="142" y="500"/>
                      </a:lnTo>
                      <a:lnTo>
                        <a:pt x="142" y="504"/>
                      </a:lnTo>
                      <a:lnTo>
                        <a:pt x="142" y="506"/>
                      </a:lnTo>
                      <a:lnTo>
                        <a:pt x="140" y="506"/>
                      </a:lnTo>
                      <a:lnTo>
                        <a:pt x="140" y="506"/>
                      </a:lnTo>
                      <a:lnTo>
                        <a:pt x="139" y="499"/>
                      </a:lnTo>
                      <a:lnTo>
                        <a:pt x="137" y="491"/>
                      </a:lnTo>
                      <a:lnTo>
                        <a:pt x="137" y="491"/>
                      </a:lnTo>
                      <a:lnTo>
                        <a:pt x="133" y="482"/>
                      </a:lnTo>
                      <a:lnTo>
                        <a:pt x="129" y="473"/>
                      </a:lnTo>
                      <a:lnTo>
                        <a:pt x="128" y="480"/>
                      </a:lnTo>
                      <a:lnTo>
                        <a:pt x="126" y="486"/>
                      </a:lnTo>
                      <a:lnTo>
                        <a:pt x="124" y="491"/>
                      </a:lnTo>
                      <a:lnTo>
                        <a:pt x="124" y="491"/>
                      </a:lnTo>
                      <a:lnTo>
                        <a:pt x="122" y="497"/>
                      </a:lnTo>
                      <a:lnTo>
                        <a:pt x="120" y="499"/>
                      </a:lnTo>
                      <a:lnTo>
                        <a:pt x="116" y="499"/>
                      </a:lnTo>
                      <a:lnTo>
                        <a:pt x="113" y="500"/>
                      </a:lnTo>
                      <a:lnTo>
                        <a:pt x="111" y="502"/>
                      </a:lnTo>
                      <a:lnTo>
                        <a:pt x="111" y="497"/>
                      </a:lnTo>
                      <a:lnTo>
                        <a:pt x="111" y="491"/>
                      </a:lnTo>
                      <a:lnTo>
                        <a:pt x="113" y="488"/>
                      </a:lnTo>
                      <a:lnTo>
                        <a:pt x="113" y="482"/>
                      </a:lnTo>
                      <a:lnTo>
                        <a:pt x="113" y="480"/>
                      </a:lnTo>
                      <a:lnTo>
                        <a:pt x="109" y="482"/>
                      </a:lnTo>
                      <a:lnTo>
                        <a:pt x="109" y="482"/>
                      </a:lnTo>
                      <a:lnTo>
                        <a:pt x="105" y="484"/>
                      </a:lnTo>
                      <a:lnTo>
                        <a:pt x="102" y="484"/>
                      </a:lnTo>
                      <a:lnTo>
                        <a:pt x="102" y="484"/>
                      </a:lnTo>
                      <a:lnTo>
                        <a:pt x="100" y="486"/>
                      </a:lnTo>
                      <a:lnTo>
                        <a:pt x="100" y="486"/>
                      </a:lnTo>
                      <a:lnTo>
                        <a:pt x="100" y="491"/>
                      </a:lnTo>
                      <a:lnTo>
                        <a:pt x="100" y="495"/>
                      </a:lnTo>
                      <a:lnTo>
                        <a:pt x="100" y="499"/>
                      </a:lnTo>
                      <a:lnTo>
                        <a:pt x="100" y="506"/>
                      </a:lnTo>
                      <a:lnTo>
                        <a:pt x="98" y="513"/>
                      </a:lnTo>
                      <a:lnTo>
                        <a:pt x="96" y="523"/>
                      </a:lnTo>
                      <a:lnTo>
                        <a:pt x="94" y="537"/>
                      </a:lnTo>
                      <a:lnTo>
                        <a:pt x="91" y="556"/>
                      </a:lnTo>
                      <a:lnTo>
                        <a:pt x="89" y="554"/>
                      </a:lnTo>
                      <a:lnTo>
                        <a:pt x="87" y="550"/>
                      </a:lnTo>
                      <a:lnTo>
                        <a:pt x="85" y="550"/>
                      </a:lnTo>
                      <a:lnTo>
                        <a:pt x="85" y="554"/>
                      </a:lnTo>
                      <a:lnTo>
                        <a:pt x="83" y="558"/>
                      </a:lnTo>
                      <a:lnTo>
                        <a:pt x="83" y="559"/>
                      </a:lnTo>
                      <a:lnTo>
                        <a:pt x="81" y="561"/>
                      </a:lnTo>
                      <a:lnTo>
                        <a:pt x="81" y="563"/>
                      </a:lnTo>
                      <a:lnTo>
                        <a:pt x="80" y="563"/>
                      </a:lnTo>
                      <a:lnTo>
                        <a:pt x="78" y="565"/>
                      </a:lnTo>
                      <a:lnTo>
                        <a:pt x="74" y="565"/>
                      </a:lnTo>
                      <a:lnTo>
                        <a:pt x="72" y="567"/>
                      </a:lnTo>
                      <a:lnTo>
                        <a:pt x="76" y="571"/>
                      </a:lnTo>
                      <a:lnTo>
                        <a:pt x="78" y="574"/>
                      </a:lnTo>
                      <a:lnTo>
                        <a:pt x="78" y="576"/>
                      </a:lnTo>
                      <a:lnTo>
                        <a:pt x="80" y="578"/>
                      </a:lnTo>
                      <a:lnTo>
                        <a:pt x="80" y="580"/>
                      </a:lnTo>
                      <a:lnTo>
                        <a:pt x="80" y="582"/>
                      </a:lnTo>
                      <a:lnTo>
                        <a:pt x="78" y="583"/>
                      </a:lnTo>
                      <a:lnTo>
                        <a:pt x="78" y="583"/>
                      </a:lnTo>
                      <a:lnTo>
                        <a:pt x="78" y="585"/>
                      </a:lnTo>
                      <a:lnTo>
                        <a:pt x="74" y="582"/>
                      </a:lnTo>
                      <a:lnTo>
                        <a:pt x="70" y="578"/>
                      </a:lnTo>
                      <a:lnTo>
                        <a:pt x="67" y="574"/>
                      </a:lnTo>
                      <a:lnTo>
                        <a:pt x="63" y="571"/>
                      </a:lnTo>
                      <a:lnTo>
                        <a:pt x="63" y="571"/>
                      </a:lnTo>
                      <a:lnTo>
                        <a:pt x="65" y="569"/>
                      </a:lnTo>
                      <a:lnTo>
                        <a:pt x="65" y="569"/>
                      </a:lnTo>
                      <a:lnTo>
                        <a:pt x="63" y="567"/>
                      </a:lnTo>
                      <a:lnTo>
                        <a:pt x="63" y="565"/>
                      </a:lnTo>
                      <a:lnTo>
                        <a:pt x="61" y="563"/>
                      </a:lnTo>
                      <a:lnTo>
                        <a:pt x="59" y="567"/>
                      </a:lnTo>
                      <a:lnTo>
                        <a:pt x="59" y="567"/>
                      </a:lnTo>
                      <a:lnTo>
                        <a:pt x="54" y="567"/>
                      </a:lnTo>
                      <a:lnTo>
                        <a:pt x="52" y="567"/>
                      </a:lnTo>
                      <a:lnTo>
                        <a:pt x="54" y="563"/>
                      </a:lnTo>
                      <a:lnTo>
                        <a:pt x="57" y="558"/>
                      </a:lnTo>
                      <a:lnTo>
                        <a:pt x="56" y="558"/>
                      </a:lnTo>
                      <a:lnTo>
                        <a:pt x="57" y="558"/>
                      </a:lnTo>
                      <a:lnTo>
                        <a:pt x="56" y="558"/>
                      </a:lnTo>
                      <a:lnTo>
                        <a:pt x="57" y="558"/>
                      </a:lnTo>
                      <a:lnTo>
                        <a:pt x="59" y="554"/>
                      </a:lnTo>
                      <a:lnTo>
                        <a:pt x="61" y="552"/>
                      </a:lnTo>
                      <a:lnTo>
                        <a:pt x="63" y="550"/>
                      </a:lnTo>
                      <a:lnTo>
                        <a:pt x="67" y="547"/>
                      </a:lnTo>
                      <a:lnTo>
                        <a:pt x="69" y="545"/>
                      </a:lnTo>
                      <a:lnTo>
                        <a:pt x="74" y="543"/>
                      </a:lnTo>
                      <a:lnTo>
                        <a:pt x="74" y="543"/>
                      </a:lnTo>
                      <a:lnTo>
                        <a:pt x="72" y="528"/>
                      </a:lnTo>
                      <a:lnTo>
                        <a:pt x="70" y="513"/>
                      </a:lnTo>
                      <a:lnTo>
                        <a:pt x="70" y="500"/>
                      </a:lnTo>
                      <a:lnTo>
                        <a:pt x="69" y="486"/>
                      </a:lnTo>
                      <a:lnTo>
                        <a:pt x="65" y="484"/>
                      </a:lnTo>
                      <a:lnTo>
                        <a:pt x="61" y="484"/>
                      </a:lnTo>
                      <a:lnTo>
                        <a:pt x="59" y="482"/>
                      </a:lnTo>
                      <a:lnTo>
                        <a:pt x="56" y="480"/>
                      </a:lnTo>
                      <a:lnTo>
                        <a:pt x="54" y="478"/>
                      </a:lnTo>
                      <a:lnTo>
                        <a:pt x="52" y="476"/>
                      </a:lnTo>
                      <a:lnTo>
                        <a:pt x="50" y="475"/>
                      </a:lnTo>
                      <a:lnTo>
                        <a:pt x="48" y="471"/>
                      </a:lnTo>
                      <a:lnTo>
                        <a:pt x="45" y="465"/>
                      </a:lnTo>
                      <a:lnTo>
                        <a:pt x="41" y="460"/>
                      </a:lnTo>
                      <a:lnTo>
                        <a:pt x="39" y="454"/>
                      </a:lnTo>
                      <a:lnTo>
                        <a:pt x="35" y="447"/>
                      </a:lnTo>
                      <a:lnTo>
                        <a:pt x="33" y="441"/>
                      </a:lnTo>
                      <a:lnTo>
                        <a:pt x="30" y="434"/>
                      </a:lnTo>
                      <a:lnTo>
                        <a:pt x="28" y="428"/>
                      </a:lnTo>
                      <a:lnTo>
                        <a:pt x="28" y="428"/>
                      </a:lnTo>
                      <a:lnTo>
                        <a:pt x="22" y="421"/>
                      </a:lnTo>
                      <a:lnTo>
                        <a:pt x="21" y="419"/>
                      </a:lnTo>
                      <a:lnTo>
                        <a:pt x="19" y="416"/>
                      </a:lnTo>
                      <a:lnTo>
                        <a:pt x="17" y="414"/>
                      </a:lnTo>
                      <a:lnTo>
                        <a:pt x="17" y="414"/>
                      </a:lnTo>
                      <a:lnTo>
                        <a:pt x="13" y="412"/>
                      </a:lnTo>
                      <a:lnTo>
                        <a:pt x="11" y="408"/>
                      </a:lnTo>
                      <a:lnTo>
                        <a:pt x="8" y="406"/>
                      </a:lnTo>
                      <a:lnTo>
                        <a:pt x="8" y="406"/>
                      </a:lnTo>
                      <a:lnTo>
                        <a:pt x="4" y="406"/>
                      </a:lnTo>
                      <a:lnTo>
                        <a:pt x="4" y="406"/>
                      </a:lnTo>
                      <a:lnTo>
                        <a:pt x="2" y="404"/>
                      </a:lnTo>
                      <a:lnTo>
                        <a:pt x="8" y="397"/>
                      </a:lnTo>
                      <a:lnTo>
                        <a:pt x="11" y="390"/>
                      </a:lnTo>
                      <a:lnTo>
                        <a:pt x="15" y="382"/>
                      </a:lnTo>
                      <a:lnTo>
                        <a:pt x="19" y="373"/>
                      </a:lnTo>
                      <a:lnTo>
                        <a:pt x="22" y="366"/>
                      </a:lnTo>
                      <a:lnTo>
                        <a:pt x="24" y="358"/>
                      </a:lnTo>
                      <a:lnTo>
                        <a:pt x="26" y="349"/>
                      </a:lnTo>
                      <a:lnTo>
                        <a:pt x="28" y="340"/>
                      </a:lnTo>
                      <a:lnTo>
                        <a:pt x="43" y="340"/>
                      </a:lnTo>
                      <a:lnTo>
                        <a:pt x="54" y="338"/>
                      </a:lnTo>
                      <a:lnTo>
                        <a:pt x="63" y="338"/>
                      </a:lnTo>
                      <a:lnTo>
                        <a:pt x="70" y="336"/>
                      </a:lnTo>
                      <a:lnTo>
                        <a:pt x="70" y="336"/>
                      </a:lnTo>
                      <a:lnTo>
                        <a:pt x="76" y="336"/>
                      </a:lnTo>
                      <a:lnTo>
                        <a:pt x="83" y="334"/>
                      </a:lnTo>
                      <a:lnTo>
                        <a:pt x="91" y="332"/>
                      </a:lnTo>
                      <a:lnTo>
                        <a:pt x="100" y="329"/>
                      </a:lnTo>
                      <a:lnTo>
                        <a:pt x="102" y="325"/>
                      </a:lnTo>
                      <a:lnTo>
                        <a:pt x="102" y="320"/>
                      </a:lnTo>
                      <a:lnTo>
                        <a:pt x="104" y="316"/>
                      </a:lnTo>
                      <a:lnTo>
                        <a:pt x="105" y="312"/>
                      </a:lnTo>
                      <a:lnTo>
                        <a:pt x="105" y="310"/>
                      </a:lnTo>
                      <a:lnTo>
                        <a:pt x="98" y="310"/>
                      </a:lnTo>
                      <a:lnTo>
                        <a:pt x="94" y="310"/>
                      </a:lnTo>
                      <a:lnTo>
                        <a:pt x="94" y="299"/>
                      </a:lnTo>
                      <a:lnTo>
                        <a:pt x="94" y="286"/>
                      </a:lnTo>
                      <a:lnTo>
                        <a:pt x="94" y="275"/>
                      </a:lnTo>
                      <a:lnTo>
                        <a:pt x="94" y="262"/>
                      </a:lnTo>
                      <a:lnTo>
                        <a:pt x="94" y="249"/>
                      </a:lnTo>
                      <a:lnTo>
                        <a:pt x="94" y="238"/>
                      </a:lnTo>
                      <a:lnTo>
                        <a:pt x="94" y="225"/>
                      </a:lnTo>
                      <a:lnTo>
                        <a:pt x="94" y="213"/>
                      </a:lnTo>
                      <a:lnTo>
                        <a:pt x="87" y="213"/>
                      </a:lnTo>
                      <a:lnTo>
                        <a:pt x="83" y="213"/>
                      </a:lnTo>
                      <a:lnTo>
                        <a:pt x="83" y="207"/>
                      </a:lnTo>
                      <a:lnTo>
                        <a:pt x="83" y="203"/>
                      </a:lnTo>
                      <a:lnTo>
                        <a:pt x="83" y="198"/>
                      </a:lnTo>
                      <a:lnTo>
                        <a:pt x="83" y="192"/>
                      </a:lnTo>
                      <a:lnTo>
                        <a:pt x="87" y="190"/>
                      </a:lnTo>
                      <a:lnTo>
                        <a:pt x="81" y="192"/>
                      </a:lnTo>
                      <a:lnTo>
                        <a:pt x="81" y="192"/>
                      </a:lnTo>
                      <a:lnTo>
                        <a:pt x="81" y="192"/>
                      </a:lnTo>
                      <a:lnTo>
                        <a:pt x="81" y="198"/>
                      </a:lnTo>
                      <a:lnTo>
                        <a:pt x="81" y="203"/>
                      </a:lnTo>
                      <a:lnTo>
                        <a:pt x="81" y="207"/>
                      </a:lnTo>
                      <a:lnTo>
                        <a:pt x="81" y="213"/>
                      </a:lnTo>
                      <a:lnTo>
                        <a:pt x="81" y="214"/>
                      </a:lnTo>
                      <a:lnTo>
                        <a:pt x="87" y="214"/>
                      </a:lnTo>
                      <a:lnTo>
                        <a:pt x="93" y="214"/>
                      </a:lnTo>
                      <a:lnTo>
                        <a:pt x="93" y="225"/>
                      </a:lnTo>
                      <a:lnTo>
                        <a:pt x="93" y="238"/>
                      </a:lnTo>
                      <a:lnTo>
                        <a:pt x="93" y="249"/>
                      </a:lnTo>
                      <a:lnTo>
                        <a:pt x="93" y="262"/>
                      </a:lnTo>
                      <a:lnTo>
                        <a:pt x="93" y="275"/>
                      </a:lnTo>
                      <a:lnTo>
                        <a:pt x="93" y="286"/>
                      </a:lnTo>
                      <a:lnTo>
                        <a:pt x="93" y="299"/>
                      </a:lnTo>
                      <a:lnTo>
                        <a:pt x="93" y="312"/>
                      </a:lnTo>
                      <a:lnTo>
                        <a:pt x="98" y="312"/>
                      </a:lnTo>
                      <a:lnTo>
                        <a:pt x="104" y="312"/>
                      </a:lnTo>
                      <a:lnTo>
                        <a:pt x="102" y="316"/>
                      </a:lnTo>
                      <a:lnTo>
                        <a:pt x="102" y="320"/>
                      </a:lnTo>
                      <a:lnTo>
                        <a:pt x="102" y="320"/>
                      </a:lnTo>
                      <a:lnTo>
                        <a:pt x="100" y="325"/>
                      </a:lnTo>
                      <a:lnTo>
                        <a:pt x="100" y="329"/>
                      </a:lnTo>
                      <a:lnTo>
                        <a:pt x="91" y="331"/>
                      </a:lnTo>
                      <a:lnTo>
                        <a:pt x="83" y="332"/>
                      </a:lnTo>
                      <a:lnTo>
                        <a:pt x="76" y="334"/>
                      </a:lnTo>
                      <a:lnTo>
                        <a:pt x="70" y="334"/>
                      </a:lnTo>
                      <a:lnTo>
                        <a:pt x="63" y="336"/>
                      </a:lnTo>
                      <a:lnTo>
                        <a:pt x="54" y="336"/>
                      </a:lnTo>
                      <a:lnTo>
                        <a:pt x="43" y="338"/>
                      </a:lnTo>
                      <a:lnTo>
                        <a:pt x="28" y="338"/>
                      </a:lnTo>
                      <a:lnTo>
                        <a:pt x="24" y="349"/>
                      </a:lnTo>
                      <a:lnTo>
                        <a:pt x="22" y="358"/>
                      </a:lnTo>
                      <a:lnTo>
                        <a:pt x="21" y="366"/>
                      </a:lnTo>
                      <a:lnTo>
                        <a:pt x="21" y="366"/>
                      </a:lnTo>
                      <a:lnTo>
                        <a:pt x="17" y="373"/>
                      </a:lnTo>
                      <a:lnTo>
                        <a:pt x="15" y="380"/>
                      </a:lnTo>
                      <a:lnTo>
                        <a:pt x="9" y="388"/>
                      </a:lnTo>
                      <a:lnTo>
                        <a:pt x="6" y="395"/>
                      </a:lnTo>
                      <a:lnTo>
                        <a:pt x="0" y="404"/>
                      </a:lnTo>
                      <a:lnTo>
                        <a:pt x="4" y="406"/>
                      </a:lnTo>
                      <a:lnTo>
                        <a:pt x="8" y="408"/>
                      </a:lnTo>
                      <a:lnTo>
                        <a:pt x="9" y="410"/>
                      </a:lnTo>
                      <a:lnTo>
                        <a:pt x="13" y="412"/>
                      </a:lnTo>
                      <a:lnTo>
                        <a:pt x="15" y="416"/>
                      </a:lnTo>
                      <a:lnTo>
                        <a:pt x="19" y="417"/>
                      </a:lnTo>
                      <a:lnTo>
                        <a:pt x="21" y="419"/>
                      </a:lnTo>
                      <a:lnTo>
                        <a:pt x="22" y="423"/>
                      </a:lnTo>
                      <a:lnTo>
                        <a:pt x="26" y="428"/>
                      </a:lnTo>
                      <a:lnTo>
                        <a:pt x="30" y="434"/>
                      </a:lnTo>
                      <a:lnTo>
                        <a:pt x="30" y="434"/>
                      </a:lnTo>
                      <a:lnTo>
                        <a:pt x="32" y="441"/>
                      </a:lnTo>
                      <a:lnTo>
                        <a:pt x="35" y="447"/>
                      </a:lnTo>
                      <a:lnTo>
                        <a:pt x="37" y="454"/>
                      </a:lnTo>
                      <a:lnTo>
                        <a:pt x="41" y="460"/>
                      </a:lnTo>
                      <a:lnTo>
                        <a:pt x="43" y="467"/>
                      </a:lnTo>
                      <a:lnTo>
                        <a:pt x="43" y="467"/>
                      </a:lnTo>
                      <a:lnTo>
                        <a:pt x="46" y="473"/>
                      </a:lnTo>
                      <a:lnTo>
                        <a:pt x="48" y="475"/>
                      </a:lnTo>
                      <a:lnTo>
                        <a:pt x="48" y="475"/>
                      </a:lnTo>
                      <a:lnTo>
                        <a:pt x="50" y="476"/>
                      </a:lnTo>
                      <a:lnTo>
                        <a:pt x="52" y="480"/>
                      </a:lnTo>
                      <a:lnTo>
                        <a:pt x="52" y="480"/>
                      </a:lnTo>
                      <a:lnTo>
                        <a:pt x="56" y="482"/>
                      </a:lnTo>
                      <a:lnTo>
                        <a:pt x="56" y="482"/>
                      </a:lnTo>
                      <a:lnTo>
                        <a:pt x="57" y="484"/>
                      </a:lnTo>
                      <a:lnTo>
                        <a:pt x="61" y="484"/>
                      </a:lnTo>
                      <a:lnTo>
                        <a:pt x="63" y="486"/>
                      </a:lnTo>
                      <a:lnTo>
                        <a:pt x="63" y="486"/>
                      </a:lnTo>
                      <a:lnTo>
                        <a:pt x="67" y="488"/>
                      </a:lnTo>
                      <a:lnTo>
                        <a:pt x="69" y="500"/>
                      </a:lnTo>
                      <a:lnTo>
                        <a:pt x="70" y="513"/>
                      </a:lnTo>
                      <a:lnTo>
                        <a:pt x="70" y="528"/>
                      </a:lnTo>
                      <a:lnTo>
                        <a:pt x="72" y="541"/>
                      </a:lnTo>
                      <a:lnTo>
                        <a:pt x="69" y="543"/>
                      </a:lnTo>
                      <a:lnTo>
                        <a:pt x="65" y="547"/>
                      </a:lnTo>
                      <a:lnTo>
                        <a:pt x="65" y="547"/>
                      </a:lnTo>
                      <a:lnTo>
                        <a:pt x="63" y="548"/>
                      </a:lnTo>
                      <a:lnTo>
                        <a:pt x="59" y="550"/>
                      </a:lnTo>
                      <a:lnTo>
                        <a:pt x="57" y="554"/>
                      </a:lnTo>
                      <a:lnTo>
                        <a:pt x="57" y="554"/>
                      </a:lnTo>
                      <a:lnTo>
                        <a:pt x="56" y="558"/>
                      </a:lnTo>
                      <a:lnTo>
                        <a:pt x="54" y="561"/>
                      </a:lnTo>
                      <a:lnTo>
                        <a:pt x="50" y="569"/>
                      </a:lnTo>
                      <a:lnTo>
                        <a:pt x="50" y="569"/>
                      </a:lnTo>
                      <a:lnTo>
                        <a:pt x="54" y="569"/>
                      </a:lnTo>
                      <a:lnTo>
                        <a:pt x="59" y="569"/>
                      </a:lnTo>
                      <a:lnTo>
                        <a:pt x="59" y="569"/>
                      </a:lnTo>
                      <a:lnTo>
                        <a:pt x="61" y="567"/>
                      </a:lnTo>
                      <a:lnTo>
                        <a:pt x="61" y="567"/>
                      </a:lnTo>
                      <a:lnTo>
                        <a:pt x="63" y="567"/>
                      </a:lnTo>
                      <a:lnTo>
                        <a:pt x="63" y="569"/>
                      </a:lnTo>
                      <a:lnTo>
                        <a:pt x="63" y="569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5" y="576"/>
                      </a:lnTo>
                      <a:lnTo>
                        <a:pt x="69" y="580"/>
                      </a:lnTo>
                      <a:lnTo>
                        <a:pt x="74" y="583"/>
                      </a:lnTo>
                      <a:lnTo>
                        <a:pt x="78" y="587"/>
                      </a:lnTo>
                      <a:lnTo>
                        <a:pt x="78" y="589"/>
                      </a:lnTo>
                      <a:lnTo>
                        <a:pt x="80" y="583"/>
                      </a:lnTo>
                      <a:lnTo>
                        <a:pt x="80" y="582"/>
                      </a:lnTo>
                      <a:lnTo>
                        <a:pt x="80" y="582"/>
                      </a:lnTo>
                      <a:lnTo>
                        <a:pt x="80" y="580"/>
                      </a:lnTo>
                      <a:lnTo>
                        <a:pt x="80" y="578"/>
                      </a:lnTo>
                      <a:lnTo>
                        <a:pt x="80" y="578"/>
                      </a:lnTo>
                      <a:lnTo>
                        <a:pt x="80" y="576"/>
                      </a:lnTo>
                      <a:lnTo>
                        <a:pt x="80" y="576"/>
                      </a:lnTo>
                      <a:lnTo>
                        <a:pt x="78" y="574"/>
                      </a:lnTo>
                      <a:lnTo>
                        <a:pt x="76" y="571"/>
                      </a:lnTo>
                      <a:lnTo>
                        <a:pt x="74" y="567"/>
                      </a:lnTo>
                      <a:lnTo>
                        <a:pt x="78" y="567"/>
                      </a:lnTo>
                      <a:lnTo>
                        <a:pt x="78" y="567"/>
                      </a:lnTo>
                      <a:lnTo>
                        <a:pt x="80" y="565"/>
                      </a:lnTo>
                      <a:lnTo>
                        <a:pt x="81" y="563"/>
                      </a:lnTo>
                      <a:lnTo>
                        <a:pt x="81" y="563"/>
                      </a:lnTo>
                      <a:lnTo>
                        <a:pt x="83" y="561"/>
                      </a:lnTo>
                      <a:lnTo>
                        <a:pt x="83" y="561"/>
                      </a:lnTo>
                      <a:lnTo>
                        <a:pt x="85" y="559"/>
                      </a:lnTo>
                      <a:lnTo>
                        <a:pt x="85" y="558"/>
                      </a:lnTo>
                      <a:lnTo>
                        <a:pt x="85" y="558"/>
                      </a:lnTo>
                      <a:lnTo>
                        <a:pt x="87" y="556"/>
                      </a:lnTo>
                      <a:lnTo>
                        <a:pt x="87" y="554"/>
                      </a:lnTo>
                      <a:lnTo>
                        <a:pt x="89" y="554"/>
                      </a:lnTo>
                      <a:lnTo>
                        <a:pt x="91" y="558"/>
                      </a:lnTo>
                      <a:lnTo>
                        <a:pt x="93" y="559"/>
                      </a:lnTo>
                      <a:lnTo>
                        <a:pt x="96" y="537"/>
                      </a:lnTo>
                      <a:lnTo>
                        <a:pt x="98" y="524"/>
                      </a:lnTo>
                      <a:lnTo>
                        <a:pt x="100" y="513"/>
                      </a:lnTo>
                      <a:lnTo>
                        <a:pt x="102" y="506"/>
                      </a:lnTo>
                      <a:lnTo>
                        <a:pt x="102" y="499"/>
                      </a:lnTo>
                      <a:lnTo>
                        <a:pt x="102" y="495"/>
                      </a:lnTo>
                      <a:lnTo>
                        <a:pt x="102" y="491"/>
                      </a:lnTo>
                      <a:lnTo>
                        <a:pt x="102" y="491"/>
                      </a:lnTo>
                      <a:lnTo>
                        <a:pt x="100" y="486"/>
                      </a:lnTo>
                      <a:lnTo>
                        <a:pt x="104" y="486"/>
                      </a:lnTo>
                      <a:lnTo>
                        <a:pt x="105" y="484"/>
                      </a:lnTo>
                      <a:lnTo>
                        <a:pt x="109" y="484"/>
                      </a:lnTo>
                      <a:lnTo>
                        <a:pt x="111" y="482"/>
                      </a:lnTo>
                      <a:lnTo>
                        <a:pt x="111" y="488"/>
                      </a:lnTo>
                      <a:lnTo>
                        <a:pt x="111" y="491"/>
                      </a:lnTo>
                      <a:lnTo>
                        <a:pt x="109" y="497"/>
                      </a:lnTo>
                      <a:lnTo>
                        <a:pt x="109" y="497"/>
                      </a:lnTo>
                      <a:lnTo>
                        <a:pt x="109" y="502"/>
                      </a:lnTo>
                      <a:lnTo>
                        <a:pt x="109" y="504"/>
                      </a:lnTo>
                      <a:lnTo>
                        <a:pt x="115" y="502"/>
                      </a:lnTo>
                      <a:lnTo>
                        <a:pt x="115" y="502"/>
                      </a:lnTo>
                      <a:lnTo>
                        <a:pt x="116" y="500"/>
                      </a:lnTo>
                      <a:lnTo>
                        <a:pt x="120" y="500"/>
                      </a:lnTo>
                      <a:lnTo>
                        <a:pt x="124" y="499"/>
                      </a:lnTo>
                      <a:lnTo>
                        <a:pt x="124" y="499"/>
                      </a:lnTo>
                      <a:lnTo>
                        <a:pt x="126" y="493"/>
                      </a:lnTo>
                      <a:lnTo>
                        <a:pt x="128" y="486"/>
                      </a:lnTo>
                      <a:lnTo>
                        <a:pt x="129" y="480"/>
                      </a:lnTo>
                      <a:lnTo>
                        <a:pt x="128" y="480"/>
                      </a:lnTo>
                      <a:lnTo>
                        <a:pt x="129" y="480"/>
                      </a:lnTo>
                      <a:lnTo>
                        <a:pt x="128" y="480"/>
                      </a:lnTo>
                      <a:lnTo>
                        <a:pt x="129" y="480"/>
                      </a:lnTo>
                      <a:lnTo>
                        <a:pt x="129" y="476"/>
                      </a:lnTo>
                      <a:lnTo>
                        <a:pt x="131" y="484"/>
                      </a:lnTo>
                      <a:lnTo>
                        <a:pt x="131" y="484"/>
                      </a:lnTo>
                      <a:lnTo>
                        <a:pt x="135" y="491"/>
                      </a:lnTo>
                      <a:lnTo>
                        <a:pt x="137" y="499"/>
                      </a:lnTo>
                      <a:lnTo>
                        <a:pt x="140" y="510"/>
                      </a:lnTo>
                      <a:lnTo>
                        <a:pt x="142" y="506"/>
                      </a:lnTo>
                      <a:lnTo>
                        <a:pt x="144" y="506"/>
                      </a:lnTo>
                      <a:lnTo>
                        <a:pt x="144" y="506"/>
                      </a:lnTo>
                      <a:lnTo>
                        <a:pt x="144" y="500"/>
                      </a:lnTo>
                      <a:lnTo>
                        <a:pt x="144" y="497"/>
                      </a:lnTo>
                      <a:lnTo>
                        <a:pt x="157" y="497"/>
                      </a:lnTo>
                      <a:lnTo>
                        <a:pt x="172" y="497"/>
                      </a:lnTo>
                      <a:lnTo>
                        <a:pt x="185" y="497"/>
                      </a:lnTo>
                      <a:lnTo>
                        <a:pt x="200" y="497"/>
                      </a:lnTo>
                      <a:lnTo>
                        <a:pt x="200" y="493"/>
                      </a:lnTo>
                      <a:lnTo>
                        <a:pt x="200" y="489"/>
                      </a:lnTo>
                      <a:lnTo>
                        <a:pt x="200" y="488"/>
                      </a:lnTo>
                      <a:lnTo>
                        <a:pt x="201" y="486"/>
                      </a:lnTo>
                      <a:lnTo>
                        <a:pt x="201" y="484"/>
                      </a:lnTo>
                      <a:lnTo>
                        <a:pt x="203" y="482"/>
                      </a:lnTo>
                      <a:lnTo>
                        <a:pt x="203" y="480"/>
                      </a:lnTo>
                      <a:lnTo>
                        <a:pt x="205" y="480"/>
                      </a:lnTo>
                      <a:lnTo>
                        <a:pt x="207" y="476"/>
                      </a:lnTo>
                      <a:lnTo>
                        <a:pt x="211" y="475"/>
                      </a:lnTo>
                      <a:lnTo>
                        <a:pt x="211" y="475"/>
                      </a:lnTo>
                      <a:lnTo>
                        <a:pt x="212" y="473"/>
                      </a:lnTo>
                      <a:lnTo>
                        <a:pt x="212" y="473"/>
                      </a:lnTo>
                      <a:lnTo>
                        <a:pt x="212" y="469"/>
                      </a:lnTo>
                      <a:lnTo>
                        <a:pt x="214" y="467"/>
                      </a:lnTo>
                      <a:lnTo>
                        <a:pt x="214" y="467"/>
                      </a:lnTo>
                      <a:lnTo>
                        <a:pt x="216" y="465"/>
                      </a:lnTo>
                      <a:lnTo>
                        <a:pt x="218" y="465"/>
                      </a:lnTo>
                      <a:lnTo>
                        <a:pt x="224" y="464"/>
                      </a:lnTo>
                      <a:lnTo>
                        <a:pt x="227" y="464"/>
                      </a:lnTo>
                      <a:lnTo>
                        <a:pt x="231" y="464"/>
                      </a:lnTo>
                      <a:lnTo>
                        <a:pt x="233" y="464"/>
                      </a:lnTo>
                      <a:lnTo>
                        <a:pt x="235" y="456"/>
                      </a:lnTo>
                      <a:lnTo>
                        <a:pt x="236" y="449"/>
                      </a:lnTo>
                      <a:lnTo>
                        <a:pt x="236" y="449"/>
                      </a:lnTo>
                      <a:lnTo>
                        <a:pt x="238" y="441"/>
                      </a:lnTo>
                      <a:lnTo>
                        <a:pt x="240" y="438"/>
                      </a:lnTo>
                      <a:lnTo>
                        <a:pt x="242" y="432"/>
                      </a:lnTo>
                      <a:lnTo>
                        <a:pt x="246" y="427"/>
                      </a:lnTo>
                      <a:lnTo>
                        <a:pt x="251" y="421"/>
                      </a:lnTo>
                      <a:lnTo>
                        <a:pt x="257" y="416"/>
                      </a:lnTo>
                      <a:lnTo>
                        <a:pt x="259" y="399"/>
                      </a:lnTo>
                      <a:lnTo>
                        <a:pt x="262" y="384"/>
                      </a:lnTo>
                      <a:lnTo>
                        <a:pt x="266" y="368"/>
                      </a:lnTo>
                      <a:lnTo>
                        <a:pt x="268" y="353"/>
                      </a:lnTo>
                      <a:lnTo>
                        <a:pt x="273" y="321"/>
                      </a:lnTo>
                      <a:lnTo>
                        <a:pt x="277" y="290"/>
                      </a:lnTo>
                      <a:lnTo>
                        <a:pt x="281" y="259"/>
                      </a:lnTo>
                      <a:lnTo>
                        <a:pt x="284" y="225"/>
                      </a:lnTo>
                      <a:lnTo>
                        <a:pt x="290" y="196"/>
                      </a:lnTo>
                      <a:lnTo>
                        <a:pt x="288" y="194"/>
                      </a:lnTo>
                      <a:lnTo>
                        <a:pt x="290" y="196"/>
                      </a:lnTo>
                      <a:lnTo>
                        <a:pt x="288" y="194"/>
                      </a:lnTo>
                      <a:lnTo>
                        <a:pt x="290" y="196"/>
                      </a:lnTo>
                      <a:lnTo>
                        <a:pt x="294" y="163"/>
                      </a:lnTo>
                      <a:lnTo>
                        <a:pt x="294" y="14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02"/>
                      </a:lnTo>
                      <a:lnTo>
                        <a:pt x="290" y="82"/>
                      </a:lnTo>
                      <a:lnTo>
                        <a:pt x="290" y="70"/>
                      </a:lnTo>
                      <a:lnTo>
                        <a:pt x="290" y="61"/>
                      </a:lnTo>
                      <a:lnTo>
                        <a:pt x="290" y="50"/>
                      </a:lnTo>
                      <a:lnTo>
                        <a:pt x="290" y="41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2" y="21"/>
                      </a:lnTo>
                      <a:lnTo>
                        <a:pt x="294" y="10"/>
                      </a:lnTo>
                      <a:lnTo>
                        <a:pt x="29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8" name="Freeform 2952"/>
                <p:cNvSpPr>
                  <a:spLocks/>
                </p:cNvSpPr>
                <p:nvPr/>
              </p:nvSpPr>
              <p:spPr bwMode="auto">
                <a:xfrm>
                  <a:off x="4885" y="2766"/>
                  <a:ext cx="296" cy="589"/>
                </a:xfrm>
                <a:custGeom>
                  <a:avLst/>
                  <a:gdLst>
                    <a:gd name="T0" fmla="*/ 288 w 296"/>
                    <a:gd name="T1" fmla="*/ 50 h 589"/>
                    <a:gd name="T2" fmla="*/ 288 w 296"/>
                    <a:gd name="T3" fmla="*/ 194 h 589"/>
                    <a:gd name="T4" fmla="*/ 259 w 296"/>
                    <a:gd name="T5" fmla="*/ 399 h 589"/>
                    <a:gd name="T6" fmla="*/ 236 w 296"/>
                    <a:gd name="T7" fmla="*/ 441 h 589"/>
                    <a:gd name="T8" fmla="*/ 214 w 296"/>
                    <a:gd name="T9" fmla="*/ 464 h 589"/>
                    <a:gd name="T10" fmla="*/ 203 w 296"/>
                    <a:gd name="T11" fmla="*/ 480 h 589"/>
                    <a:gd name="T12" fmla="*/ 198 w 296"/>
                    <a:gd name="T13" fmla="*/ 489 h 589"/>
                    <a:gd name="T14" fmla="*/ 142 w 296"/>
                    <a:gd name="T15" fmla="*/ 500 h 589"/>
                    <a:gd name="T16" fmla="*/ 133 w 296"/>
                    <a:gd name="T17" fmla="*/ 482 h 589"/>
                    <a:gd name="T18" fmla="*/ 116 w 296"/>
                    <a:gd name="T19" fmla="*/ 499 h 589"/>
                    <a:gd name="T20" fmla="*/ 109 w 296"/>
                    <a:gd name="T21" fmla="*/ 482 h 589"/>
                    <a:gd name="T22" fmla="*/ 100 w 296"/>
                    <a:gd name="T23" fmla="*/ 495 h 589"/>
                    <a:gd name="T24" fmla="*/ 87 w 296"/>
                    <a:gd name="T25" fmla="*/ 550 h 589"/>
                    <a:gd name="T26" fmla="*/ 78 w 296"/>
                    <a:gd name="T27" fmla="*/ 565 h 589"/>
                    <a:gd name="T28" fmla="*/ 80 w 296"/>
                    <a:gd name="T29" fmla="*/ 582 h 589"/>
                    <a:gd name="T30" fmla="*/ 63 w 296"/>
                    <a:gd name="T31" fmla="*/ 571 h 589"/>
                    <a:gd name="T32" fmla="*/ 54 w 296"/>
                    <a:gd name="T33" fmla="*/ 567 h 589"/>
                    <a:gd name="T34" fmla="*/ 59 w 296"/>
                    <a:gd name="T35" fmla="*/ 554 h 589"/>
                    <a:gd name="T36" fmla="*/ 70 w 296"/>
                    <a:gd name="T37" fmla="*/ 513 h 589"/>
                    <a:gd name="T38" fmla="*/ 52 w 296"/>
                    <a:gd name="T39" fmla="*/ 476 h 589"/>
                    <a:gd name="T40" fmla="*/ 30 w 296"/>
                    <a:gd name="T41" fmla="*/ 434 h 589"/>
                    <a:gd name="T42" fmla="*/ 13 w 296"/>
                    <a:gd name="T43" fmla="*/ 412 h 589"/>
                    <a:gd name="T44" fmla="*/ 11 w 296"/>
                    <a:gd name="T45" fmla="*/ 390 h 589"/>
                    <a:gd name="T46" fmla="*/ 54 w 296"/>
                    <a:gd name="T47" fmla="*/ 338 h 589"/>
                    <a:gd name="T48" fmla="*/ 102 w 296"/>
                    <a:gd name="T49" fmla="*/ 325 h 589"/>
                    <a:gd name="T50" fmla="*/ 94 w 296"/>
                    <a:gd name="T51" fmla="*/ 286 h 589"/>
                    <a:gd name="T52" fmla="*/ 83 w 296"/>
                    <a:gd name="T53" fmla="*/ 213 h 589"/>
                    <a:gd name="T54" fmla="*/ 81 w 296"/>
                    <a:gd name="T55" fmla="*/ 192 h 589"/>
                    <a:gd name="T56" fmla="*/ 93 w 296"/>
                    <a:gd name="T57" fmla="*/ 225 h 589"/>
                    <a:gd name="T58" fmla="*/ 98 w 296"/>
                    <a:gd name="T59" fmla="*/ 312 h 589"/>
                    <a:gd name="T60" fmla="*/ 83 w 296"/>
                    <a:gd name="T61" fmla="*/ 332 h 589"/>
                    <a:gd name="T62" fmla="*/ 22 w 296"/>
                    <a:gd name="T63" fmla="*/ 358 h 589"/>
                    <a:gd name="T64" fmla="*/ 4 w 296"/>
                    <a:gd name="T65" fmla="*/ 406 h 589"/>
                    <a:gd name="T66" fmla="*/ 26 w 296"/>
                    <a:gd name="T67" fmla="*/ 428 h 589"/>
                    <a:gd name="T68" fmla="*/ 43 w 296"/>
                    <a:gd name="T69" fmla="*/ 467 h 589"/>
                    <a:gd name="T70" fmla="*/ 56 w 296"/>
                    <a:gd name="T71" fmla="*/ 482 h 589"/>
                    <a:gd name="T72" fmla="*/ 70 w 296"/>
                    <a:gd name="T73" fmla="*/ 528 h 589"/>
                    <a:gd name="T74" fmla="*/ 57 w 296"/>
                    <a:gd name="T75" fmla="*/ 554 h 589"/>
                    <a:gd name="T76" fmla="*/ 61 w 296"/>
                    <a:gd name="T77" fmla="*/ 567 h 589"/>
                    <a:gd name="T78" fmla="*/ 61 w 296"/>
                    <a:gd name="T79" fmla="*/ 571 h 589"/>
                    <a:gd name="T80" fmla="*/ 80 w 296"/>
                    <a:gd name="T81" fmla="*/ 582 h 589"/>
                    <a:gd name="T82" fmla="*/ 76 w 296"/>
                    <a:gd name="T83" fmla="*/ 571 h 589"/>
                    <a:gd name="T84" fmla="*/ 83 w 296"/>
                    <a:gd name="T85" fmla="*/ 561 h 589"/>
                    <a:gd name="T86" fmla="*/ 93 w 296"/>
                    <a:gd name="T87" fmla="*/ 559 h 589"/>
                    <a:gd name="T88" fmla="*/ 102 w 296"/>
                    <a:gd name="T89" fmla="*/ 491 h 589"/>
                    <a:gd name="T90" fmla="*/ 109 w 296"/>
                    <a:gd name="T91" fmla="*/ 497 h 589"/>
                    <a:gd name="T92" fmla="*/ 124 w 296"/>
                    <a:gd name="T93" fmla="*/ 499 h 589"/>
                    <a:gd name="T94" fmla="*/ 129 w 296"/>
                    <a:gd name="T95" fmla="*/ 480 h 589"/>
                    <a:gd name="T96" fmla="*/ 144 w 296"/>
                    <a:gd name="T97" fmla="*/ 506 h 589"/>
                    <a:gd name="T98" fmla="*/ 200 w 296"/>
                    <a:gd name="T99" fmla="*/ 493 h 589"/>
                    <a:gd name="T100" fmla="*/ 207 w 296"/>
                    <a:gd name="T101" fmla="*/ 476 h 589"/>
                    <a:gd name="T102" fmla="*/ 216 w 296"/>
                    <a:gd name="T103" fmla="*/ 465 h 589"/>
                    <a:gd name="T104" fmla="*/ 236 w 296"/>
                    <a:gd name="T105" fmla="*/ 449 h 589"/>
                    <a:gd name="T106" fmla="*/ 262 w 296"/>
                    <a:gd name="T107" fmla="*/ 384 h 589"/>
                    <a:gd name="T108" fmla="*/ 288 w 296"/>
                    <a:gd name="T109" fmla="*/ 194 h 589"/>
                    <a:gd name="T110" fmla="*/ 292 w 296"/>
                    <a:gd name="T111" fmla="*/ 122 h 589"/>
                    <a:gd name="T112" fmla="*/ 290 w 296"/>
                    <a:gd name="T113" fmla="*/ 41 h 5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96" h="589">
                      <a:moveTo>
                        <a:pt x="296" y="0"/>
                      </a:moveTo>
                      <a:lnTo>
                        <a:pt x="296" y="0"/>
                      </a:lnTo>
                      <a:lnTo>
                        <a:pt x="294" y="0"/>
                      </a:lnTo>
                      <a:lnTo>
                        <a:pt x="292" y="10"/>
                      </a:lnTo>
                      <a:lnTo>
                        <a:pt x="290" y="21"/>
                      </a:lnTo>
                      <a:lnTo>
                        <a:pt x="290" y="30"/>
                      </a:lnTo>
                      <a:lnTo>
                        <a:pt x="288" y="41"/>
                      </a:lnTo>
                      <a:lnTo>
                        <a:pt x="288" y="50"/>
                      </a:lnTo>
                      <a:lnTo>
                        <a:pt x="288" y="61"/>
                      </a:lnTo>
                      <a:lnTo>
                        <a:pt x="288" y="70"/>
                      </a:lnTo>
                      <a:lnTo>
                        <a:pt x="288" y="82"/>
                      </a:lnTo>
                      <a:lnTo>
                        <a:pt x="290" y="102"/>
                      </a:lnTo>
                      <a:lnTo>
                        <a:pt x="290" y="122"/>
                      </a:lnTo>
                      <a:lnTo>
                        <a:pt x="292" y="142"/>
                      </a:lnTo>
                      <a:lnTo>
                        <a:pt x="292" y="163"/>
                      </a:lnTo>
                      <a:lnTo>
                        <a:pt x="288" y="194"/>
                      </a:lnTo>
                      <a:lnTo>
                        <a:pt x="284" y="225"/>
                      </a:lnTo>
                      <a:lnTo>
                        <a:pt x="279" y="259"/>
                      </a:lnTo>
                      <a:lnTo>
                        <a:pt x="275" y="290"/>
                      </a:lnTo>
                      <a:lnTo>
                        <a:pt x="272" y="321"/>
                      </a:lnTo>
                      <a:lnTo>
                        <a:pt x="266" y="353"/>
                      </a:lnTo>
                      <a:lnTo>
                        <a:pt x="264" y="368"/>
                      </a:lnTo>
                      <a:lnTo>
                        <a:pt x="260" y="384"/>
                      </a:lnTo>
                      <a:lnTo>
                        <a:pt x="259" y="399"/>
                      </a:lnTo>
                      <a:lnTo>
                        <a:pt x="255" y="414"/>
                      </a:lnTo>
                      <a:lnTo>
                        <a:pt x="249" y="421"/>
                      </a:lnTo>
                      <a:lnTo>
                        <a:pt x="246" y="425"/>
                      </a:lnTo>
                      <a:lnTo>
                        <a:pt x="242" y="430"/>
                      </a:lnTo>
                      <a:lnTo>
                        <a:pt x="242" y="430"/>
                      </a:lnTo>
                      <a:lnTo>
                        <a:pt x="238" y="436"/>
                      </a:lnTo>
                      <a:lnTo>
                        <a:pt x="238" y="436"/>
                      </a:lnTo>
                      <a:lnTo>
                        <a:pt x="236" y="441"/>
                      </a:lnTo>
                      <a:lnTo>
                        <a:pt x="235" y="449"/>
                      </a:lnTo>
                      <a:lnTo>
                        <a:pt x="233" y="454"/>
                      </a:lnTo>
                      <a:lnTo>
                        <a:pt x="233" y="454"/>
                      </a:lnTo>
                      <a:lnTo>
                        <a:pt x="231" y="464"/>
                      </a:lnTo>
                      <a:lnTo>
                        <a:pt x="227" y="464"/>
                      </a:lnTo>
                      <a:lnTo>
                        <a:pt x="224" y="464"/>
                      </a:lnTo>
                      <a:lnTo>
                        <a:pt x="218" y="464"/>
                      </a:lnTo>
                      <a:lnTo>
                        <a:pt x="214" y="464"/>
                      </a:lnTo>
                      <a:lnTo>
                        <a:pt x="214" y="464"/>
                      </a:lnTo>
                      <a:lnTo>
                        <a:pt x="212" y="467"/>
                      </a:lnTo>
                      <a:lnTo>
                        <a:pt x="211" y="469"/>
                      </a:lnTo>
                      <a:lnTo>
                        <a:pt x="211" y="471"/>
                      </a:lnTo>
                      <a:lnTo>
                        <a:pt x="209" y="473"/>
                      </a:lnTo>
                      <a:lnTo>
                        <a:pt x="207" y="475"/>
                      </a:lnTo>
                      <a:lnTo>
                        <a:pt x="203" y="478"/>
                      </a:lnTo>
                      <a:lnTo>
                        <a:pt x="203" y="480"/>
                      </a:lnTo>
                      <a:lnTo>
                        <a:pt x="203" y="480"/>
                      </a:lnTo>
                      <a:lnTo>
                        <a:pt x="201" y="480"/>
                      </a:lnTo>
                      <a:lnTo>
                        <a:pt x="201" y="480"/>
                      </a:lnTo>
                      <a:lnTo>
                        <a:pt x="200" y="482"/>
                      </a:lnTo>
                      <a:lnTo>
                        <a:pt x="200" y="484"/>
                      </a:lnTo>
                      <a:lnTo>
                        <a:pt x="200" y="484"/>
                      </a:lnTo>
                      <a:lnTo>
                        <a:pt x="200" y="488"/>
                      </a:lnTo>
                      <a:lnTo>
                        <a:pt x="198" y="489"/>
                      </a:lnTo>
                      <a:lnTo>
                        <a:pt x="198" y="493"/>
                      </a:lnTo>
                      <a:lnTo>
                        <a:pt x="198" y="493"/>
                      </a:lnTo>
                      <a:lnTo>
                        <a:pt x="198" y="495"/>
                      </a:lnTo>
                      <a:lnTo>
                        <a:pt x="185" y="495"/>
                      </a:lnTo>
                      <a:lnTo>
                        <a:pt x="172" y="495"/>
                      </a:lnTo>
                      <a:lnTo>
                        <a:pt x="157" y="495"/>
                      </a:lnTo>
                      <a:lnTo>
                        <a:pt x="142" y="497"/>
                      </a:lnTo>
                      <a:lnTo>
                        <a:pt x="142" y="500"/>
                      </a:lnTo>
                      <a:lnTo>
                        <a:pt x="142" y="504"/>
                      </a:lnTo>
                      <a:lnTo>
                        <a:pt x="142" y="506"/>
                      </a:lnTo>
                      <a:lnTo>
                        <a:pt x="140" y="506"/>
                      </a:lnTo>
                      <a:lnTo>
                        <a:pt x="140" y="506"/>
                      </a:lnTo>
                      <a:lnTo>
                        <a:pt x="139" y="499"/>
                      </a:lnTo>
                      <a:lnTo>
                        <a:pt x="137" y="491"/>
                      </a:lnTo>
                      <a:lnTo>
                        <a:pt x="137" y="491"/>
                      </a:lnTo>
                      <a:lnTo>
                        <a:pt x="133" y="482"/>
                      </a:lnTo>
                      <a:lnTo>
                        <a:pt x="129" y="473"/>
                      </a:lnTo>
                      <a:lnTo>
                        <a:pt x="128" y="480"/>
                      </a:lnTo>
                      <a:lnTo>
                        <a:pt x="126" y="486"/>
                      </a:lnTo>
                      <a:lnTo>
                        <a:pt x="124" y="491"/>
                      </a:lnTo>
                      <a:lnTo>
                        <a:pt x="124" y="491"/>
                      </a:lnTo>
                      <a:lnTo>
                        <a:pt x="122" y="497"/>
                      </a:lnTo>
                      <a:lnTo>
                        <a:pt x="120" y="499"/>
                      </a:lnTo>
                      <a:lnTo>
                        <a:pt x="116" y="499"/>
                      </a:lnTo>
                      <a:lnTo>
                        <a:pt x="113" y="500"/>
                      </a:lnTo>
                      <a:lnTo>
                        <a:pt x="111" y="502"/>
                      </a:lnTo>
                      <a:lnTo>
                        <a:pt x="111" y="497"/>
                      </a:lnTo>
                      <a:lnTo>
                        <a:pt x="111" y="491"/>
                      </a:lnTo>
                      <a:lnTo>
                        <a:pt x="113" y="488"/>
                      </a:lnTo>
                      <a:lnTo>
                        <a:pt x="113" y="482"/>
                      </a:lnTo>
                      <a:lnTo>
                        <a:pt x="113" y="480"/>
                      </a:lnTo>
                      <a:lnTo>
                        <a:pt x="109" y="482"/>
                      </a:lnTo>
                      <a:lnTo>
                        <a:pt x="109" y="482"/>
                      </a:lnTo>
                      <a:lnTo>
                        <a:pt x="105" y="484"/>
                      </a:lnTo>
                      <a:lnTo>
                        <a:pt x="102" y="484"/>
                      </a:lnTo>
                      <a:lnTo>
                        <a:pt x="102" y="484"/>
                      </a:lnTo>
                      <a:lnTo>
                        <a:pt x="100" y="486"/>
                      </a:lnTo>
                      <a:lnTo>
                        <a:pt x="100" y="486"/>
                      </a:lnTo>
                      <a:lnTo>
                        <a:pt x="100" y="491"/>
                      </a:lnTo>
                      <a:lnTo>
                        <a:pt x="100" y="495"/>
                      </a:lnTo>
                      <a:lnTo>
                        <a:pt x="100" y="499"/>
                      </a:lnTo>
                      <a:lnTo>
                        <a:pt x="100" y="506"/>
                      </a:lnTo>
                      <a:lnTo>
                        <a:pt x="98" y="513"/>
                      </a:lnTo>
                      <a:lnTo>
                        <a:pt x="96" y="523"/>
                      </a:lnTo>
                      <a:lnTo>
                        <a:pt x="94" y="537"/>
                      </a:lnTo>
                      <a:lnTo>
                        <a:pt x="91" y="556"/>
                      </a:lnTo>
                      <a:lnTo>
                        <a:pt x="89" y="554"/>
                      </a:lnTo>
                      <a:lnTo>
                        <a:pt x="87" y="550"/>
                      </a:lnTo>
                      <a:lnTo>
                        <a:pt x="85" y="550"/>
                      </a:lnTo>
                      <a:lnTo>
                        <a:pt x="85" y="554"/>
                      </a:lnTo>
                      <a:lnTo>
                        <a:pt x="83" y="558"/>
                      </a:lnTo>
                      <a:lnTo>
                        <a:pt x="83" y="559"/>
                      </a:lnTo>
                      <a:lnTo>
                        <a:pt x="81" y="561"/>
                      </a:lnTo>
                      <a:lnTo>
                        <a:pt x="81" y="563"/>
                      </a:lnTo>
                      <a:lnTo>
                        <a:pt x="80" y="563"/>
                      </a:lnTo>
                      <a:lnTo>
                        <a:pt x="78" y="565"/>
                      </a:lnTo>
                      <a:lnTo>
                        <a:pt x="74" y="565"/>
                      </a:lnTo>
                      <a:lnTo>
                        <a:pt x="72" y="567"/>
                      </a:lnTo>
                      <a:lnTo>
                        <a:pt x="76" y="571"/>
                      </a:lnTo>
                      <a:lnTo>
                        <a:pt x="78" y="574"/>
                      </a:lnTo>
                      <a:lnTo>
                        <a:pt x="78" y="576"/>
                      </a:lnTo>
                      <a:lnTo>
                        <a:pt x="80" y="578"/>
                      </a:lnTo>
                      <a:lnTo>
                        <a:pt x="80" y="580"/>
                      </a:lnTo>
                      <a:lnTo>
                        <a:pt x="80" y="582"/>
                      </a:lnTo>
                      <a:lnTo>
                        <a:pt x="78" y="583"/>
                      </a:lnTo>
                      <a:lnTo>
                        <a:pt x="78" y="583"/>
                      </a:lnTo>
                      <a:lnTo>
                        <a:pt x="78" y="585"/>
                      </a:lnTo>
                      <a:lnTo>
                        <a:pt x="74" y="582"/>
                      </a:lnTo>
                      <a:lnTo>
                        <a:pt x="70" y="578"/>
                      </a:lnTo>
                      <a:lnTo>
                        <a:pt x="67" y="574"/>
                      </a:lnTo>
                      <a:lnTo>
                        <a:pt x="63" y="571"/>
                      </a:lnTo>
                      <a:lnTo>
                        <a:pt x="63" y="571"/>
                      </a:lnTo>
                      <a:lnTo>
                        <a:pt x="65" y="569"/>
                      </a:lnTo>
                      <a:lnTo>
                        <a:pt x="65" y="569"/>
                      </a:lnTo>
                      <a:lnTo>
                        <a:pt x="63" y="567"/>
                      </a:lnTo>
                      <a:lnTo>
                        <a:pt x="63" y="565"/>
                      </a:lnTo>
                      <a:lnTo>
                        <a:pt x="61" y="563"/>
                      </a:lnTo>
                      <a:lnTo>
                        <a:pt x="59" y="567"/>
                      </a:lnTo>
                      <a:lnTo>
                        <a:pt x="59" y="567"/>
                      </a:lnTo>
                      <a:lnTo>
                        <a:pt x="54" y="567"/>
                      </a:lnTo>
                      <a:lnTo>
                        <a:pt x="52" y="567"/>
                      </a:lnTo>
                      <a:lnTo>
                        <a:pt x="54" y="563"/>
                      </a:lnTo>
                      <a:lnTo>
                        <a:pt x="57" y="558"/>
                      </a:lnTo>
                      <a:lnTo>
                        <a:pt x="56" y="558"/>
                      </a:lnTo>
                      <a:lnTo>
                        <a:pt x="57" y="558"/>
                      </a:lnTo>
                      <a:lnTo>
                        <a:pt x="56" y="558"/>
                      </a:lnTo>
                      <a:lnTo>
                        <a:pt x="57" y="558"/>
                      </a:lnTo>
                      <a:lnTo>
                        <a:pt x="59" y="554"/>
                      </a:lnTo>
                      <a:lnTo>
                        <a:pt x="61" y="552"/>
                      </a:lnTo>
                      <a:lnTo>
                        <a:pt x="63" y="550"/>
                      </a:lnTo>
                      <a:lnTo>
                        <a:pt x="67" y="547"/>
                      </a:lnTo>
                      <a:lnTo>
                        <a:pt x="69" y="545"/>
                      </a:lnTo>
                      <a:lnTo>
                        <a:pt x="74" y="543"/>
                      </a:lnTo>
                      <a:lnTo>
                        <a:pt x="74" y="543"/>
                      </a:lnTo>
                      <a:lnTo>
                        <a:pt x="72" y="528"/>
                      </a:lnTo>
                      <a:lnTo>
                        <a:pt x="70" y="513"/>
                      </a:lnTo>
                      <a:lnTo>
                        <a:pt x="70" y="500"/>
                      </a:lnTo>
                      <a:lnTo>
                        <a:pt x="69" y="486"/>
                      </a:lnTo>
                      <a:lnTo>
                        <a:pt x="65" y="484"/>
                      </a:lnTo>
                      <a:lnTo>
                        <a:pt x="61" y="484"/>
                      </a:lnTo>
                      <a:lnTo>
                        <a:pt x="59" y="482"/>
                      </a:lnTo>
                      <a:lnTo>
                        <a:pt x="56" y="480"/>
                      </a:lnTo>
                      <a:lnTo>
                        <a:pt x="54" y="478"/>
                      </a:lnTo>
                      <a:lnTo>
                        <a:pt x="52" y="476"/>
                      </a:lnTo>
                      <a:lnTo>
                        <a:pt x="50" y="475"/>
                      </a:lnTo>
                      <a:lnTo>
                        <a:pt x="48" y="471"/>
                      </a:lnTo>
                      <a:lnTo>
                        <a:pt x="45" y="465"/>
                      </a:lnTo>
                      <a:lnTo>
                        <a:pt x="41" y="460"/>
                      </a:lnTo>
                      <a:lnTo>
                        <a:pt x="39" y="454"/>
                      </a:lnTo>
                      <a:lnTo>
                        <a:pt x="35" y="447"/>
                      </a:lnTo>
                      <a:lnTo>
                        <a:pt x="33" y="441"/>
                      </a:lnTo>
                      <a:lnTo>
                        <a:pt x="30" y="434"/>
                      </a:lnTo>
                      <a:lnTo>
                        <a:pt x="28" y="428"/>
                      </a:lnTo>
                      <a:lnTo>
                        <a:pt x="28" y="428"/>
                      </a:lnTo>
                      <a:lnTo>
                        <a:pt x="22" y="421"/>
                      </a:lnTo>
                      <a:lnTo>
                        <a:pt x="21" y="419"/>
                      </a:lnTo>
                      <a:lnTo>
                        <a:pt x="19" y="416"/>
                      </a:lnTo>
                      <a:lnTo>
                        <a:pt x="17" y="414"/>
                      </a:lnTo>
                      <a:lnTo>
                        <a:pt x="17" y="414"/>
                      </a:lnTo>
                      <a:lnTo>
                        <a:pt x="13" y="412"/>
                      </a:lnTo>
                      <a:lnTo>
                        <a:pt x="11" y="408"/>
                      </a:lnTo>
                      <a:lnTo>
                        <a:pt x="8" y="406"/>
                      </a:lnTo>
                      <a:lnTo>
                        <a:pt x="8" y="406"/>
                      </a:lnTo>
                      <a:lnTo>
                        <a:pt x="4" y="406"/>
                      </a:lnTo>
                      <a:lnTo>
                        <a:pt x="4" y="406"/>
                      </a:lnTo>
                      <a:lnTo>
                        <a:pt x="2" y="404"/>
                      </a:lnTo>
                      <a:lnTo>
                        <a:pt x="8" y="397"/>
                      </a:lnTo>
                      <a:lnTo>
                        <a:pt x="11" y="390"/>
                      </a:lnTo>
                      <a:lnTo>
                        <a:pt x="15" y="382"/>
                      </a:lnTo>
                      <a:lnTo>
                        <a:pt x="19" y="373"/>
                      </a:lnTo>
                      <a:lnTo>
                        <a:pt x="22" y="366"/>
                      </a:lnTo>
                      <a:lnTo>
                        <a:pt x="24" y="358"/>
                      </a:lnTo>
                      <a:lnTo>
                        <a:pt x="26" y="349"/>
                      </a:lnTo>
                      <a:lnTo>
                        <a:pt x="28" y="340"/>
                      </a:lnTo>
                      <a:lnTo>
                        <a:pt x="43" y="340"/>
                      </a:lnTo>
                      <a:lnTo>
                        <a:pt x="54" y="338"/>
                      </a:lnTo>
                      <a:lnTo>
                        <a:pt x="63" y="338"/>
                      </a:lnTo>
                      <a:lnTo>
                        <a:pt x="70" y="336"/>
                      </a:lnTo>
                      <a:lnTo>
                        <a:pt x="70" y="336"/>
                      </a:lnTo>
                      <a:lnTo>
                        <a:pt x="76" y="336"/>
                      </a:lnTo>
                      <a:lnTo>
                        <a:pt x="83" y="334"/>
                      </a:lnTo>
                      <a:lnTo>
                        <a:pt x="91" y="332"/>
                      </a:lnTo>
                      <a:lnTo>
                        <a:pt x="100" y="329"/>
                      </a:lnTo>
                      <a:lnTo>
                        <a:pt x="102" y="325"/>
                      </a:lnTo>
                      <a:lnTo>
                        <a:pt x="102" y="320"/>
                      </a:lnTo>
                      <a:lnTo>
                        <a:pt x="104" y="316"/>
                      </a:lnTo>
                      <a:lnTo>
                        <a:pt x="105" y="312"/>
                      </a:lnTo>
                      <a:lnTo>
                        <a:pt x="105" y="310"/>
                      </a:lnTo>
                      <a:lnTo>
                        <a:pt x="98" y="310"/>
                      </a:lnTo>
                      <a:lnTo>
                        <a:pt x="94" y="310"/>
                      </a:lnTo>
                      <a:lnTo>
                        <a:pt x="94" y="299"/>
                      </a:lnTo>
                      <a:lnTo>
                        <a:pt x="94" y="286"/>
                      </a:lnTo>
                      <a:lnTo>
                        <a:pt x="94" y="275"/>
                      </a:lnTo>
                      <a:lnTo>
                        <a:pt x="94" y="262"/>
                      </a:lnTo>
                      <a:lnTo>
                        <a:pt x="94" y="249"/>
                      </a:lnTo>
                      <a:lnTo>
                        <a:pt x="94" y="238"/>
                      </a:lnTo>
                      <a:lnTo>
                        <a:pt x="94" y="225"/>
                      </a:lnTo>
                      <a:lnTo>
                        <a:pt x="94" y="213"/>
                      </a:lnTo>
                      <a:lnTo>
                        <a:pt x="87" y="213"/>
                      </a:lnTo>
                      <a:lnTo>
                        <a:pt x="83" y="213"/>
                      </a:lnTo>
                      <a:lnTo>
                        <a:pt x="83" y="207"/>
                      </a:lnTo>
                      <a:lnTo>
                        <a:pt x="83" y="203"/>
                      </a:lnTo>
                      <a:lnTo>
                        <a:pt x="83" y="198"/>
                      </a:lnTo>
                      <a:lnTo>
                        <a:pt x="83" y="192"/>
                      </a:lnTo>
                      <a:lnTo>
                        <a:pt x="87" y="190"/>
                      </a:lnTo>
                      <a:lnTo>
                        <a:pt x="81" y="192"/>
                      </a:lnTo>
                      <a:lnTo>
                        <a:pt x="81" y="192"/>
                      </a:lnTo>
                      <a:lnTo>
                        <a:pt x="81" y="192"/>
                      </a:lnTo>
                      <a:lnTo>
                        <a:pt x="81" y="198"/>
                      </a:lnTo>
                      <a:lnTo>
                        <a:pt x="81" y="203"/>
                      </a:lnTo>
                      <a:lnTo>
                        <a:pt x="81" y="207"/>
                      </a:lnTo>
                      <a:lnTo>
                        <a:pt x="81" y="213"/>
                      </a:lnTo>
                      <a:lnTo>
                        <a:pt x="81" y="214"/>
                      </a:lnTo>
                      <a:lnTo>
                        <a:pt x="87" y="214"/>
                      </a:lnTo>
                      <a:lnTo>
                        <a:pt x="93" y="214"/>
                      </a:lnTo>
                      <a:lnTo>
                        <a:pt x="93" y="225"/>
                      </a:lnTo>
                      <a:lnTo>
                        <a:pt x="93" y="238"/>
                      </a:lnTo>
                      <a:lnTo>
                        <a:pt x="93" y="249"/>
                      </a:lnTo>
                      <a:lnTo>
                        <a:pt x="93" y="262"/>
                      </a:lnTo>
                      <a:lnTo>
                        <a:pt x="93" y="275"/>
                      </a:lnTo>
                      <a:lnTo>
                        <a:pt x="93" y="286"/>
                      </a:lnTo>
                      <a:lnTo>
                        <a:pt x="93" y="299"/>
                      </a:lnTo>
                      <a:lnTo>
                        <a:pt x="93" y="312"/>
                      </a:lnTo>
                      <a:lnTo>
                        <a:pt x="98" y="312"/>
                      </a:lnTo>
                      <a:lnTo>
                        <a:pt x="104" y="312"/>
                      </a:lnTo>
                      <a:lnTo>
                        <a:pt x="102" y="316"/>
                      </a:lnTo>
                      <a:lnTo>
                        <a:pt x="102" y="320"/>
                      </a:lnTo>
                      <a:lnTo>
                        <a:pt x="102" y="320"/>
                      </a:lnTo>
                      <a:lnTo>
                        <a:pt x="100" y="325"/>
                      </a:lnTo>
                      <a:lnTo>
                        <a:pt x="100" y="329"/>
                      </a:lnTo>
                      <a:lnTo>
                        <a:pt x="91" y="331"/>
                      </a:lnTo>
                      <a:lnTo>
                        <a:pt x="83" y="332"/>
                      </a:lnTo>
                      <a:lnTo>
                        <a:pt x="76" y="334"/>
                      </a:lnTo>
                      <a:lnTo>
                        <a:pt x="70" y="334"/>
                      </a:lnTo>
                      <a:lnTo>
                        <a:pt x="63" y="336"/>
                      </a:lnTo>
                      <a:lnTo>
                        <a:pt x="54" y="336"/>
                      </a:lnTo>
                      <a:lnTo>
                        <a:pt x="43" y="338"/>
                      </a:lnTo>
                      <a:lnTo>
                        <a:pt x="28" y="338"/>
                      </a:lnTo>
                      <a:lnTo>
                        <a:pt x="24" y="349"/>
                      </a:lnTo>
                      <a:lnTo>
                        <a:pt x="22" y="358"/>
                      </a:lnTo>
                      <a:lnTo>
                        <a:pt x="21" y="366"/>
                      </a:lnTo>
                      <a:lnTo>
                        <a:pt x="21" y="366"/>
                      </a:lnTo>
                      <a:lnTo>
                        <a:pt x="17" y="373"/>
                      </a:lnTo>
                      <a:lnTo>
                        <a:pt x="15" y="380"/>
                      </a:lnTo>
                      <a:lnTo>
                        <a:pt x="9" y="388"/>
                      </a:lnTo>
                      <a:lnTo>
                        <a:pt x="6" y="395"/>
                      </a:lnTo>
                      <a:lnTo>
                        <a:pt x="0" y="404"/>
                      </a:lnTo>
                      <a:lnTo>
                        <a:pt x="4" y="406"/>
                      </a:lnTo>
                      <a:lnTo>
                        <a:pt x="8" y="408"/>
                      </a:lnTo>
                      <a:lnTo>
                        <a:pt x="9" y="410"/>
                      </a:lnTo>
                      <a:lnTo>
                        <a:pt x="13" y="412"/>
                      </a:lnTo>
                      <a:lnTo>
                        <a:pt x="15" y="416"/>
                      </a:lnTo>
                      <a:lnTo>
                        <a:pt x="19" y="417"/>
                      </a:lnTo>
                      <a:lnTo>
                        <a:pt x="21" y="419"/>
                      </a:lnTo>
                      <a:lnTo>
                        <a:pt x="22" y="423"/>
                      </a:lnTo>
                      <a:lnTo>
                        <a:pt x="26" y="428"/>
                      </a:lnTo>
                      <a:lnTo>
                        <a:pt x="30" y="434"/>
                      </a:lnTo>
                      <a:lnTo>
                        <a:pt x="30" y="434"/>
                      </a:lnTo>
                      <a:lnTo>
                        <a:pt x="32" y="441"/>
                      </a:lnTo>
                      <a:lnTo>
                        <a:pt x="35" y="447"/>
                      </a:lnTo>
                      <a:lnTo>
                        <a:pt x="37" y="454"/>
                      </a:lnTo>
                      <a:lnTo>
                        <a:pt x="41" y="460"/>
                      </a:lnTo>
                      <a:lnTo>
                        <a:pt x="43" y="467"/>
                      </a:lnTo>
                      <a:lnTo>
                        <a:pt x="43" y="467"/>
                      </a:lnTo>
                      <a:lnTo>
                        <a:pt x="46" y="473"/>
                      </a:lnTo>
                      <a:lnTo>
                        <a:pt x="48" y="475"/>
                      </a:lnTo>
                      <a:lnTo>
                        <a:pt x="48" y="475"/>
                      </a:lnTo>
                      <a:lnTo>
                        <a:pt x="50" y="476"/>
                      </a:lnTo>
                      <a:lnTo>
                        <a:pt x="52" y="480"/>
                      </a:lnTo>
                      <a:lnTo>
                        <a:pt x="52" y="480"/>
                      </a:lnTo>
                      <a:lnTo>
                        <a:pt x="56" y="482"/>
                      </a:lnTo>
                      <a:lnTo>
                        <a:pt x="56" y="482"/>
                      </a:lnTo>
                      <a:lnTo>
                        <a:pt x="57" y="484"/>
                      </a:lnTo>
                      <a:lnTo>
                        <a:pt x="61" y="484"/>
                      </a:lnTo>
                      <a:lnTo>
                        <a:pt x="63" y="486"/>
                      </a:lnTo>
                      <a:lnTo>
                        <a:pt x="63" y="486"/>
                      </a:lnTo>
                      <a:lnTo>
                        <a:pt x="67" y="488"/>
                      </a:lnTo>
                      <a:lnTo>
                        <a:pt x="69" y="500"/>
                      </a:lnTo>
                      <a:lnTo>
                        <a:pt x="70" y="513"/>
                      </a:lnTo>
                      <a:lnTo>
                        <a:pt x="70" y="528"/>
                      </a:lnTo>
                      <a:lnTo>
                        <a:pt x="72" y="541"/>
                      </a:lnTo>
                      <a:lnTo>
                        <a:pt x="69" y="543"/>
                      </a:lnTo>
                      <a:lnTo>
                        <a:pt x="65" y="547"/>
                      </a:lnTo>
                      <a:lnTo>
                        <a:pt x="65" y="547"/>
                      </a:lnTo>
                      <a:lnTo>
                        <a:pt x="63" y="548"/>
                      </a:lnTo>
                      <a:lnTo>
                        <a:pt x="59" y="550"/>
                      </a:lnTo>
                      <a:lnTo>
                        <a:pt x="57" y="554"/>
                      </a:lnTo>
                      <a:lnTo>
                        <a:pt x="57" y="554"/>
                      </a:lnTo>
                      <a:lnTo>
                        <a:pt x="56" y="558"/>
                      </a:lnTo>
                      <a:lnTo>
                        <a:pt x="54" y="561"/>
                      </a:lnTo>
                      <a:lnTo>
                        <a:pt x="50" y="569"/>
                      </a:lnTo>
                      <a:lnTo>
                        <a:pt x="50" y="569"/>
                      </a:lnTo>
                      <a:lnTo>
                        <a:pt x="54" y="569"/>
                      </a:lnTo>
                      <a:lnTo>
                        <a:pt x="59" y="569"/>
                      </a:lnTo>
                      <a:lnTo>
                        <a:pt x="59" y="569"/>
                      </a:lnTo>
                      <a:lnTo>
                        <a:pt x="61" y="567"/>
                      </a:lnTo>
                      <a:lnTo>
                        <a:pt x="61" y="567"/>
                      </a:lnTo>
                      <a:lnTo>
                        <a:pt x="63" y="567"/>
                      </a:lnTo>
                      <a:lnTo>
                        <a:pt x="63" y="569"/>
                      </a:lnTo>
                      <a:lnTo>
                        <a:pt x="63" y="569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1" y="571"/>
                      </a:lnTo>
                      <a:lnTo>
                        <a:pt x="65" y="576"/>
                      </a:lnTo>
                      <a:lnTo>
                        <a:pt x="69" y="580"/>
                      </a:lnTo>
                      <a:lnTo>
                        <a:pt x="74" y="583"/>
                      </a:lnTo>
                      <a:lnTo>
                        <a:pt x="78" y="587"/>
                      </a:lnTo>
                      <a:lnTo>
                        <a:pt x="78" y="589"/>
                      </a:lnTo>
                      <a:lnTo>
                        <a:pt x="80" y="583"/>
                      </a:lnTo>
                      <a:lnTo>
                        <a:pt x="80" y="582"/>
                      </a:lnTo>
                      <a:lnTo>
                        <a:pt x="80" y="582"/>
                      </a:lnTo>
                      <a:lnTo>
                        <a:pt x="80" y="580"/>
                      </a:lnTo>
                      <a:lnTo>
                        <a:pt x="80" y="578"/>
                      </a:lnTo>
                      <a:lnTo>
                        <a:pt x="80" y="578"/>
                      </a:lnTo>
                      <a:lnTo>
                        <a:pt x="80" y="576"/>
                      </a:lnTo>
                      <a:lnTo>
                        <a:pt x="80" y="576"/>
                      </a:lnTo>
                      <a:lnTo>
                        <a:pt x="78" y="574"/>
                      </a:lnTo>
                      <a:lnTo>
                        <a:pt x="76" y="571"/>
                      </a:lnTo>
                      <a:lnTo>
                        <a:pt x="74" y="567"/>
                      </a:lnTo>
                      <a:lnTo>
                        <a:pt x="78" y="567"/>
                      </a:lnTo>
                      <a:lnTo>
                        <a:pt x="78" y="567"/>
                      </a:lnTo>
                      <a:lnTo>
                        <a:pt x="80" y="565"/>
                      </a:lnTo>
                      <a:lnTo>
                        <a:pt x="81" y="563"/>
                      </a:lnTo>
                      <a:lnTo>
                        <a:pt x="81" y="563"/>
                      </a:lnTo>
                      <a:lnTo>
                        <a:pt x="83" y="561"/>
                      </a:lnTo>
                      <a:lnTo>
                        <a:pt x="83" y="561"/>
                      </a:lnTo>
                      <a:lnTo>
                        <a:pt x="85" y="559"/>
                      </a:lnTo>
                      <a:lnTo>
                        <a:pt x="85" y="558"/>
                      </a:lnTo>
                      <a:lnTo>
                        <a:pt x="85" y="558"/>
                      </a:lnTo>
                      <a:lnTo>
                        <a:pt x="87" y="556"/>
                      </a:lnTo>
                      <a:lnTo>
                        <a:pt x="87" y="554"/>
                      </a:lnTo>
                      <a:lnTo>
                        <a:pt x="89" y="554"/>
                      </a:lnTo>
                      <a:lnTo>
                        <a:pt x="91" y="558"/>
                      </a:lnTo>
                      <a:lnTo>
                        <a:pt x="93" y="559"/>
                      </a:lnTo>
                      <a:lnTo>
                        <a:pt x="96" y="537"/>
                      </a:lnTo>
                      <a:lnTo>
                        <a:pt x="98" y="524"/>
                      </a:lnTo>
                      <a:lnTo>
                        <a:pt x="100" y="513"/>
                      </a:lnTo>
                      <a:lnTo>
                        <a:pt x="102" y="506"/>
                      </a:lnTo>
                      <a:lnTo>
                        <a:pt x="102" y="499"/>
                      </a:lnTo>
                      <a:lnTo>
                        <a:pt x="102" y="495"/>
                      </a:lnTo>
                      <a:lnTo>
                        <a:pt x="102" y="491"/>
                      </a:lnTo>
                      <a:lnTo>
                        <a:pt x="102" y="491"/>
                      </a:lnTo>
                      <a:lnTo>
                        <a:pt x="100" y="486"/>
                      </a:lnTo>
                      <a:lnTo>
                        <a:pt x="104" y="486"/>
                      </a:lnTo>
                      <a:lnTo>
                        <a:pt x="105" y="484"/>
                      </a:lnTo>
                      <a:lnTo>
                        <a:pt x="109" y="484"/>
                      </a:lnTo>
                      <a:lnTo>
                        <a:pt x="111" y="482"/>
                      </a:lnTo>
                      <a:lnTo>
                        <a:pt x="111" y="488"/>
                      </a:lnTo>
                      <a:lnTo>
                        <a:pt x="111" y="491"/>
                      </a:lnTo>
                      <a:lnTo>
                        <a:pt x="109" y="497"/>
                      </a:lnTo>
                      <a:lnTo>
                        <a:pt x="109" y="497"/>
                      </a:lnTo>
                      <a:lnTo>
                        <a:pt x="109" y="502"/>
                      </a:lnTo>
                      <a:lnTo>
                        <a:pt x="109" y="504"/>
                      </a:lnTo>
                      <a:lnTo>
                        <a:pt x="115" y="502"/>
                      </a:lnTo>
                      <a:lnTo>
                        <a:pt x="115" y="502"/>
                      </a:lnTo>
                      <a:lnTo>
                        <a:pt x="116" y="500"/>
                      </a:lnTo>
                      <a:lnTo>
                        <a:pt x="120" y="500"/>
                      </a:lnTo>
                      <a:lnTo>
                        <a:pt x="124" y="499"/>
                      </a:lnTo>
                      <a:lnTo>
                        <a:pt x="124" y="499"/>
                      </a:lnTo>
                      <a:lnTo>
                        <a:pt x="126" y="493"/>
                      </a:lnTo>
                      <a:lnTo>
                        <a:pt x="128" y="486"/>
                      </a:lnTo>
                      <a:lnTo>
                        <a:pt x="129" y="480"/>
                      </a:lnTo>
                      <a:lnTo>
                        <a:pt x="128" y="480"/>
                      </a:lnTo>
                      <a:lnTo>
                        <a:pt x="129" y="480"/>
                      </a:lnTo>
                      <a:lnTo>
                        <a:pt x="128" y="480"/>
                      </a:lnTo>
                      <a:lnTo>
                        <a:pt x="129" y="480"/>
                      </a:lnTo>
                      <a:lnTo>
                        <a:pt x="129" y="476"/>
                      </a:lnTo>
                      <a:lnTo>
                        <a:pt x="131" y="484"/>
                      </a:lnTo>
                      <a:lnTo>
                        <a:pt x="131" y="484"/>
                      </a:lnTo>
                      <a:lnTo>
                        <a:pt x="135" y="491"/>
                      </a:lnTo>
                      <a:lnTo>
                        <a:pt x="137" y="499"/>
                      </a:lnTo>
                      <a:lnTo>
                        <a:pt x="140" y="510"/>
                      </a:lnTo>
                      <a:lnTo>
                        <a:pt x="142" y="506"/>
                      </a:lnTo>
                      <a:lnTo>
                        <a:pt x="144" y="506"/>
                      </a:lnTo>
                      <a:lnTo>
                        <a:pt x="144" y="506"/>
                      </a:lnTo>
                      <a:lnTo>
                        <a:pt x="144" y="500"/>
                      </a:lnTo>
                      <a:lnTo>
                        <a:pt x="144" y="497"/>
                      </a:lnTo>
                      <a:lnTo>
                        <a:pt x="157" y="497"/>
                      </a:lnTo>
                      <a:lnTo>
                        <a:pt x="172" y="497"/>
                      </a:lnTo>
                      <a:lnTo>
                        <a:pt x="185" y="497"/>
                      </a:lnTo>
                      <a:lnTo>
                        <a:pt x="200" y="497"/>
                      </a:lnTo>
                      <a:lnTo>
                        <a:pt x="200" y="493"/>
                      </a:lnTo>
                      <a:lnTo>
                        <a:pt x="200" y="489"/>
                      </a:lnTo>
                      <a:lnTo>
                        <a:pt x="200" y="488"/>
                      </a:lnTo>
                      <a:lnTo>
                        <a:pt x="201" y="486"/>
                      </a:lnTo>
                      <a:lnTo>
                        <a:pt x="201" y="484"/>
                      </a:lnTo>
                      <a:lnTo>
                        <a:pt x="203" y="482"/>
                      </a:lnTo>
                      <a:lnTo>
                        <a:pt x="203" y="480"/>
                      </a:lnTo>
                      <a:lnTo>
                        <a:pt x="205" y="480"/>
                      </a:lnTo>
                      <a:lnTo>
                        <a:pt x="207" y="476"/>
                      </a:lnTo>
                      <a:lnTo>
                        <a:pt x="211" y="475"/>
                      </a:lnTo>
                      <a:lnTo>
                        <a:pt x="211" y="475"/>
                      </a:lnTo>
                      <a:lnTo>
                        <a:pt x="212" y="473"/>
                      </a:lnTo>
                      <a:lnTo>
                        <a:pt x="212" y="473"/>
                      </a:lnTo>
                      <a:lnTo>
                        <a:pt x="212" y="469"/>
                      </a:lnTo>
                      <a:lnTo>
                        <a:pt x="214" y="467"/>
                      </a:lnTo>
                      <a:lnTo>
                        <a:pt x="214" y="467"/>
                      </a:lnTo>
                      <a:lnTo>
                        <a:pt x="216" y="465"/>
                      </a:lnTo>
                      <a:lnTo>
                        <a:pt x="218" y="465"/>
                      </a:lnTo>
                      <a:lnTo>
                        <a:pt x="224" y="464"/>
                      </a:lnTo>
                      <a:lnTo>
                        <a:pt x="227" y="464"/>
                      </a:lnTo>
                      <a:lnTo>
                        <a:pt x="231" y="464"/>
                      </a:lnTo>
                      <a:lnTo>
                        <a:pt x="233" y="464"/>
                      </a:lnTo>
                      <a:lnTo>
                        <a:pt x="235" y="456"/>
                      </a:lnTo>
                      <a:lnTo>
                        <a:pt x="236" y="449"/>
                      </a:lnTo>
                      <a:lnTo>
                        <a:pt x="236" y="449"/>
                      </a:lnTo>
                      <a:lnTo>
                        <a:pt x="238" y="441"/>
                      </a:lnTo>
                      <a:lnTo>
                        <a:pt x="240" y="438"/>
                      </a:lnTo>
                      <a:lnTo>
                        <a:pt x="242" y="432"/>
                      </a:lnTo>
                      <a:lnTo>
                        <a:pt x="246" y="427"/>
                      </a:lnTo>
                      <a:lnTo>
                        <a:pt x="251" y="421"/>
                      </a:lnTo>
                      <a:lnTo>
                        <a:pt x="257" y="416"/>
                      </a:lnTo>
                      <a:lnTo>
                        <a:pt x="259" y="399"/>
                      </a:lnTo>
                      <a:lnTo>
                        <a:pt x="262" y="384"/>
                      </a:lnTo>
                      <a:lnTo>
                        <a:pt x="266" y="368"/>
                      </a:lnTo>
                      <a:lnTo>
                        <a:pt x="268" y="353"/>
                      </a:lnTo>
                      <a:lnTo>
                        <a:pt x="273" y="321"/>
                      </a:lnTo>
                      <a:lnTo>
                        <a:pt x="277" y="290"/>
                      </a:lnTo>
                      <a:lnTo>
                        <a:pt x="281" y="259"/>
                      </a:lnTo>
                      <a:lnTo>
                        <a:pt x="284" y="225"/>
                      </a:lnTo>
                      <a:lnTo>
                        <a:pt x="290" y="196"/>
                      </a:lnTo>
                      <a:lnTo>
                        <a:pt x="288" y="194"/>
                      </a:lnTo>
                      <a:lnTo>
                        <a:pt x="290" y="196"/>
                      </a:lnTo>
                      <a:lnTo>
                        <a:pt x="288" y="194"/>
                      </a:lnTo>
                      <a:lnTo>
                        <a:pt x="290" y="196"/>
                      </a:lnTo>
                      <a:lnTo>
                        <a:pt x="294" y="163"/>
                      </a:lnTo>
                      <a:lnTo>
                        <a:pt x="294" y="14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22"/>
                      </a:lnTo>
                      <a:lnTo>
                        <a:pt x="292" y="102"/>
                      </a:lnTo>
                      <a:lnTo>
                        <a:pt x="290" y="82"/>
                      </a:lnTo>
                      <a:lnTo>
                        <a:pt x="290" y="70"/>
                      </a:lnTo>
                      <a:lnTo>
                        <a:pt x="290" y="61"/>
                      </a:lnTo>
                      <a:lnTo>
                        <a:pt x="290" y="50"/>
                      </a:lnTo>
                      <a:lnTo>
                        <a:pt x="290" y="41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2" y="21"/>
                      </a:lnTo>
                      <a:lnTo>
                        <a:pt x="294" y="10"/>
                      </a:lnTo>
                      <a:lnTo>
                        <a:pt x="29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39" name="Freeform 2953"/>
                <p:cNvSpPr>
                  <a:spLocks/>
                </p:cNvSpPr>
                <p:nvPr/>
              </p:nvSpPr>
              <p:spPr bwMode="auto">
                <a:xfrm>
                  <a:off x="5179" y="2766"/>
                  <a:ext cx="2" cy="1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2 w 2"/>
                    <a:gd name="T4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0" name="Freeform 2954"/>
                <p:cNvSpPr>
                  <a:spLocks/>
                </p:cNvSpPr>
                <p:nvPr/>
              </p:nvSpPr>
              <p:spPr bwMode="auto">
                <a:xfrm>
                  <a:off x="5179" y="2766"/>
                  <a:ext cx="2" cy="1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2 w 2"/>
                    <a:gd name="T4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1" name="Freeform 2955"/>
                <p:cNvSpPr>
                  <a:spLocks/>
                </p:cNvSpPr>
                <p:nvPr/>
              </p:nvSpPr>
              <p:spPr bwMode="auto">
                <a:xfrm>
                  <a:off x="4727" y="2801"/>
                  <a:ext cx="215" cy="154"/>
                </a:xfrm>
                <a:custGeom>
                  <a:avLst/>
                  <a:gdLst>
                    <a:gd name="T0" fmla="*/ 195 w 215"/>
                    <a:gd name="T1" fmla="*/ 0 h 154"/>
                    <a:gd name="T2" fmla="*/ 175 w 215"/>
                    <a:gd name="T3" fmla="*/ 4 h 154"/>
                    <a:gd name="T4" fmla="*/ 167 w 215"/>
                    <a:gd name="T5" fmla="*/ 11 h 154"/>
                    <a:gd name="T6" fmla="*/ 164 w 215"/>
                    <a:gd name="T7" fmla="*/ 21 h 154"/>
                    <a:gd name="T8" fmla="*/ 129 w 215"/>
                    <a:gd name="T9" fmla="*/ 17 h 154"/>
                    <a:gd name="T10" fmla="*/ 101 w 215"/>
                    <a:gd name="T11" fmla="*/ 8 h 154"/>
                    <a:gd name="T12" fmla="*/ 77 w 215"/>
                    <a:gd name="T13" fmla="*/ 6 h 154"/>
                    <a:gd name="T14" fmla="*/ 59 w 215"/>
                    <a:gd name="T15" fmla="*/ 8 h 154"/>
                    <a:gd name="T16" fmla="*/ 42 w 215"/>
                    <a:gd name="T17" fmla="*/ 10 h 154"/>
                    <a:gd name="T18" fmla="*/ 42 w 215"/>
                    <a:gd name="T19" fmla="*/ 28 h 154"/>
                    <a:gd name="T20" fmla="*/ 31 w 215"/>
                    <a:gd name="T21" fmla="*/ 28 h 154"/>
                    <a:gd name="T22" fmla="*/ 29 w 215"/>
                    <a:gd name="T23" fmla="*/ 35 h 154"/>
                    <a:gd name="T24" fmla="*/ 27 w 215"/>
                    <a:gd name="T25" fmla="*/ 39 h 154"/>
                    <a:gd name="T26" fmla="*/ 18 w 215"/>
                    <a:gd name="T27" fmla="*/ 43 h 154"/>
                    <a:gd name="T28" fmla="*/ 16 w 215"/>
                    <a:gd name="T29" fmla="*/ 45 h 154"/>
                    <a:gd name="T30" fmla="*/ 14 w 215"/>
                    <a:gd name="T31" fmla="*/ 48 h 154"/>
                    <a:gd name="T32" fmla="*/ 14 w 215"/>
                    <a:gd name="T33" fmla="*/ 48 h 154"/>
                    <a:gd name="T34" fmla="*/ 5 w 215"/>
                    <a:gd name="T35" fmla="*/ 50 h 154"/>
                    <a:gd name="T36" fmla="*/ 0 w 215"/>
                    <a:gd name="T37" fmla="*/ 78 h 154"/>
                    <a:gd name="T38" fmla="*/ 0 w 215"/>
                    <a:gd name="T39" fmla="*/ 98 h 154"/>
                    <a:gd name="T40" fmla="*/ 7 w 215"/>
                    <a:gd name="T41" fmla="*/ 111 h 154"/>
                    <a:gd name="T42" fmla="*/ 16 w 215"/>
                    <a:gd name="T43" fmla="*/ 113 h 154"/>
                    <a:gd name="T44" fmla="*/ 20 w 215"/>
                    <a:gd name="T45" fmla="*/ 117 h 154"/>
                    <a:gd name="T46" fmla="*/ 22 w 215"/>
                    <a:gd name="T47" fmla="*/ 118 h 154"/>
                    <a:gd name="T48" fmla="*/ 24 w 215"/>
                    <a:gd name="T49" fmla="*/ 124 h 154"/>
                    <a:gd name="T50" fmla="*/ 25 w 215"/>
                    <a:gd name="T51" fmla="*/ 130 h 154"/>
                    <a:gd name="T52" fmla="*/ 35 w 215"/>
                    <a:gd name="T53" fmla="*/ 148 h 154"/>
                    <a:gd name="T54" fmla="*/ 57 w 215"/>
                    <a:gd name="T55" fmla="*/ 152 h 154"/>
                    <a:gd name="T56" fmla="*/ 73 w 215"/>
                    <a:gd name="T57" fmla="*/ 152 h 154"/>
                    <a:gd name="T58" fmla="*/ 88 w 215"/>
                    <a:gd name="T59" fmla="*/ 148 h 154"/>
                    <a:gd name="T60" fmla="*/ 112 w 215"/>
                    <a:gd name="T61" fmla="*/ 133 h 154"/>
                    <a:gd name="T62" fmla="*/ 134 w 215"/>
                    <a:gd name="T63" fmla="*/ 100 h 154"/>
                    <a:gd name="T64" fmla="*/ 140 w 215"/>
                    <a:gd name="T65" fmla="*/ 74 h 154"/>
                    <a:gd name="T66" fmla="*/ 156 w 215"/>
                    <a:gd name="T67" fmla="*/ 71 h 154"/>
                    <a:gd name="T68" fmla="*/ 162 w 215"/>
                    <a:gd name="T69" fmla="*/ 65 h 154"/>
                    <a:gd name="T70" fmla="*/ 167 w 215"/>
                    <a:gd name="T71" fmla="*/ 58 h 154"/>
                    <a:gd name="T72" fmla="*/ 173 w 215"/>
                    <a:gd name="T73" fmla="*/ 50 h 154"/>
                    <a:gd name="T74" fmla="*/ 173 w 215"/>
                    <a:gd name="T75" fmla="*/ 41 h 154"/>
                    <a:gd name="T76" fmla="*/ 186 w 215"/>
                    <a:gd name="T77" fmla="*/ 35 h 154"/>
                    <a:gd name="T78" fmla="*/ 190 w 215"/>
                    <a:gd name="T79" fmla="*/ 28 h 154"/>
                    <a:gd name="T80" fmla="*/ 193 w 215"/>
                    <a:gd name="T81" fmla="*/ 26 h 154"/>
                    <a:gd name="T82" fmla="*/ 201 w 215"/>
                    <a:gd name="T83" fmla="*/ 21 h 154"/>
                    <a:gd name="T84" fmla="*/ 210 w 215"/>
                    <a:gd name="T85" fmla="*/ 11 h 154"/>
                    <a:gd name="T86" fmla="*/ 215 w 215"/>
                    <a:gd name="T87" fmla="*/ 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5" h="154">
                      <a:moveTo>
                        <a:pt x="215" y="0"/>
                      </a:moveTo>
                      <a:lnTo>
                        <a:pt x="206" y="0"/>
                      </a:lnTo>
                      <a:lnTo>
                        <a:pt x="195" y="0"/>
                      </a:lnTo>
                      <a:lnTo>
                        <a:pt x="184" y="0"/>
                      </a:lnTo>
                      <a:lnTo>
                        <a:pt x="175" y="0"/>
                      </a:lnTo>
                      <a:lnTo>
                        <a:pt x="175" y="4"/>
                      </a:lnTo>
                      <a:lnTo>
                        <a:pt x="175" y="11"/>
                      </a:lnTo>
                      <a:lnTo>
                        <a:pt x="173" y="11"/>
                      </a:lnTo>
                      <a:lnTo>
                        <a:pt x="167" y="11"/>
                      </a:lnTo>
                      <a:lnTo>
                        <a:pt x="164" y="11"/>
                      </a:lnTo>
                      <a:lnTo>
                        <a:pt x="164" y="15"/>
                      </a:lnTo>
                      <a:lnTo>
                        <a:pt x="164" y="21"/>
                      </a:lnTo>
                      <a:lnTo>
                        <a:pt x="151" y="21"/>
                      </a:lnTo>
                      <a:lnTo>
                        <a:pt x="140" y="19"/>
                      </a:lnTo>
                      <a:lnTo>
                        <a:pt x="129" y="17"/>
                      </a:lnTo>
                      <a:lnTo>
                        <a:pt x="119" y="13"/>
                      </a:lnTo>
                      <a:lnTo>
                        <a:pt x="110" y="11"/>
                      </a:lnTo>
                      <a:lnTo>
                        <a:pt x="101" y="8"/>
                      </a:lnTo>
                      <a:lnTo>
                        <a:pt x="90" y="4"/>
                      </a:lnTo>
                      <a:lnTo>
                        <a:pt x="79" y="2"/>
                      </a:lnTo>
                      <a:lnTo>
                        <a:pt x="77" y="6"/>
                      </a:lnTo>
                      <a:lnTo>
                        <a:pt x="75" y="11"/>
                      </a:lnTo>
                      <a:lnTo>
                        <a:pt x="66" y="10"/>
                      </a:lnTo>
                      <a:lnTo>
                        <a:pt x="59" y="8"/>
                      </a:lnTo>
                      <a:lnTo>
                        <a:pt x="49" y="6"/>
                      </a:lnTo>
                      <a:lnTo>
                        <a:pt x="42" y="6"/>
                      </a:lnTo>
                      <a:lnTo>
                        <a:pt x="42" y="10"/>
                      </a:lnTo>
                      <a:lnTo>
                        <a:pt x="42" y="15"/>
                      </a:lnTo>
                      <a:lnTo>
                        <a:pt x="42" y="21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36" y="28"/>
                      </a:lnTo>
                      <a:lnTo>
                        <a:pt x="31" y="28"/>
                      </a:lnTo>
                      <a:lnTo>
                        <a:pt x="31" y="30"/>
                      </a:lnTo>
                      <a:lnTo>
                        <a:pt x="29" y="34"/>
                      </a:lnTo>
                      <a:lnTo>
                        <a:pt x="29" y="35"/>
                      </a:lnTo>
                      <a:lnTo>
                        <a:pt x="29" y="35"/>
                      </a:lnTo>
                      <a:lnTo>
                        <a:pt x="27" y="39"/>
                      </a:lnTo>
                      <a:lnTo>
                        <a:pt x="27" y="39"/>
                      </a:lnTo>
                      <a:lnTo>
                        <a:pt x="24" y="41"/>
                      </a:lnTo>
                      <a:lnTo>
                        <a:pt x="22" y="41"/>
                      </a:lnTo>
                      <a:lnTo>
                        <a:pt x="18" y="43"/>
                      </a:lnTo>
                      <a:lnTo>
                        <a:pt x="16" y="45"/>
                      </a:lnTo>
                      <a:lnTo>
                        <a:pt x="16" y="45"/>
                      </a:lnTo>
                      <a:lnTo>
                        <a:pt x="16" y="45"/>
                      </a:lnTo>
                      <a:lnTo>
                        <a:pt x="14" y="47"/>
                      </a:lnTo>
                      <a:lnTo>
                        <a:pt x="14" y="47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1" y="48"/>
                      </a:lnTo>
                      <a:lnTo>
                        <a:pt x="11" y="48"/>
                      </a:lnTo>
                      <a:lnTo>
                        <a:pt x="5" y="50"/>
                      </a:lnTo>
                      <a:lnTo>
                        <a:pt x="3" y="58"/>
                      </a:lnTo>
                      <a:lnTo>
                        <a:pt x="1" y="67"/>
                      </a:lnTo>
                      <a:lnTo>
                        <a:pt x="0" y="78"/>
                      </a:lnTo>
                      <a:lnTo>
                        <a:pt x="0" y="87"/>
                      </a:lnTo>
                      <a:lnTo>
                        <a:pt x="0" y="93"/>
                      </a:lnTo>
                      <a:lnTo>
                        <a:pt x="0" y="98"/>
                      </a:lnTo>
                      <a:lnTo>
                        <a:pt x="0" y="104"/>
                      </a:lnTo>
                      <a:lnTo>
                        <a:pt x="0" y="107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12" y="113"/>
                      </a:lnTo>
                      <a:lnTo>
                        <a:pt x="16" y="113"/>
                      </a:lnTo>
                      <a:lnTo>
                        <a:pt x="16" y="113"/>
                      </a:lnTo>
                      <a:lnTo>
                        <a:pt x="18" y="115"/>
                      </a:lnTo>
                      <a:lnTo>
                        <a:pt x="20" y="117"/>
                      </a:lnTo>
                      <a:lnTo>
                        <a:pt x="20" y="117"/>
                      </a:lnTo>
                      <a:lnTo>
                        <a:pt x="22" y="118"/>
                      </a:lnTo>
                      <a:lnTo>
                        <a:pt x="22" y="118"/>
                      </a:lnTo>
                      <a:lnTo>
                        <a:pt x="22" y="120"/>
                      </a:lnTo>
                      <a:lnTo>
                        <a:pt x="24" y="124"/>
                      </a:lnTo>
                      <a:lnTo>
                        <a:pt x="24" y="124"/>
                      </a:lnTo>
                      <a:lnTo>
                        <a:pt x="24" y="126"/>
                      </a:lnTo>
                      <a:lnTo>
                        <a:pt x="25" y="130"/>
                      </a:lnTo>
                      <a:lnTo>
                        <a:pt x="25" y="130"/>
                      </a:lnTo>
                      <a:lnTo>
                        <a:pt x="25" y="137"/>
                      </a:lnTo>
                      <a:lnTo>
                        <a:pt x="27" y="146"/>
                      </a:lnTo>
                      <a:lnTo>
                        <a:pt x="35" y="148"/>
                      </a:lnTo>
                      <a:lnTo>
                        <a:pt x="44" y="150"/>
                      </a:lnTo>
                      <a:lnTo>
                        <a:pt x="49" y="152"/>
                      </a:lnTo>
                      <a:lnTo>
                        <a:pt x="57" y="152"/>
                      </a:lnTo>
                      <a:lnTo>
                        <a:pt x="62" y="154"/>
                      </a:lnTo>
                      <a:lnTo>
                        <a:pt x="68" y="154"/>
                      </a:lnTo>
                      <a:lnTo>
                        <a:pt x="73" y="152"/>
                      </a:lnTo>
                      <a:lnTo>
                        <a:pt x="77" y="152"/>
                      </a:lnTo>
                      <a:lnTo>
                        <a:pt x="83" y="150"/>
                      </a:lnTo>
                      <a:lnTo>
                        <a:pt x="88" y="148"/>
                      </a:lnTo>
                      <a:lnTo>
                        <a:pt x="94" y="144"/>
                      </a:lnTo>
                      <a:lnTo>
                        <a:pt x="99" y="142"/>
                      </a:lnTo>
                      <a:lnTo>
                        <a:pt x="112" y="133"/>
                      </a:lnTo>
                      <a:lnTo>
                        <a:pt x="129" y="124"/>
                      </a:lnTo>
                      <a:lnTo>
                        <a:pt x="132" y="113"/>
                      </a:lnTo>
                      <a:lnTo>
                        <a:pt x="134" y="100"/>
                      </a:lnTo>
                      <a:lnTo>
                        <a:pt x="138" y="87"/>
                      </a:lnTo>
                      <a:lnTo>
                        <a:pt x="140" y="74"/>
                      </a:lnTo>
                      <a:lnTo>
                        <a:pt x="140" y="74"/>
                      </a:lnTo>
                      <a:lnTo>
                        <a:pt x="145" y="74"/>
                      </a:lnTo>
                      <a:lnTo>
                        <a:pt x="151" y="72"/>
                      </a:lnTo>
                      <a:lnTo>
                        <a:pt x="156" y="71"/>
                      </a:lnTo>
                      <a:lnTo>
                        <a:pt x="156" y="71"/>
                      </a:lnTo>
                      <a:lnTo>
                        <a:pt x="162" y="69"/>
                      </a:lnTo>
                      <a:lnTo>
                        <a:pt x="162" y="65"/>
                      </a:lnTo>
                      <a:lnTo>
                        <a:pt x="162" y="58"/>
                      </a:lnTo>
                      <a:lnTo>
                        <a:pt x="162" y="58"/>
                      </a:lnTo>
                      <a:lnTo>
                        <a:pt x="167" y="58"/>
                      </a:lnTo>
                      <a:lnTo>
                        <a:pt x="173" y="58"/>
                      </a:lnTo>
                      <a:lnTo>
                        <a:pt x="173" y="54"/>
                      </a:lnTo>
                      <a:lnTo>
                        <a:pt x="173" y="50"/>
                      </a:lnTo>
                      <a:lnTo>
                        <a:pt x="173" y="47"/>
                      </a:lnTo>
                      <a:lnTo>
                        <a:pt x="173" y="41"/>
                      </a:lnTo>
                      <a:lnTo>
                        <a:pt x="173" y="41"/>
                      </a:lnTo>
                      <a:lnTo>
                        <a:pt x="179" y="41"/>
                      </a:lnTo>
                      <a:lnTo>
                        <a:pt x="184" y="41"/>
                      </a:lnTo>
                      <a:lnTo>
                        <a:pt x="186" y="35"/>
                      </a:lnTo>
                      <a:lnTo>
                        <a:pt x="188" y="30"/>
                      </a:lnTo>
                      <a:lnTo>
                        <a:pt x="188" y="30"/>
                      </a:lnTo>
                      <a:lnTo>
                        <a:pt x="190" y="28"/>
                      </a:lnTo>
                      <a:lnTo>
                        <a:pt x="190" y="28"/>
                      </a:lnTo>
                      <a:lnTo>
                        <a:pt x="191" y="28"/>
                      </a:lnTo>
                      <a:lnTo>
                        <a:pt x="193" y="26"/>
                      </a:lnTo>
                      <a:lnTo>
                        <a:pt x="193" y="26"/>
                      </a:lnTo>
                      <a:lnTo>
                        <a:pt x="195" y="26"/>
                      </a:lnTo>
                      <a:lnTo>
                        <a:pt x="201" y="21"/>
                      </a:lnTo>
                      <a:lnTo>
                        <a:pt x="204" y="17"/>
                      </a:lnTo>
                      <a:lnTo>
                        <a:pt x="208" y="13"/>
                      </a:lnTo>
                      <a:lnTo>
                        <a:pt x="210" y="11"/>
                      </a:lnTo>
                      <a:lnTo>
                        <a:pt x="212" y="8"/>
                      </a:lnTo>
                      <a:lnTo>
                        <a:pt x="214" y="6"/>
                      </a:lnTo>
                      <a:lnTo>
                        <a:pt x="215" y="2"/>
                      </a:lnTo>
                      <a:lnTo>
                        <a:pt x="2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2" name="Freeform 2956"/>
                <p:cNvSpPr>
                  <a:spLocks/>
                </p:cNvSpPr>
                <p:nvPr/>
              </p:nvSpPr>
              <p:spPr bwMode="auto">
                <a:xfrm>
                  <a:off x="4727" y="2801"/>
                  <a:ext cx="215" cy="154"/>
                </a:xfrm>
                <a:custGeom>
                  <a:avLst/>
                  <a:gdLst>
                    <a:gd name="T0" fmla="*/ 195 w 215"/>
                    <a:gd name="T1" fmla="*/ 0 h 154"/>
                    <a:gd name="T2" fmla="*/ 175 w 215"/>
                    <a:gd name="T3" fmla="*/ 4 h 154"/>
                    <a:gd name="T4" fmla="*/ 167 w 215"/>
                    <a:gd name="T5" fmla="*/ 11 h 154"/>
                    <a:gd name="T6" fmla="*/ 164 w 215"/>
                    <a:gd name="T7" fmla="*/ 21 h 154"/>
                    <a:gd name="T8" fmla="*/ 129 w 215"/>
                    <a:gd name="T9" fmla="*/ 17 h 154"/>
                    <a:gd name="T10" fmla="*/ 101 w 215"/>
                    <a:gd name="T11" fmla="*/ 8 h 154"/>
                    <a:gd name="T12" fmla="*/ 77 w 215"/>
                    <a:gd name="T13" fmla="*/ 6 h 154"/>
                    <a:gd name="T14" fmla="*/ 59 w 215"/>
                    <a:gd name="T15" fmla="*/ 8 h 154"/>
                    <a:gd name="T16" fmla="*/ 42 w 215"/>
                    <a:gd name="T17" fmla="*/ 10 h 154"/>
                    <a:gd name="T18" fmla="*/ 42 w 215"/>
                    <a:gd name="T19" fmla="*/ 28 h 154"/>
                    <a:gd name="T20" fmla="*/ 31 w 215"/>
                    <a:gd name="T21" fmla="*/ 28 h 154"/>
                    <a:gd name="T22" fmla="*/ 29 w 215"/>
                    <a:gd name="T23" fmla="*/ 35 h 154"/>
                    <a:gd name="T24" fmla="*/ 27 w 215"/>
                    <a:gd name="T25" fmla="*/ 39 h 154"/>
                    <a:gd name="T26" fmla="*/ 18 w 215"/>
                    <a:gd name="T27" fmla="*/ 43 h 154"/>
                    <a:gd name="T28" fmla="*/ 16 w 215"/>
                    <a:gd name="T29" fmla="*/ 45 h 154"/>
                    <a:gd name="T30" fmla="*/ 14 w 215"/>
                    <a:gd name="T31" fmla="*/ 48 h 154"/>
                    <a:gd name="T32" fmla="*/ 14 w 215"/>
                    <a:gd name="T33" fmla="*/ 48 h 154"/>
                    <a:gd name="T34" fmla="*/ 5 w 215"/>
                    <a:gd name="T35" fmla="*/ 50 h 154"/>
                    <a:gd name="T36" fmla="*/ 0 w 215"/>
                    <a:gd name="T37" fmla="*/ 78 h 154"/>
                    <a:gd name="T38" fmla="*/ 0 w 215"/>
                    <a:gd name="T39" fmla="*/ 98 h 154"/>
                    <a:gd name="T40" fmla="*/ 7 w 215"/>
                    <a:gd name="T41" fmla="*/ 111 h 154"/>
                    <a:gd name="T42" fmla="*/ 16 w 215"/>
                    <a:gd name="T43" fmla="*/ 113 h 154"/>
                    <a:gd name="T44" fmla="*/ 20 w 215"/>
                    <a:gd name="T45" fmla="*/ 117 h 154"/>
                    <a:gd name="T46" fmla="*/ 22 w 215"/>
                    <a:gd name="T47" fmla="*/ 118 h 154"/>
                    <a:gd name="T48" fmla="*/ 24 w 215"/>
                    <a:gd name="T49" fmla="*/ 124 h 154"/>
                    <a:gd name="T50" fmla="*/ 25 w 215"/>
                    <a:gd name="T51" fmla="*/ 130 h 154"/>
                    <a:gd name="T52" fmla="*/ 35 w 215"/>
                    <a:gd name="T53" fmla="*/ 148 h 154"/>
                    <a:gd name="T54" fmla="*/ 57 w 215"/>
                    <a:gd name="T55" fmla="*/ 152 h 154"/>
                    <a:gd name="T56" fmla="*/ 73 w 215"/>
                    <a:gd name="T57" fmla="*/ 152 h 154"/>
                    <a:gd name="T58" fmla="*/ 88 w 215"/>
                    <a:gd name="T59" fmla="*/ 148 h 154"/>
                    <a:gd name="T60" fmla="*/ 112 w 215"/>
                    <a:gd name="T61" fmla="*/ 133 h 154"/>
                    <a:gd name="T62" fmla="*/ 134 w 215"/>
                    <a:gd name="T63" fmla="*/ 100 h 154"/>
                    <a:gd name="T64" fmla="*/ 140 w 215"/>
                    <a:gd name="T65" fmla="*/ 74 h 154"/>
                    <a:gd name="T66" fmla="*/ 156 w 215"/>
                    <a:gd name="T67" fmla="*/ 71 h 154"/>
                    <a:gd name="T68" fmla="*/ 162 w 215"/>
                    <a:gd name="T69" fmla="*/ 65 h 154"/>
                    <a:gd name="T70" fmla="*/ 167 w 215"/>
                    <a:gd name="T71" fmla="*/ 58 h 154"/>
                    <a:gd name="T72" fmla="*/ 173 w 215"/>
                    <a:gd name="T73" fmla="*/ 50 h 154"/>
                    <a:gd name="T74" fmla="*/ 173 w 215"/>
                    <a:gd name="T75" fmla="*/ 41 h 154"/>
                    <a:gd name="T76" fmla="*/ 186 w 215"/>
                    <a:gd name="T77" fmla="*/ 35 h 154"/>
                    <a:gd name="T78" fmla="*/ 190 w 215"/>
                    <a:gd name="T79" fmla="*/ 28 h 154"/>
                    <a:gd name="T80" fmla="*/ 193 w 215"/>
                    <a:gd name="T81" fmla="*/ 26 h 154"/>
                    <a:gd name="T82" fmla="*/ 201 w 215"/>
                    <a:gd name="T83" fmla="*/ 21 h 154"/>
                    <a:gd name="T84" fmla="*/ 210 w 215"/>
                    <a:gd name="T85" fmla="*/ 11 h 154"/>
                    <a:gd name="T86" fmla="*/ 215 w 215"/>
                    <a:gd name="T87" fmla="*/ 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5" h="154">
                      <a:moveTo>
                        <a:pt x="215" y="0"/>
                      </a:moveTo>
                      <a:lnTo>
                        <a:pt x="206" y="0"/>
                      </a:lnTo>
                      <a:lnTo>
                        <a:pt x="195" y="0"/>
                      </a:lnTo>
                      <a:lnTo>
                        <a:pt x="184" y="0"/>
                      </a:lnTo>
                      <a:lnTo>
                        <a:pt x="175" y="0"/>
                      </a:lnTo>
                      <a:lnTo>
                        <a:pt x="175" y="4"/>
                      </a:lnTo>
                      <a:lnTo>
                        <a:pt x="175" y="11"/>
                      </a:lnTo>
                      <a:lnTo>
                        <a:pt x="173" y="11"/>
                      </a:lnTo>
                      <a:lnTo>
                        <a:pt x="167" y="11"/>
                      </a:lnTo>
                      <a:lnTo>
                        <a:pt x="164" y="11"/>
                      </a:lnTo>
                      <a:lnTo>
                        <a:pt x="164" y="15"/>
                      </a:lnTo>
                      <a:lnTo>
                        <a:pt x="164" y="21"/>
                      </a:lnTo>
                      <a:lnTo>
                        <a:pt x="151" y="21"/>
                      </a:lnTo>
                      <a:lnTo>
                        <a:pt x="140" y="19"/>
                      </a:lnTo>
                      <a:lnTo>
                        <a:pt x="129" y="17"/>
                      </a:lnTo>
                      <a:lnTo>
                        <a:pt x="119" y="13"/>
                      </a:lnTo>
                      <a:lnTo>
                        <a:pt x="110" y="11"/>
                      </a:lnTo>
                      <a:lnTo>
                        <a:pt x="101" y="8"/>
                      </a:lnTo>
                      <a:lnTo>
                        <a:pt x="90" y="4"/>
                      </a:lnTo>
                      <a:lnTo>
                        <a:pt x="79" y="2"/>
                      </a:lnTo>
                      <a:lnTo>
                        <a:pt x="77" y="6"/>
                      </a:lnTo>
                      <a:lnTo>
                        <a:pt x="75" y="11"/>
                      </a:lnTo>
                      <a:lnTo>
                        <a:pt x="66" y="10"/>
                      </a:lnTo>
                      <a:lnTo>
                        <a:pt x="59" y="8"/>
                      </a:lnTo>
                      <a:lnTo>
                        <a:pt x="49" y="6"/>
                      </a:lnTo>
                      <a:lnTo>
                        <a:pt x="42" y="6"/>
                      </a:lnTo>
                      <a:lnTo>
                        <a:pt x="42" y="10"/>
                      </a:lnTo>
                      <a:lnTo>
                        <a:pt x="42" y="15"/>
                      </a:lnTo>
                      <a:lnTo>
                        <a:pt x="42" y="21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36" y="28"/>
                      </a:lnTo>
                      <a:lnTo>
                        <a:pt x="31" y="28"/>
                      </a:lnTo>
                      <a:lnTo>
                        <a:pt x="31" y="30"/>
                      </a:lnTo>
                      <a:lnTo>
                        <a:pt x="29" y="34"/>
                      </a:lnTo>
                      <a:lnTo>
                        <a:pt x="29" y="35"/>
                      </a:lnTo>
                      <a:lnTo>
                        <a:pt x="29" y="35"/>
                      </a:lnTo>
                      <a:lnTo>
                        <a:pt x="27" y="39"/>
                      </a:lnTo>
                      <a:lnTo>
                        <a:pt x="27" y="39"/>
                      </a:lnTo>
                      <a:lnTo>
                        <a:pt x="24" y="41"/>
                      </a:lnTo>
                      <a:lnTo>
                        <a:pt x="22" y="41"/>
                      </a:lnTo>
                      <a:lnTo>
                        <a:pt x="18" y="43"/>
                      </a:lnTo>
                      <a:lnTo>
                        <a:pt x="16" y="45"/>
                      </a:lnTo>
                      <a:lnTo>
                        <a:pt x="16" y="45"/>
                      </a:lnTo>
                      <a:lnTo>
                        <a:pt x="16" y="45"/>
                      </a:lnTo>
                      <a:lnTo>
                        <a:pt x="14" y="47"/>
                      </a:lnTo>
                      <a:lnTo>
                        <a:pt x="14" y="47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1" y="48"/>
                      </a:lnTo>
                      <a:lnTo>
                        <a:pt x="11" y="48"/>
                      </a:lnTo>
                      <a:lnTo>
                        <a:pt x="5" y="50"/>
                      </a:lnTo>
                      <a:lnTo>
                        <a:pt x="3" y="58"/>
                      </a:lnTo>
                      <a:lnTo>
                        <a:pt x="1" y="67"/>
                      </a:lnTo>
                      <a:lnTo>
                        <a:pt x="0" y="78"/>
                      </a:lnTo>
                      <a:lnTo>
                        <a:pt x="0" y="87"/>
                      </a:lnTo>
                      <a:lnTo>
                        <a:pt x="0" y="93"/>
                      </a:lnTo>
                      <a:lnTo>
                        <a:pt x="0" y="98"/>
                      </a:lnTo>
                      <a:lnTo>
                        <a:pt x="0" y="104"/>
                      </a:lnTo>
                      <a:lnTo>
                        <a:pt x="0" y="107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12" y="113"/>
                      </a:lnTo>
                      <a:lnTo>
                        <a:pt x="16" y="113"/>
                      </a:lnTo>
                      <a:lnTo>
                        <a:pt x="16" y="113"/>
                      </a:lnTo>
                      <a:lnTo>
                        <a:pt x="18" y="115"/>
                      </a:lnTo>
                      <a:lnTo>
                        <a:pt x="20" y="117"/>
                      </a:lnTo>
                      <a:lnTo>
                        <a:pt x="20" y="117"/>
                      </a:lnTo>
                      <a:lnTo>
                        <a:pt x="22" y="118"/>
                      </a:lnTo>
                      <a:lnTo>
                        <a:pt x="22" y="118"/>
                      </a:lnTo>
                      <a:lnTo>
                        <a:pt x="22" y="120"/>
                      </a:lnTo>
                      <a:lnTo>
                        <a:pt x="24" y="124"/>
                      </a:lnTo>
                      <a:lnTo>
                        <a:pt x="24" y="124"/>
                      </a:lnTo>
                      <a:lnTo>
                        <a:pt x="24" y="126"/>
                      </a:lnTo>
                      <a:lnTo>
                        <a:pt x="25" y="130"/>
                      </a:lnTo>
                      <a:lnTo>
                        <a:pt x="25" y="130"/>
                      </a:lnTo>
                      <a:lnTo>
                        <a:pt x="25" y="137"/>
                      </a:lnTo>
                      <a:lnTo>
                        <a:pt x="27" y="146"/>
                      </a:lnTo>
                      <a:lnTo>
                        <a:pt x="35" y="148"/>
                      </a:lnTo>
                      <a:lnTo>
                        <a:pt x="44" y="150"/>
                      </a:lnTo>
                      <a:lnTo>
                        <a:pt x="49" y="152"/>
                      </a:lnTo>
                      <a:lnTo>
                        <a:pt x="57" y="152"/>
                      </a:lnTo>
                      <a:lnTo>
                        <a:pt x="62" y="154"/>
                      </a:lnTo>
                      <a:lnTo>
                        <a:pt x="68" y="154"/>
                      </a:lnTo>
                      <a:lnTo>
                        <a:pt x="73" y="152"/>
                      </a:lnTo>
                      <a:lnTo>
                        <a:pt x="77" y="152"/>
                      </a:lnTo>
                      <a:lnTo>
                        <a:pt x="83" y="150"/>
                      </a:lnTo>
                      <a:lnTo>
                        <a:pt x="88" y="148"/>
                      </a:lnTo>
                      <a:lnTo>
                        <a:pt x="94" y="144"/>
                      </a:lnTo>
                      <a:lnTo>
                        <a:pt x="99" y="142"/>
                      </a:lnTo>
                      <a:lnTo>
                        <a:pt x="112" y="133"/>
                      </a:lnTo>
                      <a:lnTo>
                        <a:pt x="129" y="124"/>
                      </a:lnTo>
                      <a:lnTo>
                        <a:pt x="132" y="113"/>
                      </a:lnTo>
                      <a:lnTo>
                        <a:pt x="134" y="100"/>
                      </a:lnTo>
                      <a:lnTo>
                        <a:pt x="138" y="87"/>
                      </a:lnTo>
                      <a:lnTo>
                        <a:pt x="140" y="74"/>
                      </a:lnTo>
                      <a:lnTo>
                        <a:pt x="140" y="74"/>
                      </a:lnTo>
                      <a:lnTo>
                        <a:pt x="145" y="74"/>
                      </a:lnTo>
                      <a:lnTo>
                        <a:pt x="151" y="72"/>
                      </a:lnTo>
                      <a:lnTo>
                        <a:pt x="156" y="71"/>
                      </a:lnTo>
                      <a:lnTo>
                        <a:pt x="156" y="71"/>
                      </a:lnTo>
                      <a:lnTo>
                        <a:pt x="162" y="69"/>
                      </a:lnTo>
                      <a:lnTo>
                        <a:pt x="162" y="65"/>
                      </a:lnTo>
                      <a:lnTo>
                        <a:pt x="162" y="58"/>
                      </a:lnTo>
                      <a:lnTo>
                        <a:pt x="162" y="58"/>
                      </a:lnTo>
                      <a:lnTo>
                        <a:pt x="167" y="58"/>
                      </a:lnTo>
                      <a:lnTo>
                        <a:pt x="173" y="58"/>
                      </a:lnTo>
                      <a:lnTo>
                        <a:pt x="173" y="54"/>
                      </a:lnTo>
                      <a:lnTo>
                        <a:pt x="173" y="50"/>
                      </a:lnTo>
                      <a:lnTo>
                        <a:pt x="173" y="47"/>
                      </a:lnTo>
                      <a:lnTo>
                        <a:pt x="173" y="41"/>
                      </a:lnTo>
                      <a:lnTo>
                        <a:pt x="173" y="41"/>
                      </a:lnTo>
                      <a:lnTo>
                        <a:pt x="179" y="41"/>
                      </a:lnTo>
                      <a:lnTo>
                        <a:pt x="184" y="41"/>
                      </a:lnTo>
                      <a:lnTo>
                        <a:pt x="186" y="35"/>
                      </a:lnTo>
                      <a:lnTo>
                        <a:pt x="188" y="30"/>
                      </a:lnTo>
                      <a:lnTo>
                        <a:pt x="188" y="30"/>
                      </a:lnTo>
                      <a:lnTo>
                        <a:pt x="190" y="28"/>
                      </a:lnTo>
                      <a:lnTo>
                        <a:pt x="190" y="28"/>
                      </a:lnTo>
                      <a:lnTo>
                        <a:pt x="191" y="28"/>
                      </a:lnTo>
                      <a:lnTo>
                        <a:pt x="193" y="26"/>
                      </a:lnTo>
                      <a:lnTo>
                        <a:pt x="193" y="26"/>
                      </a:lnTo>
                      <a:lnTo>
                        <a:pt x="195" y="26"/>
                      </a:lnTo>
                      <a:lnTo>
                        <a:pt x="201" y="21"/>
                      </a:lnTo>
                      <a:lnTo>
                        <a:pt x="204" y="17"/>
                      </a:lnTo>
                      <a:lnTo>
                        <a:pt x="208" y="13"/>
                      </a:lnTo>
                      <a:lnTo>
                        <a:pt x="210" y="11"/>
                      </a:lnTo>
                      <a:lnTo>
                        <a:pt x="212" y="8"/>
                      </a:lnTo>
                      <a:lnTo>
                        <a:pt x="214" y="6"/>
                      </a:lnTo>
                      <a:lnTo>
                        <a:pt x="215" y="2"/>
                      </a:lnTo>
                      <a:lnTo>
                        <a:pt x="215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3" name="Freeform 2957"/>
                <p:cNvSpPr>
                  <a:spLocks/>
                </p:cNvSpPr>
                <p:nvPr/>
              </p:nvSpPr>
              <p:spPr bwMode="auto">
                <a:xfrm>
                  <a:off x="4769" y="2803"/>
                  <a:ext cx="122" cy="19"/>
                </a:xfrm>
                <a:custGeom>
                  <a:avLst/>
                  <a:gdLst>
                    <a:gd name="T0" fmla="*/ 37 w 122"/>
                    <a:gd name="T1" fmla="*/ 0 h 19"/>
                    <a:gd name="T2" fmla="*/ 35 w 122"/>
                    <a:gd name="T3" fmla="*/ 4 h 19"/>
                    <a:gd name="T4" fmla="*/ 33 w 122"/>
                    <a:gd name="T5" fmla="*/ 9 h 19"/>
                    <a:gd name="T6" fmla="*/ 24 w 122"/>
                    <a:gd name="T7" fmla="*/ 8 h 19"/>
                    <a:gd name="T8" fmla="*/ 17 w 122"/>
                    <a:gd name="T9" fmla="*/ 6 h 19"/>
                    <a:gd name="T10" fmla="*/ 7 w 122"/>
                    <a:gd name="T11" fmla="*/ 4 h 19"/>
                    <a:gd name="T12" fmla="*/ 0 w 122"/>
                    <a:gd name="T13" fmla="*/ 4 h 19"/>
                    <a:gd name="T14" fmla="*/ 7 w 122"/>
                    <a:gd name="T15" fmla="*/ 4 h 19"/>
                    <a:gd name="T16" fmla="*/ 17 w 122"/>
                    <a:gd name="T17" fmla="*/ 6 h 19"/>
                    <a:gd name="T18" fmla="*/ 24 w 122"/>
                    <a:gd name="T19" fmla="*/ 8 h 19"/>
                    <a:gd name="T20" fmla="*/ 33 w 122"/>
                    <a:gd name="T21" fmla="*/ 9 h 19"/>
                    <a:gd name="T22" fmla="*/ 35 w 122"/>
                    <a:gd name="T23" fmla="*/ 4 h 19"/>
                    <a:gd name="T24" fmla="*/ 37 w 122"/>
                    <a:gd name="T25" fmla="*/ 0 h 19"/>
                    <a:gd name="T26" fmla="*/ 48 w 122"/>
                    <a:gd name="T27" fmla="*/ 2 h 19"/>
                    <a:gd name="T28" fmla="*/ 59 w 122"/>
                    <a:gd name="T29" fmla="*/ 6 h 19"/>
                    <a:gd name="T30" fmla="*/ 68 w 122"/>
                    <a:gd name="T31" fmla="*/ 9 h 19"/>
                    <a:gd name="T32" fmla="*/ 77 w 122"/>
                    <a:gd name="T33" fmla="*/ 11 h 19"/>
                    <a:gd name="T34" fmla="*/ 87 w 122"/>
                    <a:gd name="T35" fmla="*/ 15 h 19"/>
                    <a:gd name="T36" fmla="*/ 98 w 122"/>
                    <a:gd name="T37" fmla="*/ 17 h 19"/>
                    <a:gd name="T38" fmla="*/ 109 w 122"/>
                    <a:gd name="T39" fmla="*/ 19 h 19"/>
                    <a:gd name="T40" fmla="*/ 122 w 122"/>
                    <a:gd name="T41" fmla="*/ 19 h 19"/>
                    <a:gd name="T42" fmla="*/ 109 w 122"/>
                    <a:gd name="T43" fmla="*/ 19 h 19"/>
                    <a:gd name="T44" fmla="*/ 98 w 122"/>
                    <a:gd name="T45" fmla="*/ 17 h 19"/>
                    <a:gd name="T46" fmla="*/ 87 w 122"/>
                    <a:gd name="T47" fmla="*/ 15 h 19"/>
                    <a:gd name="T48" fmla="*/ 77 w 122"/>
                    <a:gd name="T49" fmla="*/ 11 h 19"/>
                    <a:gd name="T50" fmla="*/ 68 w 122"/>
                    <a:gd name="T51" fmla="*/ 9 h 19"/>
                    <a:gd name="T52" fmla="*/ 59 w 122"/>
                    <a:gd name="T53" fmla="*/ 6 h 19"/>
                    <a:gd name="T54" fmla="*/ 48 w 122"/>
                    <a:gd name="T55" fmla="*/ 2 h 19"/>
                    <a:gd name="T56" fmla="*/ 37 w 122"/>
                    <a:gd name="T5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22" h="19">
                      <a:moveTo>
                        <a:pt x="37" y="0"/>
                      </a:moveTo>
                      <a:lnTo>
                        <a:pt x="35" y="4"/>
                      </a:lnTo>
                      <a:lnTo>
                        <a:pt x="33" y="9"/>
                      </a:lnTo>
                      <a:lnTo>
                        <a:pt x="24" y="8"/>
                      </a:lnTo>
                      <a:lnTo>
                        <a:pt x="17" y="6"/>
                      </a:ln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7" y="4"/>
                      </a:lnTo>
                      <a:lnTo>
                        <a:pt x="17" y="6"/>
                      </a:lnTo>
                      <a:lnTo>
                        <a:pt x="24" y="8"/>
                      </a:lnTo>
                      <a:lnTo>
                        <a:pt x="33" y="9"/>
                      </a:lnTo>
                      <a:lnTo>
                        <a:pt x="35" y="4"/>
                      </a:lnTo>
                      <a:lnTo>
                        <a:pt x="37" y="0"/>
                      </a:lnTo>
                      <a:lnTo>
                        <a:pt x="48" y="2"/>
                      </a:lnTo>
                      <a:lnTo>
                        <a:pt x="59" y="6"/>
                      </a:lnTo>
                      <a:lnTo>
                        <a:pt x="68" y="9"/>
                      </a:lnTo>
                      <a:lnTo>
                        <a:pt x="77" y="11"/>
                      </a:lnTo>
                      <a:lnTo>
                        <a:pt x="87" y="15"/>
                      </a:lnTo>
                      <a:lnTo>
                        <a:pt x="98" y="17"/>
                      </a:lnTo>
                      <a:lnTo>
                        <a:pt x="109" y="19"/>
                      </a:lnTo>
                      <a:lnTo>
                        <a:pt x="122" y="19"/>
                      </a:lnTo>
                      <a:lnTo>
                        <a:pt x="109" y="19"/>
                      </a:lnTo>
                      <a:lnTo>
                        <a:pt x="98" y="17"/>
                      </a:lnTo>
                      <a:lnTo>
                        <a:pt x="87" y="15"/>
                      </a:lnTo>
                      <a:lnTo>
                        <a:pt x="77" y="11"/>
                      </a:lnTo>
                      <a:lnTo>
                        <a:pt x="68" y="9"/>
                      </a:lnTo>
                      <a:lnTo>
                        <a:pt x="59" y="6"/>
                      </a:lnTo>
                      <a:lnTo>
                        <a:pt x="48" y="2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4" name="Freeform 2958"/>
                <p:cNvSpPr>
                  <a:spLocks/>
                </p:cNvSpPr>
                <p:nvPr/>
              </p:nvSpPr>
              <p:spPr bwMode="auto">
                <a:xfrm>
                  <a:off x="4769" y="2803"/>
                  <a:ext cx="122" cy="19"/>
                </a:xfrm>
                <a:custGeom>
                  <a:avLst/>
                  <a:gdLst>
                    <a:gd name="T0" fmla="*/ 37 w 122"/>
                    <a:gd name="T1" fmla="*/ 0 h 19"/>
                    <a:gd name="T2" fmla="*/ 35 w 122"/>
                    <a:gd name="T3" fmla="*/ 4 h 19"/>
                    <a:gd name="T4" fmla="*/ 33 w 122"/>
                    <a:gd name="T5" fmla="*/ 9 h 19"/>
                    <a:gd name="T6" fmla="*/ 24 w 122"/>
                    <a:gd name="T7" fmla="*/ 8 h 19"/>
                    <a:gd name="T8" fmla="*/ 17 w 122"/>
                    <a:gd name="T9" fmla="*/ 6 h 19"/>
                    <a:gd name="T10" fmla="*/ 7 w 122"/>
                    <a:gd name="T11" fmla="*/ 4 h 19"/>
                    <a:gd name="T12" fmla="*/ 0 w 122"/>
                    <a:gd name="T13" fmla="*/ 4 h 19"/>
                    <a:gd name="T14" fmla="*/ 7 w 122"/>
                    <a:gd name="T15" fmla="*/ 4 h 19"/>
                    <a:gd name="T16" fmla="*/ 17 w 122"/>
                    <a:gd name="T17" fmla="*/ 6 h 19"/>
                    <a:gd name="T18" fmla="*/ 24 w 122"/>
                    <a:gd name="T19" fmla="*/ 8 h 19"/>
                    <a:gd name="T20" fmla="*/ 33 w 122"/>
                    <a:gd name="T21" fmla="*/ 9 h 19"/>
                    <a:gd name="T22" fmla="*/ 35 w 122"/>
                    <a:gd name="T23" fmla="*/ 4 h 19"/>
                    <a:gd name="T24" fmla="*/ 37 w 122"/>
                    <a:gd name="T25" fmla="*/ 0 h 19"/>
                    <a:gd name="T26" fmla="*/ 48 w 122"/>
                    <a:gd name="T27" fmla="*/ 2 h 19"/>
                    <a:gd name="T28" fmla="*/ 59 w 122"/>
                    <a:gd name="T29" fmla="*/ 6 h 19"/>
                    <a:gd name="T30" fmla="*/ 68 w 122"/>
                    <a:gd name="T31" fmla="*/ 9 h 19"/>
                    <a:gd name="T32" fmla="*/ 77 w 122"/>
                    <a:gd name="T33" fmla="*/ 11 h 19"/>
                    <a:gd name="T34" fmla="*/ 87 w 122"/>
                    <a:gd name="T35" fmla="*/ 15 h 19"/>
                    <a:gd name="T36" fmla="*/ 98 w 122"/>
                    <a:gd name="T37" fmla="*/ 17 h 19"/>
                    <a:gd name="T38" fmla="*/ 109 w 122"/>
                    <a:gd name="T39" fmla="*/ 19 h 19"/>
                    <a:gd name="T40" fmla="*/ 122 w 122"/>
                    <a:gd name="T41" fmla="*/ 19 h 19"/>
                    <a:gd name="T42" fmla="*/ 109 w 122"/>
                    <a:gd name="T43" fmla="*/ 19 h 19"/>
                    <a:gd name="T44" fmla="*/ 98 w 122"/>
                    <a:gd name="T45" fmla="*/ 17 h 19"/>
                    <a:gd name="T46" fmla="*/ 87 w 122"/>
                    <a:gd name="T47" fmla="*/ 15 h 19"/>
                    <a:gd name="T48" fmla="*/ 77 w 122"/>
                    <a:gd name="T49" fmla="*/ 11 h 19"/>
                    <a:gd name="T50" fmla="*/ 68 w 122"/>
                    <a:gd name="T51" fmla="*/ 9 h 19"/>
                    <a:gd name="T52" fmla="*/ 59 w 122"/>
                    <a:gd name="T53" fmla="*/ 6 h 19"/>
                    <a:gd name="T54" fmla="*/ 48 w 122"/>
                    <a:gd name="T55" fmla="*/ 2 h 19"/>
                    <a:gd name="T56" fmla="*/ 37 w 122"/>
                    <a:gd name="T5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22" h="19">
                      <a:moveTo>
                        <a:pt x="37" y="0"/>
                      </a:moveTo>
                      <a:lnTo>
                        <a:pt x="35" y="4"/>
                      </a:lnTo>
                      <a:lnTo>
                        <a:pt x="33" y="9"/>
                      </a:lnTo>
                      <a:lnTo>
                        <a:pt x="24" y="8"/>
                      </a:lnTo>
                      <a:lnTo>
                        <a:pt x="17" y="6"/>
                      </a:ln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7" y="4"/>
                      </a:lnTo>
                      <a:lnTo>
                        <a:pt x="17" y="6"/>
                      </a:lnTo>
                      <a:lnTo>
                        <a:pt x="24" y="8"/>
                      </a:lnTo>
                      <a:lnTo>
                        <a:pt x="33" y="9"/>
                      </a:lnTo>
                      <a:lnTo>
                        <a:pt x="35" y="4"/>
                      </a:lnTo>
                      <a:lnTo>
                        <a:pt x="37" y="0"/>
                      </a:lnTo>
                      <a:lnTo>
                        <a:pt x="48" y="2"/>
                      </a:lnTo>
                      <a:lnTo>
                        <a:pt x="59" y="6"/>
                      </a:lnTo>
                      <a:lnTo>
                        <a:pt x="68" y="9"/>
                      </a:lnTo>
                      <a:lnTo>
                        <a:pt x="77" y="11"/>
                      </a:lnTo>
                      <a:lnTo>
                        <a:pt x="87" y="15"/>
                      </a:lnTo>
                      <a:lnTo>
                        <a:pt x="98" y="17"/>
                      </a:lnTo>
                      <a:lnTo>
                        <a:pt x="109" y="19"/>
                      </a:lnTo>
                      <a:lnTo>
                        <a:pt x="122" y="19"/>
                      </a:lnTo>
                      <a:lnTo>
                        <a:pt x="109" y="19"/>
                      </a:lnTo>
                      <a:lnTo>
                        <a:pt x="98" y="17"/>
                      </a:lnTo>
                      <a:lnTo>
                        <a:pt x="87" y="15"/>
                      </a:lnTo>
                      <a:lnTo>
                        <a:pt x="77" y="11"/>
                      </a:lnTo>
                      <a:lnTo>
                        <a:pt x="68" y="9"/>
                      </a:lnTo>
                      <a:lnTo>
                        <a:pt x="59" y="6"/>
                      </a:lnTo>
                      <a:lnTo>
                        <a:pt x="48" y="2"/>
                      </a:lnTo>
                      <a:lnTo>
                        <a:pt x="3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5" name="Freeform 2959"/>
                <p:cNvSpPr>
                  <a:spLocks/>
                </p:cNvSpPr>
                <p:nvPr/>
              </p:nvSpPr>
              <p:spPr bwMode="auto">
                <a:xfrm>
                  <a:off x="4725" y="2827"/>
                  <a:ext cx="197" cy="128"/>
                </a:xfrm>
                <a:custGeom>
                  <a:avLst/>
                  <a:gdLst>
                    <a:gd name="T0" fmla="*/ 195 w 197"/>
                    <a:gd name="T1" fmla="*/ 0 h 128"/>
                    <a:gd name="T2" fmla="*/ 192 w 197"/>
                    <a:gd name="T3" fmla="*/ 2 h 128"/>
                    <a:gd name="T4" fmla="*/ 188 w 197"/>
                    <a:gd name="T5" fmla="*/ 9 h 128"/>
                    <a:gd name="T6" fmla="*/ 175 w 197"/>
                    <a:gd name="T7" fmla="*/ 15 h 128"/>
                    <a:gd name="T8" fmla="*/ 175 w 197"/>
                    <a:gd name="T9" fmla="*/ 24 h 128"/>
                    <a:gd name="T10" fmla="*/ 169 w 197"/>
                    <a:gd name="T11" fmla="*/ 32 h 128"/>
                    <a:gd name="T12" fmla="*/ 164 w 197"/>
                    <a:gd name="T13" fmla="*/ 39 h 128"/>
                    <a:gd name="T14" fmla="*/ 158 w 197"/>
                    <a:gd name="T15" fmla="*/ 45 h 128"/>
                    <a:gd name="T16" fmla="*/ 142 w 197"/>
                    <a:gd name="T17" fmla="*/ 48 h 128"/>
                    <a:gd name="T18" fmla="*/ 136 w 197"/>
                    <a:gd name="T19" fmla="*/ 74 h 128"/>
                    <a:gd name="T20" fmla="*/ 114 w 197"/>
                    <a:gd name="T21" fmla="*/ 107 h 128"/>
                    <a:gd name="T22" fmla="*/ 90 w 197"/>
                    <a:gd name="T23" fmla="*/ 122 h 128"/>
                    <a:gd name="T24" fmla="*/ 75 w 197"/>
                    <a:gd name="T25" fmla="*/ 126 h 128"/>
                    <a:gd name="T26" fmla="*/ 59 w 197"/>
                    <a:gd name="T27" fmla="*/ 126 h 128"/>
                    <a:gd name="T28" fmla="*/ 37 w 197"/>
                    <a:gd name="T29" fmla="*/ 122 h 128"/>
                    <a:gd name="T30" fmla="*/ 27 w 197"/>
                    <a:gd name="T31" fmla="*/ 104 h 128"/>
                    <a:gd name="T32" fmla="*/ 26 w 197"/>
                    <a:gd name="T33" fmla="*/ 98 h 128"/>
                    <a:gd name="T34" fmla="*/ 24 w 197"/>
                    <a:gd name="T35" fmla="*/ 92 h 128"/>
                    <a:gd name="T36" fmla="*/ 22 w 197"/>
                    <a:gd name="T37" fmla="*/ 91 h 128"/>
                    <a:gd name="T38" fmla="*/ 18 w 197"/>
                    <a:gd name="T39" fmla="*/ 87 h 128"/>
                    <a:gd name="T40" fmla="*/ 9 w 197"/>
                    <a:gd name="T41" fmla="*/ 85 h 128"/>
                    <a:gd name="T42" fmla="*/ 2 w 197"/>
                    <a:gd name="T43" fmla="*/ 72 h 128"/>
                    <a:gd name="T44" fmla="*/ 2 w 197"/>
                    <a:gd name="T45" fmla="*/ 61 h 128"/>
                    <a:gd name="T46" fmla="*/ 0 w 197"/>
                    <a:gd name="T47" fmla="*/ 72 h 128"/>
                    <a:gd name="T48" fmla="*/ 0 w 197"/>
                    <a:gd name="T49" fmla="*/ 83 h 128"/>
                    <a:gd name="T50" fmla="*/ 16 w 197"/>
                    <a:gd name="T51" fmla="*/ 89 h 128"/>
                    <a:gd name="T52" fmla="*/ 22 w 197"/>
                    <a:gd name="T53" fmla="*/ 94 h 128"/>
                    <a:gd name="T54" fmla="*/ 26 w 197"/>
                    <a:gd name="T55" fmla="*/ 100 h 128"/>
                    <a:gd name="T56" fmla="*/ 27 w 197"/>
                    <a:gd name="T57" fmla="*/ 111 h 128"/>
                    <a:gd name="T58" fmla="*/ 44 w 197"/>
                    <a:gd name="T59" fmla="*/ 126 h 128"/>
                    <a:gd name="T60" fmla="*/ 59 w 197"/>
                    <a:gd name="T61" fmla="*/ 128 h 128"/>
                    <a:gd name="T62" fmla="*/ 70 w 197"/>
                    <a:gd name="T63" fmla="*/ 128 h 128"/>
                    <a:gd name="T64" fmla="*/ 79 w 197"/>
                    <a:gd name="T65" fmla="*/ 128 h 128"/>
                    <a:gd name="T66" fmla="*/ 96 w 197"/>
                    <a:gd name="T67" fmla="*/ 120 h 128"/>
                    <a:gd name="T68" fmla="*/ 116 w 197"/>
                    <a:gd name="T69" fmla="*/ 109 h 128"/>
                    <a:gd name="T70" fmla="*/ 138 w 197"/>
                    <a:gd name="T71" fmla="*/ 74 h 128"/>
                    <a:gd name="T72" fmla="*/ 136 w 197"/>
                    <a:gd name="T73" fmla="*/ 74 h 128"/>
                    <a:gd name="T74" fmla="*/ 144 w 197"/>
                    <a:gd name="T75" fmla="*/ 50 h 128"/>
                    <a:gd name="T76" fmla="*/ 160 w 197"/>
                    <a:gd name="T77" fmla="*/ 46 h 128"/>
                    <a:gd name="T78" fmla="*/ 166 w 197"/>
                    <a:gd name="T79" fmla="*/ 39 h 128"/>
                    <a:gd name="T80" fmla="*/ 175 w 197"/>
                    <a:gd name="T81" fmla="*/ 33 h 128"/>
                    <a:gd name="T82" fmla="*/ 177 w 197"/>
                    <a:gd name="T83" fmla="*/ 24 h 128"/>
                    <a:gd name="T84" fmla="*/ 181 w 197"/>
                    <a:gd name="T85" fmla="*/ 17 h 128"/>
                    <a:gd name="T86" fmla="*/ 190 w 197"/>
                    <a:gd name="T87" fmla="*/ 9 h 128"/>
                    <a:gd name="T88" fmla="*/ 192 w 197"/>
                    <a:gd name="T89" fmla="*/ 4 h 128"/>
                    <a:gd name="T90" fmla="*/ 195 w 197"/>
                    <a:gd name="T91" fmla="*/ 2 h 128"/>
                    <a:gd name="T92" fmla="*/ 197 w 197"/>
                    <a:gd name="T93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7" h="128">
                      <a:moveTo>
                        <a:pt x="197" y="0"/>
                      </a:moveTo>
                      <a:lnTo>
                        <a:pt x="195" y="0"/>
                      </a:lnTo>
                      <a:lnTo>
                        <a:pt x="195" y="0"/>
                      </a:lnTo>
                      <a:lnTo>
                        <a:pt x="193" y="2"/>
                      </a:lnTo>
                      <a:lnTo>
                        <a:pt x="192" y="2"/>
                      </a:lnTo>
                      <a:lnTo>
                        <a:pt x="192" y="2"/>
                      </a:lnTo>
                      <a:lnTo>
                        <a:pt x="190" y="4"/>
                      </a:lnTo>
                      <a:lnTo>
                        <a:pt x="190" y="4"/>
                      </a:lnTo>
                      <a:lnTo>
                        <a:pt x="188" y="9"/>
                      </a:lnTo>
                      <a:lnTo>
                        <a:pt x="186" y="15"/>
                      </a:lnTo>
                      <a:lnTo>
                        <a:pt x="181" y="15"/>
                      </a:lnTo>
                      <a:lnTo>
                        <a:pt x="175" y="15"/>
                      </a:lnTo>
                      <a:lnTo>
                        <a:pt x="175" y="15"/>
                      </a:lnTo>
                      <a:lnTo>
                        <a:pt x="175" y="21"/>
                      </a:lnTo>
                      <a:lnTo>
                        <a:pt x="175" y="24"/>
                      </a:lnTo>
                      <a:lnTo>
                        <a:pt x="175" y="28"/>
                      </a:lnTo>
                      <a:lnTo>
                        <a:pt x="175" y="32"/>
                      </a:lnTo>
                      <a:lnTo>
                        <a:pt x="169" y="32"/>
                      </a:lnTo>
                      <a:lnTo>
                        <a:pt x="164" y="32"/>
                      </a:lnTo>
                      <a:lnTo>
                        <a:pt x="164" y="32"/>
                      </a:lnTo>
                      <a:lnTo>
                        <a:pt x="164" y="39"/>
                      </a:lnTo>
                      <a:lnTo>
                        <a:pt x="164" y="43"/>
                      </a:lnTo>
                      <a:lnTo>
                        <a:pt x="158" y="45"/>
                      </a:lnTo>
                      <a:lnTo>
                        <a:pt x="158" y="45"/>
                      </a:lnTo>
                      <a:lnTo>
                        <a:pt x="153" y="46"/>
                      </a:lnTo>
                      <a:lnTo>
                        <a:pt x="147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0" y="61"/>
                      </a:lnTo>
                      <a:lnTo>
                        <a:pt x="136" y="74"/>
                      </a:lnTo>
                      <a:lnTo>
                        <a:pt x="134" y="87"/>
                      </a:lnTo>
                      <a:lnTo>
                        <a:pt x="131" y="98"/>
                      </a:lnTo>
                      <a:lnTo>
                        <a:pt x="114" y="107"/>
                      </a:lnTo>
                      <a:lnTo>
                        <a:pt x="101" y="116"/>
                      </a:lnTo>
                      <a:lnTo>
                        <a:pt x="96" y="118"/>
                      </a:lnTo>
                      <a:lnTo>
                        <a:pt x="90" y="122"/>
                      </a:lnTo>
                      <a:lnTo>
                        <a:pt x="85" y="124"/>
                      </a:lnTo>
                      <a:lnTo>
                        <a:pt x="79" y="126"/>
                      </a:lnTo>
                      <a:lnTo>
                        <a:pt x="75" y="126"/>
                      </a:lnTo>
                      <a:lnTo>
                        <a:pt x="70" y="128"/>
                      </a:lnTo>
                      <a:lnTo>
                        <a:pt x="64" y="128"/>
                      </a:lnTo>
                      <a:lnTo>
                        <a:pt x="59" y="126"/>
                      </a:lnTo>
                      <a:lnTo>
                        <a:pt x="51" y="126"/>
                      </a:lnTo>
                      <a:lnTo>
                        <a:pt x="46" y="124"/>
                      </a:lnTo>
                      <a:lnTo>
                        <a:pt x="37" y="122"/>
                      </a:lnTo>
                      <a:lnTo>
                        <a:pt x="29" y="120"/>
                      </a:lnTo>
                      <a:lnTo>
                        <a:pt x="27" y="111"/>
                      </a:lnTo>
                      <a:lnTo>
                        <a:pt x="27" y="104"/>
                      </a:lnTo>
                      <a:lnTo>
                        <a:pt x="27" y="104"/>
                      </a:lnTo>
                      <a:lnTo>
                        <a:pt x="26" y="100"/>
                      </a:lnTo>
                      <a:lnTo>
                        <a:pt x="26" y="98"/>
                      </a:lnTo>
                      <a:lnTo>
                        <a:pt x="26" y="98"/>
                      </a:lnTo>
                      <a:lnTo>
                        <a:pt x="24" y="94"/>
                      </a:lnTo>
                      <a:lnTo>
                        <a:pt x="24" y="92"/>
                      </a:lnTo>
                      <a:lnTo>
                        <a:pt x="24" y="92"/>
                      </a:lnTo>
                      <a:lnTo>
                        <a:pt x="22" y="91"/>
                      </a:lnTo>
                      <a:lnTo>
                        <a:pt x="22" y="91"/>
                      </a:lnTo>
                      <a:lnTo>
                        <a:pt x="20" y="89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4" y="87"/>
                      </a:lnTo>
                      <a:lnTo>
                        <a:pt x="9" y="85"/>
                      </a:lnTo>
                      <a:lnTo>
                        <a:pt x="9" y="85"/>
                      </a:lnTo>
                      <a:lnTo>
                        <a:pt x="2" y="81"/>
                      </a:lnTo>
                      <a:lnTo>
                        <a:pt x="2" y="78"/>
                      </a:lnTo>
                      <a:lnTo>
                        <a:pt x="2" y="72"/>
                      </a:lnTo>
                      <a:lnTo>
                        <a:pt x="2" y="67"/>
                      </a:lnTo>
                      <a:lnTo>
                        <a:pt x="2" y="61"/>
                      </a:lnTo>
                      <a:lnTo>
                        <a:pt x="2" y="61"/>
                      </a:lnTo>
                      <a:lnTo>
                        <a:pt x="0" y="61"/>
                      </a:lnTo>
                      <a:lnTo>
                        <a:pt x="0" y="67"/>
                      </a:lnTo>
                      <a:lnTo>
                        <a:pt x="0" y="72"/>
                      </a:lnTo>
                      <a:lnTo>
                        <a:pt x="0" y="78"/>
                      </a:lnTo>
                      <a:lnTo>
                        <a:pt x="0" y="83"/>
                      </a:lnTo>
                      <a:lnTo>
                        <a:pt x="0" y="83"/>
                      </a:lnTo>
                      <a:lnTo>
                        <a:pt x="9" y="85"/>
                      </a:lnTo>
                      <a:lnTo>
                        <a:pt x="14" y="89"/>
                      </a:lnTo>
                      <a:lnTo>
                        <a:pt x="16" y="89"/>
                      </a:lnTo>
                      <a:lnTo>
                        <a:pt x="18" y="91"/>
                      </a:lnTo>
                      <a:lnTo>
                        <a:pt x="20" y="92"/>
                      </a:lnTo>
                      <a:lnTo>
                        <a:pt x="22" y="94"/>
                      </a:lnTo>
                      <a:lnTo>
                        <a:pt x="24" y="96"/>
                      </a:lnTo>
                      <a:lnTo>
                        <a:pt x="24" y="98"/>
                      </a:lnTo>
                      <a:lnTo>
                        <a:pt x="26" y="100"/>
                      </a:lnTo>
                      <a:lnTo>
                        <a:pt x="26" y="104"/>
                      </a:lnTo>
                      <a:lnTo>
                        <a:pt x="27" y="111"/>
                      </a:lnTo>
                      <a:lnTo>
                        <a:pt x="27" y="111"/>
                      </a:lnTo>
                      <a:lnTo>
                        <a:pt x="27" y="122"/>
                      </a:lnTo>
                      <a:lnTo>
                        <a:pt x="37" y="124"/>
                      </a:lnTo>
                      <a:lnTo>
                        <a:pt x="44" y="126"/>
                      </a:lnTo>
                      <a:lnTo>
                        <a:pt x="51" y="128"/>
                      </a:lnTo>
                      <a:lnTo>
                        <a:pt x="59" y="128"/>
                      </a:lnTo>
                      <a:lnTo>
                        <a:pt x="59" y="128"/>
                      </a:lnTo>
                      <a:lnTo>
                        <a:pt x="64" y="128"/>
                      </a:lnTo>
                      <a:lnTo>
                        <a:pt x="70" y="128"/>
                      </a:lnTo>
                      <a:lnTo>
                        <a:pt x="70" y="128"/>
                      </a:lnTo>
                      <a:lnTo>
                        <a:pt x="75" y="128"/>
                      </a:lnTo>
                      <a:lnTo>
                        <a:pt x="79" y="128"/>
                      </a:lnTo>
                      <a:lnTo>
                        <a:pt x="79" y="128"/>
                      </a:lnTo>
                      <a:lnTo>
                        <a:pt x="85" y="126"/>
                      </a:lnTo>
                      <a:lnTo>
                        <a:pt x="90" y="122"/>
                      </a:lnTo>
                      <a:lnTo>
                        <a:pt x="96" y="120"/>
                      </a:lnTo>
                      <a:lnTo>
                        <a:pt x="101" y="116"/>
                      </a:lnTo>
                      <a:lnTo>
                        <a:pt x="101" y="116"/>
                      </a:lnTo>
                      <a:lnTo>
                        <a:pt x="116" y="109"/>
                      </a:lnTo>
                      <a:lnTo>
                        <a:pt x="133" y="98"/>
                      </a:lnTo>
                      <a:lnTo>
                        <a:pt x="134" y="87"/>
                      </a:lnTo>
                      <a:lnTo>
                        <a:pt x="138" y="74"/>
                      </a:lnTo>
                      <a:lnTo>
                        <a:pt x="136" y="74"/>
                      </a:lnTo>
                      <a:lnTo>
                        <a:pt x="138" y="74"/>
                      </a:lnTo>
                      <a:lnTo>
                        <a:pt x="136" y="74"/>
                      </a:lnTo>
                      <a:lnTo>
                        <a:pt x="138" y="74"/>
                      </a:lnTo>
                      <a:lnTo>
                        <a:pt x="142" y="63"/>
                      </a:lnTo>
                      <a:lnTo>
                        <a:pt x="144" y="50"/>
                      </a:lnTo>
                      <a:lnTo>
                        <a:pt x="149" y="48"/>
                      </a:lnTo>
                      <a:lnTo>
                        <a:pt x="155" y="46"/>
                      </a:lnTo>
                      <a:lnTo>
                        <a:pt x="160" y="46"/>
                      </a:lnTo>
                      <a:lnTo>
                        <a:pt x="164" y="45"/>
                      </a:lnTo>
                      <a:lnTo>
                        <a:pt x="166" y="45"/>
                      </a:lnTo>
                      <a:lnTo>
                        <a:pt x="166" y="39"/>
                      </a:lnTo>
                      <a:lnTo>
                        <a:pt x="166" y="33"/>
                      </a:lnTo>
                      <a:lnTo>
                        <a:pt x="169" y="33"/>
                      </a:lnTo>
                      <a:lnTo>
                        <a:pt x="175" y="33"/>
                      </a:lnTo>
                      <a:lnTo>
                        <a:pt x="177" y="33"/>
                      </a:lnTo>
                      <a:lnTo>
                        <a:pt x="177" y="28"/>
                      </a:lnTo>
                      <a:lnTo>
                        <a:pt x="177" y="24"/>
                      </a:lnTo>
                      <a:lnTo>
                        <a:pt x="177" y="21"/>
                      </a:lnTo>
                      <a:lnTo>
                        <a:pt x="177" y="17"/>
                      </a:lnTo>
                      <a:lnTo>
                        <a:pt x="181" y="17"/>
                      </a:lnTo>
                      <a:lnTo>
                        <a:pt x="186" y="17"/>
                      </a:lnTo>
                      <a:lnTo>
                        <a:pt x="188" y="17"/>
                      </a:lnTo>
                      <a:lnTo>
                        <a:pt x="190" y="9"/>
                      </a:lnTo>
                      <a:lnTo>
                        <a:pt x="190" y="9"/>
                      </a:lnTo>
                      <a:lnTo>
                        <a:pt x="192" y="6"/>
                      </a:lnTo>
                      <a:lnTo>
                        <a:pt x="192" y="4"/>
                      </a:lnTo>
                      <a:lnTo>
                        <a:pt x="193" y="4"/>
                      </a:lnTo>
                      <a:lnTo>
                        <a:pt x="193" y="4"/>
                      </a:lnTo>
                      <a:lnTo>
                        <a:pt x="195" y="2"/>
                      </a:lnTo>
                      <a:lnTo>
                        <a:pt x="197" y="0"/>
                      </a:lnTo>
                      <a:lnTo>
                        <a:pt x="195" y="0"/>
                      </a:lnTo>
                      <a:lnTo>
                        <a:pt x="19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6" name="Freeform 2960"/>
                <p:cNvSpPr>
                  <a:spLocks/>
                </p:cNvSpPr>
                <p:nvPr/>
              </p:nvSpPr>
              <p:spPr bwMode="auto">
                <a:xfrm>
                  <a:off x="4725" y="2827"/>
                  <a:ext cx="197" cy="128"/>
                </a:xfrm>
                <a:custGeom>
                  <a:avLst/>
                  <a:gdLst>
                    <a:gd name="T0" fmla="*/ 195 w 197"/>
                    <a:gd name="T1" fmla="*/ 0 h 128"/>
                    <a:gd name="T2" fmla="*/ 192 w 197"/>
                    <a:gd name="T3" fmla="*/ 2 h 128"/>
                    <a:gd name="T4" fmla="*/ 188 w 197"/>
                    <a:gd name="T5" fmla="*/ 9 h 128"/>
                    <a:gd name="T6" fmla="*/ 175 w 197"/>
                    <a:gd name="T7" fmla="*/ 15 h 128"/>
                    <a:gd name="T8" fmla="*/ 175 w 197"/>
                    <a:gd name="T9" fmla="*/ 24 h 128"/>
                    <a:gd name="T10" fmla="*/ 169 w 197"/>
                    <a:gd name="T11" fmla="*/ 32 h 128"/>
                    <a:gd name="T12" fmla="*/ 164 w 197"/>
                    <a:gd name="T13" fmla="*/ 39 h 128"/>
                    <a:gd name="T14" fmla="*/ 158 w 197"/>
                    <a:gd name="T15" fmla="*/ 45 h 128"/>
                    <a:gd name="T16" fmla="*/ 142 w 197"/>
                    <a:gd name="T17" fmla="*/ 48 h 128"/>
                    <a:gd name="T18" fmla="*/ 136 w 197"/>
                    <a:gd name="T19" fmla="*/ 74 h 128"/>
                    <a:gd name="T20" fmla="*/ 114 w 197"/>
                    <a:gd name="T21" fmla="*/ 107 h 128"/>
                    <a:gd name="T22" fmla="*/ 90 w 197"/>
                    <a:gd name="T23" fmla="*/ 122 h 128"/>
                    <a:gd name="T24" fmla="*/ 75 w 197"/>
                    <a:gd name="T25" fmla="*/ 126 h 128"/>
                    <a:gd name="T26" fmla="*/ 59 w 197"/>
                    <a:gd name="T27" fmla="*/ 126 h 128"/>
                    <a:gd name="T28" fmla="*/ 37 w 197"/>
                    <a:gd name="T29" fmla="*/ 122 h 128"/>
                    <a:gd name="T30" fmla="*/ 27 w 197"/>
                    <a:gd name="T31" fmla="*/ 104 h 128"/>
                    <a:gd name="T32" fmla="*/ 26 w 197"/>
                    <a:gd name="T33" fmla="*/ 98 h 128"/>
                    <a:gd name="T34" fmla="*/ 24 w 197"/>
                    <a:gd name="T35" fmla="*/ 92 h 128"/>
                    <a:gd name="T36" fmla="*/ 22 w 197"/>
                    <a:gd name="T37" fmla="*/ 91 h 128"/>
                    <a:gd name="T38" fmla="*/ 18 w 197"/>
                    <a:gd name="T39" fmla="*/ 87 h 128"/>
                    <a:gd name="T40" fmla="*/ 9 w 197"/>
                    <a:gd name="T41" fmla="*/ 85 h 128"/>
                    <a:gd name="T42" fmla="*/ 2 w 197"/>
                    <a:gd name="T43" fmla="*/ 72 h 128"/>
                    <a:gd name="T44" fmla="*/ 2 w 197"/>
                    <a:gd name="T45" fmla="*/ 61 h 128"/>
                    <a:gd name="T46" fmla="*/ 0 w 197"/>
                    <a:gd name="T47" fmla="*/ 72 h 128"/>
                    <a:gd name="T48" fmla="*/ 0 w 197"/>
                    <a:gd name="T49" fmla="*/ 83 h 128"/>
                    <a:gd name="T50" fmla="*/ 16 w 197"/>
                    <a:gd name="T51" fmla="*/ 89 h 128"/>
                    <a:gd name="T52" fmla="*/ 22 w 197"/>
                    <a:gd name="T53" fmla="*/ 94 h 128"/>
                    <a:gd name="T54" fmla="*/ 26 w 197"/>
                    <a:gd name="T55" fmla="*/ 100 h 128"/>
                    <a:gd name="T56" fmla="*/ 27 w 197"/>
                    <a:gd name="T57" fmla="*/ 111 h 128"/>
                    <a:gd name="T58" fmla="*/ 44 w 197"/>
                    <a:gd name="T59" fmla="*/ 126 h 128"/>
                    <a:gd name="T60" fmla="*/ 59 w 197"/>
                    <a:gd name="T61" fmla="*/ 128 h 128"/>
                    <a:gd name="T62" fmla="*/ 70 w 197"/>
                    <a:gd name="T63" fmla="*/ 128 h 128"/>
                    <a:gd name="T64" fmla="*/ 79 w 197"/>
                    <a:gd name="T65" fmla="*/ 128 h 128"/>
                    <a:gd name="T66" fmla="*/ 96 w 197"/>
                    <a:gd name="T67" fmla="*/ 120 h 128"/>
                    <a:gd name="T68" fmla="*/ 116 w 197"/>
                    <a:gd name="T69" fmla="*/ 109 h 128"/>
                    <a:gd name="T70" fmla="*/ 138 w 197"/>
                    <a:gd name="T71" fmla="*/ 74 h 128"/>
                    <a:gd name="T72" fmla="*/ 136 w 197"/>
                    <a:gd name="T73" fmla="*/ 74 h 128"/>
                    <a:gd name="T74" fmla="*/ 144 w 197"/>
                    <a:gd name="T75" fmla="*/ 50 h 128"/>
                    <a:gd name="T76" fmla="*/ 160 w 197"/>
                    <a:gd name="T77" fmla="*/ 46 h 128"/>
                    <a:gd name="T78" fmla="*/ 166 w 197"/>
                    <a:gd name="T79" fmla="*/ 39 h 128"/>
                    <a:gd name="T80" fmla="*/ 175 w 197"/>
                    <a:gd name="T81" fmla="*/ 33 h 128"/>
                    <a:gd name="T82" fmla="*/ 177 w 197"/>
                    <a:gd name="T83" fmla="*/ 24 h 128"/>
                    <a:gd name="T84" fmla="*/ 181 w 197"/>
                    <a:gd name="T85" fmla="*/ 17 h 128"/>
                    <a:gd name="T86" fmla="*/ 190 w 197"/>
                    <a:gd name="T87" fmla="*/ 9 h 128"/>
                    <a:gd name="T88" fmla="*/ 192 w 197"/>
                    <a:gd name="T89" fmla="*/ 4 h 128"/>
                    <a:gd name="T90" fmla="*/ 195 w 197"/>
                    <a:gd name="T91" fmla="*/ 2 h 128"/>
                    <a:gd name="T92" fmla="*/ 197 w 197"/>
                    <a:gd name="T93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7" h="128">
                      <a:moveTo>
                        <a:pt x="197" y="0"/>
                      </a:moveTo>
                      <a:lnTo>
                        <a:pt x="195" y="0"/>
                      </a:lnTo>
                      <a:lnTo>
                        <a:pt x="195" y="0"/>
                      </a:lnTo>
                      <a:lnTo>
                        <a:pt x="193" y="2"/>
                      </a:lnTo>
                      <a:lnTo>
                        <a:pt x="192" y="2"/>
                      </a:lnTo>
                      <a:lnTo>
                        <a:pt x="192" y="2"/>
                      </a:lnTo>
                      <a:lnTo>
                        <a:pt x="190" y="4"/>
                      </a:lnTo>
                      <a:lnTo>
                        <a:pt x="190" y="4"/>
                      </a:lnTo>
                      <a:lnTo>
                        <a:pt x="188" y="9"/>
                      </a:lnTo>
                      <a:lnTo>
                        <a:pt x="186" y="15"/>
                      </a:lnTo>
                      <a:lnTo>
                        <a:pt x="181" y="15"/>
                      </a:lnTo>
                      <a:lnTo>
                        <a:pt x="175" y="15"/>
                      </a:lnTo>
                      <a:lnTo>
                        <a:pt x="175" y="15"/>
                      </a:lnTo>
                      <a:lnTo>
                        <a:pt x="175" y="21"/>
                      </a:lnTo>
                      <a:lnTo>
                        <a:pt x="175" y="24"/>
                      </a:lnTo>
                      <a:lnTo>
                        <a:pt x="175" y="28"/>
                      </a:lnTo>
                      <a:lnTo>
                        <a:pt x="175" y="32"/>
                      </a:lnTo>
                      <a:lnTo>
                        <a:pt x="169" y="32"/>
                      </a:lnTo>
                      <a:lnTo>
                        <a:pt x="164" y="32"/>
                      </a:lnTo>
                      <a:lnTo>
                        <a:pt x="164" y="32"/>
                      </a:lnTo>
                      <a:lnTo>
                        <a:pt x="164" y="39"/>
                      </a:lnTo>
                      <a:lnTo>
                        <a:pt x="164" y="43"/>
                      </a:lnTo>
                      <a:lnTo>
                        <a:pt x="158" y="45"/>
                      </a:lnTo>
                      <a:lnTo>
                        <a:pt x="158" y="45"/>
                      </a:lnTo>
                      <a:lnTo>
                        <a:pt x="153" y="46"/>
                      </a:lnTo>
                      <a:lnTo>
                        <a:pt x="147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0" y="61"/>
                      </a:lnTo>
                      <a:lnTo>
                        <a:pt x="136" y="74"/>
                      </a:lnTo>
                      <a:lnTo>
                        <a:pt x="134" y="87"/>
                      </a:lnTo>
                      <a:lnTo>
                        <a:pt x="131" y="98"/>
                      </a:lnTo>
                      <a:lnTo>
                        <a:pt x="114" y="107"/>
                      </a:lnTo>
                      <a:lnTo>
                        <a:pt x="101" y="116"/>
                      </a:lnTo>
                      <a:lnTo>
                        <a:pt x="96" y="118"/>
                      </a:lnTo>
                      <a:lnTo>
                        <a:pt x="90" y="122"/>
                      </a:lnTo>
                      <a:lnTo>
                        <a:pt x="85" y="124"/>
                      </a:lnTo>
                      <a:lnTo>
                        <a:pt x="79" y="126"/>
                      </a:lnTo>
                      <a:lnTo>
                        <a:pt x="75" y="126"/>
                      </a:lnTo>
                      <a:lnTo>
                        <a:pt x="70" y="128"/>
                      </a:lnTo>
                      <a:lnTo>
                        <a:pt x="64" y="128"/>
                      </a:lnTo>
                      <a:lnTo>
                        <a:pt x="59" y="126"/>
                      </a:lnTo>
                      <a:lnTo>
                        <a:pt x="51" y="126"/>
                      </a:lnTo>
                      <a:lnTo>
                        <a:pt x="46" y="124"/>
                      </a:lnTo>
                      <a:lnTo>
                        <a:pt x="37" y="122"/>
                      </a:lnTo>
                      <a:lnTo>
                        <a:pt x="29" y="120"/>
                      </a:lnTo>
                      <a:lnTo>
                        <a:pt x="27" y="111"/>
                      </a:lnTo>
                      <a:lnTo>
                        <a:pt x="27" y="104"/>
                      </a:lnTo>
                      <a:lnTo>
                        <a:pt x="27" y="104"/>
                      </a:lnTo>
                      <a:lnTo>
                        <a:pt x="26" y="100"/>
                      </a:lnTo>
                      <a:lnTo>
                        <a:pt x="26" y="98"/>
                      </a:lnTo>
                      <a:lnTo>
                        <a:pt x="26" y="98"/>
                      </a:lnTo>
                      <a:lnTo>
                        <a:pt x="24" y="94"/>
                      </a:lnTo>
                      <a:lnTo>
                        <a:pt x="24" y="92"/>
                      </a:lnTo>
                      <a:lnTo>
                        <a:pt x="24" y="92"/>
                      </a:lnTo>
                      <a:lnTo>
                        <a:pt x="22" y="91"/>
                      </a:lnTo>
                      <a:lnTo>
                        <a:pt x="22" y="91"/>
                      </a:lnTo>
                      <a:lnTo>
                        <a:pt x="20" y="89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4" y="87"/>
                      </a:lnTo>
                      <a:lnTo>
                        <a:pt x="9" y="85"/>
                      </a:lnTo>
                      <a:lnTo>
                        <a:pt x="9" y="85"/>
                      </a:lnTo>
                      <a:lnTo>
                        <a:pt x="2" y="81"/>
                      </a:lnTo>
                      <a:lnTo>
                        <a:pt x="2" y="78"/>
                      </a:lnTo>
                      <a:lnTo>
                        <a:pt x="2" y="72"/>
                      </a:lnTo>
                      <a:lnTo>
                        <a:pt x="2" y="67"/>
                      </a:lnTo>
                      <a:lnTo>
                        <a:pt x="2" y="61"/>
                      </a:lnTo>
                      <a:lnTo>
                        <a:pt x="2" y="61"/>
                      </a:lnTo>
                      <a:lnTo>
                        <a:pt x="0" y="61"/>
                      </a:lnTo>
                      <a:lnTo>
                        <a:pt x="0" y="67"/>
                      </a:lnTo>
                      <a:lnTo>
                        <a:pt x="0" y="72"/>
                      </a:lnTo>
                      <a:lnTo>
                        <a:pt x="0" y="78"/>
                      </a:lnTo>
                      <a:lnTo>
                        <a:pt x="0" y="83"/>
                      </a:lnTo>
                      <a:lnTo>
                        <a:pt x="0" y="83"/>
                      </a:lnTo>
                      <a:lnTo>
                        <a:pt x="9" y="85"/>
                      </a:lnTo>
                      <a:lnTo>
                        <a:pt x="14" y="89"/>
                      </a:lnTo>
                      <a:lnTo>
                        <a:pt x="16" y="89"/>
                      </a:lnTo>
                      <a:lnTo>
                        <a:pt x="18" y="91"/>
                      </a:lnTo>
                      <a:lnTo>
                        <a:pt x="20" y="92"/>
                      </a:lnTo>
                      <a:lnTo>
                        <a:pt x="22" y="94"/>
                      </a:lnTo>
                      <a:lnTo>
                        <a:pt x="24" y="96"/>
                      </a:lnTo>
                      <a:lnTo>
                        <a:pt x="24" y="98"/>
                      </a:lnTo>
                      <a:lnTo>
                        <a:pt x="26" y="100"/>
                      </a:lnTo>
                      <a:lnTo>
                        <a:pt x="26" y="104"/>
                      </a:lnTo>
                      <a:lnTo>
                        <a:pt x="27" y="111"/>
                      </a:lnTo>
                      <a:lnTo>
                        <a:pt x="27" y="111"/>
                      </a:lnTo>
                      <a:lnTo>
                        <a:pt x="27" y="122"/>
                      </a:lnTo>
                      <a:lnTo>
                        <a:pt x="37" y="124"/>
                      </a:lnTo>
                      <a:lnTo>
                        <a:pt x="44" y="126"/>
                      </a:lnTo>
                      <a:lnTo>
                        <a:pt x="51" y="128"/>
                      </a:lnTo>
                      <a:lnTo>
                        <a:pt x="59" y="128"/>
                      </a:lnTo>
                      <a:lnTo>
                        <a:pt x="59" y="128"/>
                      </a:lnTo>
                      <a:lnTo>
                        <a:pt x="64" y="128"/>
                      </a:lnTo>
                      <a:lnTo>
                        <a:pt x="70" y="128"/>
                      </a:lnTo>
                      <a:lnTo>
                        <a:pt x="70" y="128"/>
                      </a:lnTo>
                      <a:lnTo>
                        <a:pt x="75" y="128"/>
                      </a:lnTo>
                      <a:lnTo>
                        <a:pt x="79" y="128"/>
                      </a:lnTo>
                      <a:lnTo>
                        <a:pt x="79" y="128"/>
                      </a:lnTo>
                      <a:lnTo>
                        <a:pt x="85" y="126"/>
                      </a:lnTo>
                      <a:lnTo>
                        <a:pt x="90" y="122"/>
                      </a:lnTo>
                      <a:lnTo>
                        <a:pt x="96" y="120"/>
                      </a:lnTo>
                      <a:lnTo>
                        <a:pt x="101" y="116"/>
                      </a:lnTo>
                      <a:lnTo>
                        <a:pt x="101" y="116"/>
                      </a:lnTo>
                      <a:lnTo>
                        <a:pt x="116" y="109"/>
                      </a:lnTo>
                      <a:lnTo>
                        <a:pt x="133" y="98"/>
                      </a:lnTo>
                      <a:lnTo>
                        <a:pt x="134" y="87"/>
                      </a:lnTo>
                      <a:lnTo>
                        <a:pt x="138" y="74"/>
                      </a:lnTo>
                      <a:lnTo>
                        <a:pt x="136" y="74"/>
                      </a:lnTo>
                      <a:lnTo>
                        <a:pt x="138" y="74"/>
                      </a:lnTo>
                      <a:lnTo>
                        <a:pt x="136" y="74"/>
                      </a:lnTo>
                      <a:lnTo>
                        <a:pt x="138" y="74"/>
                      </a:lnTo>
                      <a:lnTo>
                        <a:pt x="142" y="63"/>
                      </a:lnTo>
                      <a:lnTo>
                        <a:pt x="144" y="50"/>
                      </a:lnTo>
                      <a:lnTo>
                        <a:pt x="149" y="48"/>
                      </a:lnTo>
                      <a:lnTo>
                        <a:pt x="155" y="46"/>
                      </a:lnTo>
                      <a:lnTo>
                        <a:pt x="160" y="46"/>
                      </a:lnTo>
                      <a:lnTo>
                        <a:pt x="164" y="45"/>
                      </a:lnTo>
                      <a:lnTo>
                        <a:pt x="166" y="45"/>
                      </a:lnTo>
                      <a:lnTo>
                        <a:pt x="166" y="39"/>
                      </a:lnTo>
                      <a:lnTo>
                        <a:pt x="166" y="33"/>
                      </a:lnTo>
                      <a:lnTo>
                        <a:pt x="169" y="33"/>
                      </a:lnTo>
                      <a:lnTo>
                        <a:pt x="175" y="33"/>
                      </a:lnTo>
                      <a:lnTo>
                        <a:pt x="177" y="33"/>
                      </a:lnTo>
                      <a:lnTo>
                        <a:pt x="177" y="28"/>
                      </a:lnTo>
                      <a:lnTo>
                        <a:pt x="177" y="24"/>
                      </a:lnTo>
                      <a:lnTo>
                        <a:pt x="177" y="21"/>
                      </a:lnTo>
                      <a:lnTo>
                        <a:pt x="177" y="17"/>
                      </a:lnTo>
                      <a:lnTo>
                        <a:pt x="181" y="17"/>
                      </a:lnTo>
                      <a:lnTo>
                        <a:pt x="186" y="17"/>
                      </a:lnTo>
                      <a:lnTo>
                        <a:pt x="188" y="17"/>
                      </a:lnTo>
                      <a:lnTo>
                        <a:pt x="190" y="9"/>
                      </a:lnTo>
                      <a:lnTo>
                        <a:pt x="190" y="9"/>
                      </a:lnTo>
                      <a:lnTo>
                        <a:pt x="192" y="6"/>
                      </a:lnTo>
                      <a:lnTo>
                        <a:pt x="192" y="4"/>
                      </a:lnTo>
                      <a:lnTo>
                        <a:pt x="193" y="4"/>
                      </a:lnTo>
                      <a:lnTo>
                        <a:pt x="193" y="4"/>
                      </a:lnTo>
                      <a:lnTo>
                        <a:pt x="195" y="2"/>
                      </a:lnTo>
                      <a:lnTo>
                        <a:pt x="197" y="0"/>
                      </a:lnTo>
                      <a:lnTo>
                        <a:pt x="195" y="0"/>
                      </a:lnTo>
                      <a:lnTo>
                        <a:pt x="19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7" name="Freeform 2961"/>
                <p:cNvSpPr>
                  <a:spLocks/>
                </p:cNvSpPr>
                <p:nvPr/>
              </p:nvSpPr>
              <p:spPr bwMode="auto">
                <a:xfrm>
                  <a:off x="4743" y="2844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0 w 2"/>
                    <a:gd name="T5" fmla="*/ 2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8" name="Freeform 2962"/>
                <p:cNvSpPr>
                  <a:spLocks/>
                </p:cNvSpPr>
                <p:nvPr/>
              </p:nvSpPr>
              <p:spPr bwMode="auto">
                <a:xfrm>
                  <a:off x="4743" y="2844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0 w 2"/>
                    <a:gd name="T5" fmla="*/ 2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49" name="Freeform 2963"/>
                <p:cNvSpPr>
                  <a:spLocks/>
                </p:cNvSpPr>
                <p:nvPr/>
              </p:nvSpPr>
              <p:spPr bwMode="auto">
                <a:xfrm>
                  <a:off x="4422" y="1646"/>
                  <a:ext cx="757" cy="1310"/>
                </a:xfrm>
                <a:custGeom>
                  <a:avLst/>
                  <a:gdLst>
                    <a:gd name="T0" fmla="*/ 277 w 757"/>
                    <a:gd name="T1" fmla="*/ 20 h 1310"/>
                    <a:gd name="T2" fmla="*/ 216 w 757"/>
                    <a:gd name="T3" fmla="*/ 72 h 1310"/>
                    <a:gd name="T4" fmla="*/ 142 w 757"/>
                    <a:gd name="T5" fmla="*/ 76 h 1310"/>
                    <a:gd name="T6" fmla="*/ 129 w 757"/>
                    <a:gd name="T7" fmla="*/ 235 h 1310"/>
                    <a:gd name="T8" fmla="*/ 172 w 757"/>
                    <a:gd name="T9" fmla="*/ 323 h 1310"/>
                    <a:gd name="T10" fmla="*/ 120 w 757"/>
                    <a:gd name="T11" fmla="*/ 382 h 1310"/>
                    <a:gd name="T12" fmla="*/ 22 w 757"/>
                    <a:gd name="T13" fmla="*/ 482 h 1310"/>
                    <a:gd name="T14" fmla="*/ 37 w 757"/>
                    <a:gd name="T15" fmla="*/ 578 h 1310"/>
                    <a:gd name="T16" fmla="*/ 39 w 757"/>
                    <a:gd name="T17" fmla="*/ 641 h 1310"/>
                    <a:gd name="T18" fmla="*/ 65 w 757"/>
                    <a:gd name="T19" fmla="*/ 663 h 1310"/>
                    <a:gd name="T20" fmla="*/ 61 w 757"/>
                    <a:gd name="T21" fmla="*/ 725 h 1310"/>
                    <a:gd name="T22" fmla="*/ 114 w 757"/>
                    <a:gd name="T23" fmla="*/ 718 h 1310"/>
                    <a:gd name="T24" fmla="*/ 164 w 757"/>
                    <a:gd name="T25" fmla="*/ 731 h 1310"/>
                    <a:gd name="T26" fmla="*/ 127 w 757"/>
                    <a:gd name="T27" fmla="*/ 838 h 1310"/>
                    <a:gd name="T28" fmla="*/ 166 w 757"/>
                    <a:gd name="T29" fmla="*/ 891 h 1310"/>
                    <a:gd name="T30" fmla="*/ 209 w 757"/>
                    <a:gd name="T31" fmla="*/ 893 h 1310"/>
                    <a:gd name="T32" fmla="*/ 258 w 757"/>
                    <a:gd name="T33" fmla="*/ 847 h 1310"/>
                    <a:gd name="T34" fmla="*/ 288 w 757"/>
                    <a:gd name="T35" fmla="*/ 814 h 1310"/>
                    <a:gd name="T36" fmla="*/ 334 w 757"/>
                    <a:gd name="T37" fmla="*/ 871 h 1310"/>
                    <a:gd name="T38" fmla="*/ 282 w 757"/>
                    <a:gd name="T39" fmla="*/ 915 h 1310"/>
                    <a:gd name="T40" fmla="*/ 290 w 757"/>
                    <a:gd name="T41" fmla="*/ 951 h 1310"/>
                    <a:gd name="T42" fmla="*/ 255 w 757"/>
                    <a:gd name="T43" fmla="*/ 1010 h 1310"/>
                    <a:gd name="T44" fmla="*/ 244 w 757"/>
                    <a:gd name="T45" fmla="*/ 1058 h 1310"/>
                    <a:gd name="T46" fmla="*/ 260 w 757"/>
                    <a:gd name="T47" fmla="*/ 1106 h 1310"/>
                    <a:gd name="T48" fmla="*/ 290 w 757"/>
                    <a:gd name="T49" fmla="*/ 1133 h 1310"/>
                    <a:gd name="T50" fmla="*/ 330 w 757"/>
                    <a:gd name="T51" fmla="*/ 1194 h 1310"/>
                    <a:gd name="T52" fmla="*/ 371 w 757"/>
                    <a:gd name="T53" fmla="*/ 1163 h 1310"/>
                    <a:gd name="T54" fmla="*/ 472 w 757"/>
                    <a:gd name="T55" fmla="*/ 1165 h 1310"/>
                    <a:gd name="T56" fmla="*/ 511 w 757"/>
                    <a:gd name="T57" fmla="*/ 1172 h 1310"/>
                    <a:gd name="T58" fmla="*/ 533 w 757"/>
                    <a:gd name="T59" fmla="*/ 1213 h 1310"/>
                    <a:gd name="T60" fmla="*/ 541 w 757"/>
                    <a:gd name="T61" fmla="*/ 1246 h 1310"/>
                    <a:gd name="T62" fmla="*/ 557 w 757"/>
                    <a:gd name="T63" fmla="*/ 1307 h 1310"/>
                    <a:gd name="T64" fmla="*/ 615 w 757"/>
                    <a:gd name="T65" fmla="*/ 1240 h 1310"/>
                    <a:gd name="T66" fmla="*/ 666 w 757"/>
                    <a:gd name="T67" fmla="*/ 1198 h 1310"/>
                    <a:gd name="T68" fmla="*/ 698 w 757"/>
                    <a:gd name="T69" fmla="*/ 1139 h 1310"/>
                    <a:gd name="T70" fmla="*/ 648 w 757"/>
                    <a:gd name="T71" fmla="*/ 1104 h 1310"/>
                    <a:gd name="T72" fmla="*/ 675 w 757"/>
                    <a:gd name="T73" fmla="*/ 1069 h 1310"/>
                    <a:gd name="T74" fmla="*/ 722 w 757"/>
                    <a:gd name="T75" fmla="*/ 1100 h 1310"/>
                    <a:gd name="T76" fmla="*/ 749 w 757"/>
                    <a:gd name="T77" fmla="*/ 1070 h 1310"/>
                    <a:gd name="T78" fmla="*/ 731 w 757"/>
                    <a:gd name="T79" fmla="*/ 963 h 1310"/>
                    <a:gd name="T80" fmla="*/ 696 w 757"/>
                    <a:gd name="T81" fmla="*/ 888 h 1310"/>
                    <a:gd name="T82" fmla="*/ 668 w 757"/>
                    <a:gd name="T83" fmla="*/ 845 h 1310"/>
                    <a:gd name="T84" fmla="*/ 626 w 757"/>
                    <a:gd name="T85" fmla="*/ 727 h 1310"/>
                    <a:gd name="T86" fmla="*/ 568 w 757"/>
                    <a:gd name="T87" fmla="*/ 688 h 1310"/>
                    <a:gd name="T88" fmla="*/ 563 w 757"/>
                    <a:gd name="T89" fmla="*/ 663 h 1310"/>
                    <a:gd name="T90" fmla="*/ 465 w 757"/>
                    <a:gd name="T91" fmla="*/ 661 h 1310"/>
                    <a:gd name="T92" fmla="*/ 456 w 757"/>
                    <a:gd name="T93" fmla="*/ 729 h 1310"/>
                    <a:gd name="T94" fmla="*/ 447 w 757"/>
                    <a:gd name="T95" fmla="*/ 698 h 1310"/>
                    <a:gd name="T96" fmla="*/ 424 w 757"/>
                    <a:gd name="T97" fmla="*/ 749 h 1310"/>
                    <a:gd name="T98" fmla="*/ 412 w 757"/>
                    <a:gd name="T99" fmla="*/ 742 h 1310"/>
                    <a:gd name="T100" fmla="*/ 393 w 757"/>
                    <a:gd name="T101" fmla="*/ 696 h 1310"/>
                    <a:gd name="T102" fmla="*/ 388 w 757"/>
                    <a:gd name="T103" fmla="*/ 742 h 1310"/>
                    <a:gd name="T104" fmla="*/ 332 w 757"/>
                    <a:gd name="T105" fmla="*/ 701 h 1310"/>
                    <a:gd name="T106" fmla="*/ 288 w 757"/>
                    <a:gd name="T107" fmla="*/ 676 h 1310"/>
                    <a:gd name="T108" fmla="*/ 310 w 757"/>
                    <a:gd name="T109" fmla="*/ 533 h 1310"/>
                    <a:gd name="T110" fmla="*/ 336 w 757"/>
                    <a:gd name="T111" fmla="*/ 299 h 1310"/>
                    <a:gd name="T112" fmla="*/ 362 w 757"/>
                    <a:gd name="T113" fmla="*/ 231 h 1310"/>
                    <a:gd name="T114" fmla="*/ 410 w 757"/>
                    <a:gd name="T115" fmla="*/ 190 h 1310"/>
                    <a:gd name="T116" fmla="*/ 452 w 757"/>
                    <a:gd name="T117" fmla="*/ 159 h 1310"/>
                    <a:gd name="T118" fmla="*/ 474 w 757"/>
                    <a:gd name="T119" fmla="*/ 131 h 1310"/>
                    <a:gd name="T120" fmla="*/ 378 w 757"/>
                    <a:gd name="T121" fmla="*/ 104 h 1310"/>
                    <a:gd name="T122" fmla="*/ 369 w 757"/>
                    <a:gd name="T123" fmla="*/ 26 h 1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57" h="1310">
                      <a:moveTo>
                        <a:pt x="305" y="0"/>
                      </a:moveTo>
                      <a:lnTo>
                        <a:pt x="305" y="4"/>
                      </a:lnTo>
                      <a:lnTo>
                        <a:pt x="305" y="11"/>
                      </a:lnTo>
                      <a:lnTo>
                        <a:pt x="303" y="11"/>
                      </a:lnTo>
                      <a:lnTo>
                        <a:pt x="297" y="11"/>
                      </a:lnTo>
                      <a:lnTo>
                        <a:pt x="293" y="11"/>
                      </a:lnTo>
                      <a:lnTo>
                        <a:pt x="290" y="15"/>
                      </a:lnTo>
                      <a:lnTo>
                        <a:pt x="288" y="20"/>
                      </a:lnTo>
                      <a:lnTo>
                        <a:pt x="288" y="20"/>
                      </a:lnTo>
                      <a:lnTo>
                        <a:pt x="284" y="19"/>
                      </a:lnTo>
                      <a:lnTo>
                        <a:pt x="282" y="19"/>
                      </a:lnTo>
                      <a:lnTo>
                        <a:pt x="279" y="17"/>
                      </a:lnTo>
                      <a:lnTo>
                        <a:pt x="279" y="17"/>
                      </a:lnTo>
                      <a:lnTo>
                        <a:pt x="277" y="17"/>
                      </a:lnTo>
                      <a:lnTo>
                        <a:pt x="277" y="19"/>
                      </a:lnTo>
                      <a:lnTo>
                        <a:pt x="277" y="20"/>
                      </a:lnTo>
                      <a:lnTo>
                        <a:pt x="277" y="20"/>
                      </a:lnTo>
                      <a:lnTo>
                        <a:pt x="277" y="30"/>
                      </a:lnTo>
                      <a:lnTo>
                        <a:pt x="277" y="37"/>
                      </a:lnTo>
                      <a:lnTo>
                        <a:pt x="277" y="46"/>
                      </a:lnTo>
                      <a:lnTo>
                        <a:pt x="277" y="56"/>
                      </a:lnTo>
                      <a:lnTo>
                        <a:pt x="262" y="54"/>
                      </a:lnTo>
                      <a:lnTo>
                        <a:pt x="251" y="52"/>
                      </a:lnTo>
                      <a:lnTo>
                        <a:pt x="242" y="54"/>
                      </a:lnTo>
                      <a:lnTo>
                        <a:pt x="227" y="56"/>
                      </a:lnTo>
                      <a:lnTo>
                        <a:pt x="227" y="57"/>
                      </a:lnTo>
                      <a:lnTo>
                        <a:pt x="227" y="63"/>
                      </a:lnTo>
                      <a:lnTo>
                        <a:pt x="227" y="67"/>
                      </a:lnTo>
                      <a:lnTo>
                        <a:pt x="227" y="72"/>
                      </a:lnTo>
                      <a:lnTo>
                        <a:pt x="227" y="72"/>
                      </a:lnTo>
                      <a:lnTo>
                        <a:pt x="221" y="72"/>
                      </a:lnTo>
                      <a:lnTo>
                        <a:pt x="216" y="72"/>
                      </a:lnTo>
                      <a:lnTo>
                        <a:pt x="216" y="76"/>
                      </a:lnTo>
                      <a:lnTo>
                        <a:pt x="216" y="83"/>
                      </a:lnTo>
                      <a:lnTo>
                        <a:pt x="216" y="83"/>
                      </a:lnTo>
                      <a:lnTo>
                        <a:pt x="210" y="81"/>
                      </a:lnTo>
                      <a:lnTo>
                        <a:pt x="207" y="80"/>
                      </a:lnTo>
                      <a:lnTo>
                        <a:pt x="201" y="78"/>
                      </a:lnTo>
                      <a:lnTo>
                        <a:pt x="197" y="78"/>
                      </a:lnTo>
                      <a:lnTo>
                        <a:pt x="197" y="81"/>
                      </a:lnTo>
                      <a:lnTo>
                        <a:pt x="194" y="87"/>
                      </a:lnTo>
                      <a:lnTo>
                        <a:pt x="186" y="85"/>
                      </a:lnTo>
                      <a:lnTo>
                        <a:pt x="177" y="83"/>
                      </a:lnTo>
                      <a:lnTo>
                        <a:pt x="172" y="81"/>
                      </a:lnTo>
                      <a:lnTo>
                        <a:pt x="164" y="80"/>
                      </a:lnTo>
                      <a:lnTo>
                        <a:pt x="157" y="78"/>
                      </a:lnTo>
                      <a:lnTo>
                        <a:pt x="149" y="78"/>
                      </a:lnTo>
                      <a:lnTo>
                        <a:pt x="142" y="76"/>
                      </a:lnTo>
                      <a:lnTo>
                        <a:pt x="135" y="76"/>
                      </a:lnTo>
                      <a:lnTo>
                        <a:pt x="133" y="85"/>
                      </a:lnTo>
                      <a:lnTo>
                        <a:pt x="133" y="94"/>
                      </a:lnTo>
                      <a:lnTo>
                        <a:pt x="135" y="104"/>
                      </a:lnTo>
                      <a:lnTo>
                        <a:pt x="135" y="113"/>
                      </a:lnTo>
                      <a:lnTo>
                        <a:pt x="137" y="126"/>
                      </a:lnTo>
                      <a:lnTo>
                        <a:pt x="137" y="140"/>
                      </a:lnTo>
                      <a:lnTo>
                        <a:pt x="137" y="157"/>
                      </a:lnTo>
                      <a:lnTo>
                        <a:pt x="137" y="179"/>
                      </a:lnTo>
                      <a:lnTo>
                        <a:pt x="135" y="188"/>
                      </a:lnTo>
                      <a:lnTo>
                        <a:pt x="131" y="196"/>
                      </a:lnTo>
                      <a:lnTo>
                        <a:pt x="129" y="205"/>
                      </a:lnTo>
                      <a:lnTo>
                        <a:pt x="129" y="211"/>
                      </a:lnTo>
                      <a:lnTo>
                        <a:pt x="129" y="218"/>
                      </a:lnTo>
                      <a:lnTo>
                        <a:pt x="129" y="227"/>
                      </a:lnTo>
                      <a:lnTo>
                        <a:pt x="129" y="235"/>
                      </a:lnTo>
                      <a:lnTo>
                        <a:pt x="129" y="244"/>
                      </a:lnTo>
                      <a:lnTo>
                        <a:pt x="133" y="244"/>
                      </a:lnTo>
                      <a:lnTo>
                        <a:pt x="137" y="244"/>
                      </a:lnTo>
                      <a:lnTo>
                        <a:pt x="142" y="244"/>
                      </a:lnTo>
                      <a:lnTo>
                        <a:pt x="146" y="244"/>
                      </a:lnTo>
                      <a:lnTo>
                        <a:pt x="148" y="253"/>
                      </a:lnTo>
                      <a:lnTo>
                        <a:pt x="149" y="260"/>
                      </a:lnTo>
                      <a:lnTo>
                        <a:pt x="151" y="266"/>
                      </a:lnTo>
                      <a:lnTo>
                        <a:pt x="155" y="273"/>
                      </a:lnTo>
                      <a:lnTo>
                        <a:pt x="159" y="281"/>
                      </a:lnTo>
                      <a:lnTo>
                        <a:pt x="162" y="290"/>
                      </a:lnTo>
                      <a:lnTo>
                        <a:pt x="170" y="303"/>
                      </a:lnTo>
                      <a:lnTo>
                        <a:pt x="179" y="319"/>
                      </a:lnTo>
                      <a:lnTo>
                        <a:pt x="179" y="319"/>
                      </a:lnTo>
                      <a:lnTo>
                        <a:pt x="175" y="321"/>
                      </a:lnTo>
                      <a:lnTo>
                        <a:pt x="172" y="323"/>
                      </a:lnTo>
                      <a:lnTo>
                        <a:pt x="170" y="327"/>
                      </a:lnTo>
                      <a:lnTo>
                        <a:pt x="166" y="329"/>
                      </a:lnTo>
                      <a:lnTo>
                        <a:pt x="164" y="330"/>
                      </a:lnTo>
                      <a:lnTo>
                        <a:pt x="162" y="334"/>
                      </a:lnTo>
                      <a:lnTo>
                        <a:pt x="162" y="338"/>
                      </a:lnTo>
                      <a:lnTo>
                        <a:pt x="162" y="338"/>
                      </a:lnTo>
                      <a:lnTo>
                        <a:pt x="161" y="342"/>
                      </a:lnTo>
                      <a:lnTo>
                        <a:pt x="155" y="354"/>
                      </a:lnTo>
                      <a:lnTo>
                        <a:pt x="151" y="371"/>
                      </a:lnTo>
                      <a:lnTo>
                        <a:pt x="151" y="371"/>
                      </a:lnTo>
                      <a:lnTo>
                        <a:pt x="146" y="371"/>
                      </a:lnTo>
                      <a:lnTo>
                        <a:pt x="140" y="371"/>
                      </a:lnTo>
                      <a:lnTo>
                        <a:pt x="140" y="377"/>
                      </a:lnTo>
                      <a:lnTo>
                        <a:pt x="140" y="382"/>
                      </a:lnTo>
                      <a:lnTo>
                        <a:pt x="131" y="382"/>
                      </a:lnTo>
                      <a:lnTo>
                        <a:pt x="120" y="382"/>
                      </a:lnTo>
                      <a:lnTo>
                        <a:pt x="111" y="382"/>
                      </a:lnTo>
                      <a:lnTo>
                        <a:pt x="103" y="382"/>
                      </a:lnTo>
                      <a:lnTo>
                        <a:pt x="103" y="393"/>
                      </a:lnTo>
                      <a:lnTo>
                        <a:pt x="103" y="404"/>
                      </a:lnTo>
                      <a:lnTo>
                        <a:pt x="103" y="414"/>
                      </a:lnTo>
                      <a:lnTo>
                        <a:pt x="103" y="426"/>
                      </a:lnTo>
                      <a:lnTo>
                        <a:pt x="90" y="428"/>
                      </a:lnTo>
                      <a:lnTo>
                        <a:pt x="81" y="430"/>
                      </a:lnTo>
                      <a:lnTo>
                        <a:pt x="70" y="434"/>
                      </a:lnTo>
                      <a:lnTo>
                        <a:pt x="61" y="438"/>
                      </a:lnTo>
                      <a:lnTo>
                        <a:pt x="52" y="441"/>
                      </a:lnTo>
                      <a:lnTo>
                        <a:pt x="42" y="447"/>
                      </a:lnTo>
                      <a:lnTo>
                        <a:pt x="33" y="452"/>
                      </a:lnTo>
                      <a:lnTo>
                        <a:pt x="24" y="458"/>
                      </a:lnTo>
                      <a:lnTo>
                        <a:pt x="22" y="471"/>
                      </a:lnTo>
                      <a:lnTo>
                        <a:pt x="22" y="482"/>
                      </a:lnTo>
                      <a:lnTo>
                        <a:pt x="20" y="493"/>
                      </a:lnTo>
                      <a:lnTo>
                        <a:pt x="20" y="506"/>
                      </a:lnTo>
                      <a:lnTo>
                        <a:pt x="22" y="517"/>
                      </a:lnTo>
                      <a:lnTo>
                        <a:pt x="22" y="517"/>
                      </a:lnTo>
                      <a:lnTo>
                        <a:pt x="22" y="528"/>
                      </a:lnTo>
                      <a:lnTo>
                        <a:pt x="24" y="539"/>
                      </a:lnTo>
                      <a:lnTo>
                        <a:pt x="26" y="552"/>
                      </a:lnTo>
                      <a:lnTo>
                        <a:pt x="24" y="552"/>
                      </a:lnTo>
                      <a:lnTo>
                        <a:pt x="18" y="554"/>
                      </a:lnTo>
                      <a:lnTo>
                        <a:pt x="11" y="556"/>
                      </a:lnTo>
                      <a:lnTo>
                        <a:pt x="6" y="557"/>
                      </a:lnTo>
                      <a:lnTo>
                        <a:pt x="0" y="559"/>
                      </a:lnTo>
                      <a:lnTo>
                        <a:pt x="9" y="563"/>
                      </a:lnTo>
                      <a:lnTo>
                        <a:pt x="18" y="569"/>
                      </a:lnTo>
                      <a:lnTo>
                        <a:pt x="28" y="572"/>
                      </a:lnTo>
                      <a:lnTo>
                        <a:pt x="37" y="578"/>
                      </a:lnTo>
                      <a:lnTo>
                        <a:pt x="37" y="589"/>
                      </a:lnTo>
                      <a:lnTo>
                        <a:pt x="37" y="600"/>
                      </a:lnTo>
                      <a:lnTo>
                        <a:pt x="37" y="611"/>
                      </a:lnTo>
                      <a:lnTo>
                        <a:pt x="37" y="624"/>
                      </a:lnTo>
                      <a:lnTo>
                        <a:pt x="35" y="624"/>
                      </a:lnTo>
                      <a:lnTo>
                        <a:pt x="30" y="624"/>
                      </a:lnTo>
                      <a:lnTo>
                        <a:pt x="26" y="624"/>
                      </a:lnTo>
                      <a:lnTo>
                        <a:pt x="24" y="626"/>
                      </a:lnTo>
                      <a:lnTo>
                        <a:pt x="24" y="629"/>
                      </a:lnTo>
                      <a:lnTo>
                        <a:pt x="22" y="635"/>
                      </a:lnTo>
                      <a:lnTo>
                        <a:pt x="22" y="637"/>
                      </a:lnTo>
                      <a:lnTo>
                        <a:pt x="26" y="639"/>
                      </a:lnTo>
                      <a:lnTo>
                        <a:pt x="31" y="639"/>
                      </a:lnTo>
                      <a:lnTo>
                        <a:pt x="31" y="639"/>
                      </a:lnTo>
                      <a:lnTo>
                        <a:pt x="35" y="641"/>
                      </a:lnTo>
                      <a:lnTo>
                        <a:pt x="39" y="641"/>
                      </a:lnTo>
                      <a:lnTo>
                        <a:pt x="39" y="641"/>
                      </a:lnTo>
                      <a:lnTo>
                        <a:pt x="42" y="642"/>
                      </a:lnTo>
                      <a:lnTo>
                        <a:pt x="46" y="644"/>
                      </a:lnTo>
                      <a:lnTo>
                        <a:pt x="46" y="644"/>
                      </a:lnTo>
                      <a:lnTo>
                        <a:pt x="50" y="646"/>
                      </a:lnTo>
                      <a:lnTo>
                        <a:pt x="50" y="646"/>
                      </a:lnTo>
                      <a:lnTo>
                        <a:pt x="54" y="648"/>
                      </a:lnTo>
                      <a:lnTo>
                        <a:pt x="55" y="652"/>
                      </a:lnTo>
                      <a:lnTo>
                        <a:pt x="55" y="652"/>
                      </a:lnTo>
                      <a:lnTo>
                        <a:pt x="59" y="653"/>
                      </a:lnTo>
                      <a:lnTo>
                        <a:pt x="59" y="653"/>
                      </a:lnTo>
                      <a:lnTo>
                        <a:pt x="61" y="657"/>
                      </a:lnTo>
                      <a:lnTo>
                        <a:pt x="61" y="657"/>
                      </a:lnTo>
                      <a:lnTo>
                        <a:pt x="63" y="659"/>
                      </a:lnTo>
                      <a:lnTo>
                        <a:pt x="63" y="659"/>
                      </a:lnTo>
                      <a:lnTo>
                        <a:pt x="65" y="663"/>
                      </a:lnTo>
                      <a:lnTo>
                        <a:pt x="65" y="663"/>
                      </a:lnTo>
                      <a:lnTo>
                        <a:pt x="66" y="666"/>
                      </a:lnTo>
                      <a:lnTo>
                        <a:pt x="66" y="666"/>
                      </a:lnTo>
                      <a:lnTo>
                        <a:pt x="70" y="672"/>
                      </a:lnTo>
                      <a:lnTo>
                        <a:pt x="72" y="677"/>
                      </a:lnTo>
                      <a:lnTo>
                        <a:pt x="70" y="677"/>
                      </a:lnTo>
                      <a:lnTo>
                        <a:pt x="63" y="679"/>
                      </a:lnTo>
                      <a:lnTo>
                        <a:pt x="59" y="681"/>
                      </a:lnTo>
                      <a:lnTo>
                        <a:pt x="57" y="681"/>
                      </a:lnTo>
                      <a:lnTo>
                        <a:pt x="55" y="683"/>
                      </a:lnTo>
                      <a:lnTo>
                        <a:pt x="54" y="685"/>
                      </a:lnTo>
                      <a:lnTo>
                        <a:pt x="52" y="687"/>
                      </a:lnTo>
                      <a:lnTo>
                        <a:pt x="55" y="703"/>
                      </a:lnTo>
                      <a:lnTo>
                        <a:pt x="59" y="716"/>
                      </a:lnTo>
                      <a:lnTo>
                        <a:pt x="59" y="716"/>
                      </a:lnTo>
                      <a:lnTo>
                        <a:pt x="61" y="725"/>
                      </a:lnTo>
                      <a:lnTo>
                        <a:pt x="63" y="731"/>
                      </a:lnTo>
                      <a:lnTo>
                        <a:pt x="65" y="736"/>
                      </a:lnTo>
                      <a:lnTo>
                        <a:pt x="66" y="740"/>
                      </a:lnTo>
                      <a:lnTo>
                        <a:pt x="68" y="742"/>
                      </a:lnTo>
                      <a:lnTo>
                        <a:pt x="72" y="746"/>
                      </a:lnTo>
                      <a:lnTo>
                        <a:pt x="81" y="742"/>
                      </a:lnTo>
                      <a:lnTo>
                        <a:pt x="90" y="738"/>
                      </a:lnTo>
                      <a:lnTo>
                        <a:pt x="100" y="735"/>
                      </a:lnTo>
                      <a:lnTo>
                        <a:pt x="109" y="731"/>
                      </a:lnTo>
                      <a:lnTo>
                        <a:pt x="111" y="727"/>
                      </a:lnTo>
                      <a:lnTo>
                        <a:pt x="111" y="727"/>
                      </a:lnTo>
                      <a:lnTo>
                        <a:pt x="111" y="725"/>
                      </a:lnTo>
                      <a:lnTo>
                        <a:pt x="111" y="725"/>
                      </a:lnTo>
                      <a:lnTo>
                        <a:pt x="113" y="722"/>
                      </a:lnTo>
                      <a:lnTo>
                        <a:pt x="114" y="718"/>
                      </a:lnTo>
                      <a:lnTo>
                        <a:pt x="114" y="718"/>
                      </a:lnTo>
                      <a:lnTo>
                        <a:pt x="122" y="716"/>
                      </a:lnTo>
                      <a:lnTo>
                        <a:pt x="127" y="716"/>
                      </a:lnTo>
                      <a:lnTo>
                        <a:pt x="135" y="714"/>
                      </a:lnTo>
                      <a:lnTo>
                        <a:pt x="142" y="712"/>
                      </a:lnTo>
                      <a:lnTo>
                        <a:pt x="142" y="714"/>
                      </a:lnTo>
                      <a:lnTo>
                        <a:pt x="144" y="718"/>
                      </a:lnTo>
                      <a:lnTo>
                        <a:pt x="146" y="722"/>
                      </a:lnTo>
                      <a:lnTo>
                        <a:pt x="149" y="722"/>
                      </a:lnTo>
                      <a:lnTo>
                        <a:pt x="155" y="720"/>
                      </a:lnTo>
                      <a:lnTo>
                        <a:pt x="159" y="720"/>
                      </a:lnTo>
                      <a:lnTo>
                        <a:pt x="159" y="720"/>
                      </a:lnTo>
                      <a:lnTo>
                        <a:pt x="164" y="718"/>
                      </a:lnTo>
                      <a:lnTo>
                        <a:pt x="164" y="720"/>
                      </a:lnTo>
                      <a:lnTo>
                        <a:pt x="164" y="724"/>
                      </a:lnTo>
                      <a:lnTo>
                        <a:pt x="164" y="727"/>
                      </a:lnTo>
                      <a:lnTo>
                        <a:pt x="164" y="731"/>
                      </a:lnTo>
                      <a:lnTo>
                        <a:pt x="164" y="736"/>
                      </a:lnTo>
                      <a:lnTo>
                        <a:pt x="164" y="736"/>
                      </a:lnTo>
                      <a:lnTo>
                        <a:pt x="159" y="736"/>
                      </a:lnTo>
                      <a:lnTo>
                        <a:pt x="153" y="736"/>
                      </a:lnTo>
                      <a:lnTo>
                        <a:pt x="149" y="751"/>
                      </a:lnTo>
                      <a:lnTo>
                        <a:pt x="144" y="766"/>
                      </a:lnTo>
                      <a:lnTo>
                        <a:pt x="140" y="779"/>
                      </a:lnTo>
                      <a:lnTo>
                        <a:pt x="135" y="790"/>
                      </a:lnTo>
                      <a:lnTo>
                        <a:pt x="135" y="792"/>
                      </a:lnTo>
                      <a:lnTo>
                        <a:pt x="133" y="797"/>
                      </a:lnTo>
                      <a:lnTo>
                        <a:pt x="133" y="803"/>
                      </a:lnTo>
                      <a:lnTo>
                        <a:pt x="131" y="810"/>
                      </a:lnTo>
                      <a:lnTo>
                        <a:pt x="129" y="816"/>
                      </a:lnTo>
                      <a:lnTo>
                        <a:pt x="127" y="823"/>
                      </a:lnTo>
                      <a:lnTo>
                        <a:pt x="127" y="831"/>
                      </a:lnTo>
                      <a:lnTo>
                        <a:pt x="127" y="838"/>
                      </a:lnTo>
                      <a:lnTo>
                        <a:pt x="127" y="845"/>
                      </a:lnTo>
                      <a:lnTo>
                        <a:pt x="125" y="845"/>
                      </a:lnTo>
                      <a:lnTo>
                        <a:pt x="124" y="847"/>
                      </a:lnTo>
                      <a:lnTo>
                        <a:pt x="120" y="847"/>
                      </a:lnTo>
                      <a:lnTo>
                        <a:pt x="116" y="847"/>
                      </a:lnTo>
                      <a:lnTo>
                        <a:pt x="114" y="849"/>
                      </a:lnTo>
                      <a:lnTo>
                        <a:pt x="113" y="858"/>
                      </a:lnTo>
                      <a:lnTo>
                        <a:pt x="113" y="866"/>
                      </a:lnTo>
                      <a:lnTo>
                        <a:pt x="111" y="875"/>
                      </a:lnTo>
                      <a:lnTo>
                        <a:pt x="111" y="882"/>
                      </a:lnTo>
                      <a:lnTo>
                        <a:pt x="120" y="880"/>
                      </a:lnTo>
                      <a:lnTo>
                        <a:pt x="133" y="877"/>
                      </a:lnTo>
                      <a:lnTo>
                        <a:pt x="144" y="875"/>
                      </a:lnTo>
                      <a:lnTo>
                        <a:pt x="155" y="871"/>
                      </a:lnTo>
                      <a:lnTo>
                        <a:pt x="161" y="882"/>
                      </a:lnTo>
                      <a:lnTo>
                        <a:pt x="166" y="891"/>
                      </a:lnTo>
                      <a:lnTo>
                        <a:pt x="172" y="901"/>
                      </a:lnTo>
                      <a:lnTo>
                        <a:pt x="175" y="910"/>
                      </a:lnTo>
                      <a:lnTo>
                        <a:pt x="179" y="910"/>
                      </a:lnTo>
                      <a:lnTo>
                        <a:pt x="185" y="910"/>
                      </a:lnTo>
                      <a:lnTo>
                        <a:pt x="188" y="910"/>
                      </a:lnTo>
                      <a:lnTo>
                        <a:pt x="192" y="910"/>
                      </a:lnTo>
                      <a:lnTo>
                        <a:pt x="194" y="904"/>
                      </a:lnTo>
                      <a:lnTo>
                        <a:pt x="194" y="904"/>
                      </a:lnTo>
                      <a:lnTo>
                        <a:pt x="196" y="899"/>
                      </a:lnTo>
                      <a:lnTo>
                        <a:pt x="196" y="899"/>
                      </a:lnTo>
                      <a:lnTo>
                        <a:pt x="199" y="901"/>
                      </a:lnTo>
                      <a:lnTo>
                        <a:pt x="203" y="903"/>
                      </a:lnTo>
                      <a:lnTo>
                        <a:pt x="205" y="903"/>
                      </a:lnTo>
                      <a:lnTo>
                        <a:pt x="209" y="904"/>
                      </a:lnTo>
                      <a:lnTo>
                        <a:pt x="209" y="899"/>
                      </a:lnTo>
                      <a:lnTo>
                        <a:pt x="209" y="893"/>
                      </a:lnTo>
                      <a:lnTo>
                        <a:pt x="209" y="893"/>
                      </a:lnTo>
                      <a:lnTo>
                        <a:pt x="214" y="891"/>
                      </a:lnTo>
                      <a:lnTo>
                        <a:pt x="220" y="890"/>
                      </a:lnTo>
                      <a:lnTo>
                        <a:pt x="225" y="888"/>
                      </a:lnTo>
                      <a:lnTo>
                        <a:pt x="229" y="888"/>
                      </a:lnTo>
                      <a:lnTo>
                        <a:pt x="229" y="882"/>
                      </a:lnTo>
                      <a:lnTo>
                        <a:pt x="229" y="877"/>
                      </a:lnTo>
                      <a:lnTo>
                        <a:pt x="231" y="877"/>
                      </a:lnTo>
                      <a:lnTo>
                        <a:pt x="234" y="875"/>
                      </a:lnTo>
                      <a:lnTo>
                        <a:pt x="238" y="873"/>
                      </a:lnTo>
                      <a:lnTo>
                        <a:pt x="238" y="873"/>
                      </a:lnTo>
                      <a:lnTo>
                        <a:pt x="244" y="873"/>
                      </a:lnTo>
                      <a:lnTo>
                        <a:pt x="247" y="871"/>
                      </a:lnTo>
                      <a:lnTo>
                        <a:pt x="251" y="864"/>
                      </a:lnTo>
                      <a:lnTo>
                        <a:pt x="255" y="856"/>
                      </a:lnTo>
                      <a:lnTo>
                        <a:pt x="258" y="847"/>
                      </a:lnTo>
                      <a:lnTo>
                        <a:pt x="262" y="840"/>
                      </a:lnTo>
                      <a:lnTo>
                        <a:pt x="262" y="840"/>
                      </a:lnTo>
                      <a:lnTo>
                        <a:pt x="266" y="840"/>
                      </a:lnTo>
                      <a:lnTo>
                        <a:pt x="269" y="838"/>
                      </a:lnTo>
                      <a:lnTo>
                        <a:pt x="271" y="838"/>
                      </a:lnTo>
                      <a:lnTo>
                        <a:pt x="275" y="836"/>
                      </a:lnTo>
                      <a:lnTo>
                        <a:pt x="277" y="836"/>
                      </a:lnTo>
                      <a:lnTo>
                        <a:pt x="279" y="834"/>
                      </a:lnTo>
                      <a:lnTo>
                        <a:pt x="281" y="832"/>
                      </a:lnTo>
                      <a:lnTo>
                        <a:pt x="282" y="831"/>
                      </a:lnTo>
                      <a:lnTo>
                        <a:pt x="282" y="829"/>
                      </a:lnTo>
                      <a:lnTo>
                        <a:pt x="282" y="829"/>
                      </a:lnTo>
                      <a:lnTo>
                        <a:pt x="284" y="825"/>
                      </a:lnTo>
                      <a:lnTo>
                        <a:pt x="286" y="823"/>
                      </a:lnTo>
                      <a:lnTo>
                        <a:pt x="286" y="820"/>
                      </a:lnTo>
                      <a:lnTo>
                        <a:pt x="288" y="814"/>
                      </a:lnTo>
                      <a:lnTo>
                        <a:pt x="290" y="805"/>
                      </a:lnTo>
                      <a:lnTo>
                        <a:pt x="292" y="805"/>
                      </a:lnTo>
                      <a:lnTo>
                        <a:pt x="295" y="805"/>
                      </a:lnTo>
                      <a:lnTo>
                        <a:pt x="299" y="805"/>
                      </a:lnTo>
                      <a:lnTo>
                        <a:pt x="303" y="805"/>
                      </a:lnTo>
                      <a:lnTo>
                        <a:pt x="308" y="805"/>
                      </a:lnTo>
                      <a:lnTo>
                        <a:pt x="308" y="807"/>
                      </a:lnTo>
                      <a:lnTo>
                        <a:pt x="308" y="812"/>
                      </a:lnTo>
                      <a:lnTo>
                        <a:pt x="308" y="816"/>
                      </a:lnTo>
                      <a:lnTo>
                        <a:pt x="312" y="816"/>
                      </a:lnTo>
                      <a:lnTo>
                        <a:pt x="319" y="816"/>
                      </a:lnTo>
                      <a:lnTo>
                        <a:pt x="321" y="831"/>
                      </a:lnTo>
                      <a:lnTo>
                        <a:pt x="325" y="844"/>
                      </a:lnTo>
                      <a:lnTo>
                        <a:pt x="327" y="858"/>
                      </a:lnTo>
                      <a:lnTo>
                        <a:pt x="330" y="871"/>
                      </a:lnTo>
                      <a:lnTo>
                        <a:pt x="334" y="871"/>
                      </a:lnTo>
                      <a:lnTo>
                        <a:pt x="340" y="871"/>
                      </a:lnTo>
                      <a:lnTo>
                        <a:pt x="341" y="871"/>
                      </a:lnTo>
                      <a:lnTo>
                        <a:pt x="341" y="879"/>
                      </a:lnTo>
                      <a:lnTo>
                        <a:pt x="343" y="888"/>
                      </a:lnTo>
                      <a:lnTo>
                        <a:pt x="345" y="895"/>
                      </a:lnTo>
                      <a:lnTo>
                        <a:pt x="347" y="904"/>
                      </a:lnTo>
                      <a:lnTo>
                        <a:pt x="345" y="904"/>
                      </a:lnTo>
                      <a:lnTo>
                        <a:pt x="338" y="904"/>
                      </a:lnTo>
                      <a:lnTo>
                        <a:pt x="329" y="906"/>
                      </a:lnTo>
                      <a:lnTo>
                        <a:pt x="321" y="906"/>
                      </a:lnTo>
                      <a:lnTo>
                        <a:pt x="312" y="908"/>
                      </a:lnTo>
                      <a:lnTo>
                        <a:pt x="305" y="908"/>
                      </a:lnTo>
                      <a:lnTo>
                        <a:pt x="297" y="908"/>
                      </a:lnTo>
                      <a:lnTo>
                        <a:pt x="288" y="910"/>
                      </a:lnTo>
                      <a:lnTo>
                        <a:pt x="281" y="910"/>
                      </a:lnTo>
                      <a:lnTo>
                        <a:pt x="282" y="915"/>
                      </a:lnTo>
                      <a:lnTo>
                        <a:pt x="282" y="921"/>
                      </a:lnTo>
                      <a:lnTo>
                        <a:pt x="284" y="927"/>
                      </a:lnTo>
                      <a:lnTo>
                        <a:pt x="286" y="930"/>
                      </a:lnTo>
                      <a:lnTo>
                        <a:pt x="290" y="932"/>
                      </a:lnTo>
                      <a:lnTo>
                        <a:pt x="292" y="934"/>
                      </a:lnTo>
                      <a:lnTo>
                        <a:pt x="292" y="934"/>
                      </a:lnTo>
                      <a:lnTo>
                        <a:pt x="295" y="934"/>
                      </a:lnTo>
                      <a:lnTo>
                        <a:pt x="301" y="936"/>
                      </a:lnTo>
                      <a:lnTo>
                        <a:pt x="299" y="938"/>
                      </a:lnTo>
                      <a:lnTo>
                        <a:pt x="297" y="939"/>
                      </a:lnTo>
                      <a:lnTo>
                        <a:pt x="297" y="943"/>
                      </a:lnTo>
                      <a:lnTo>
                        <a:pt x="295" y="947"/>
                      </a:lnTo>
                      <a:lnTo>
                        <a:pt x="295" y="947"/>
                      </a:lnTo>
                      <a:lnTo>
                        <a:pt x="293" y="949"/>
                      </a:lnTo>
                      <a:lnTo>
                        <a:pt x="293" y="949"/>
                      </a:lnTo>
                      <a:lnTo>
                        <a:pt x="290" y="951"/>
                      </a:lnTo>
                      <a:lnTo>
                        <a:pt x="288" y="952"/>
                      </a:lnTo>
                      <a:lnTo>
                        <a:pt x="288" y="952"/>
                      </a:lnTo>
                      <a:lnTo>
                        <a:pt x="284" y="952"/>
                      </a:lnTo>
                      <a:lnTo>
                        <a:pt x="284" y="952"/>
                      </a:lnTo>
                      <a:lnTo>
                        <a:pt x="281" y="954"/>
                      </a:lnTo>
                      <a:lnTo>
                        <a:pt x="277" y="962"/>
                      </a:lnTo>
                      <a:lnTo>
                        <a:pt x="273" y="973"/>
                      </a:lnTo>
                      <a:lnTo>
                        <a:pt x="269" y="982"/>
                      </a:lnTo>
                      <a:lnTo>
                        <a:pt x="266" y="993"/>
                      </a:lnTo>
                      <a:lnTo>
                        <a:pt x="266" y="993"/>
                      </a:lnTo>
                      <a:lnTo>
                        <a:pt x="262" y="997"/>
                      </a:lnTo>
                      <a:lnTo>
                        <a:pt x="260" y="1002"/>
                      </a:lnTo>
                      <a:lnTo>
                        <a:pt x="258" y="1006"/>
                      </a:lnTo>
                      <a:lnTo>
                        <a:pt x="258" y="1006"/>
                      </a:lnTo>
                      <a:lnTo>
                        <a:pt x="255" y="1010"/>
                      </a:lnTo>
                      <a:lnTo>
                        <a:pt x="255" y="1010"/>
                      </a:lnTo>
                      <a:lnTo>
                        <a:pt x="251" y="1013"/>
                      </a:lnTo>
                      <a:lnTo>
                        <a:pt x="245" y="1015"/>
                      </a:lnTo>
                      <a:lnTo>
                        <a:pt x="245" y="1015"/>
                      </a:lnTo>
                      <a:lnTo>
                        <a:pt x="242" y="1017"/>
                      </a:lnTo>
                      <a:lnTo>
                        <a:pt x="238" y="1019"/>
                      </a:lnTo>
                      <a:lnTo>
                        <a:pt x="238" y="1023"/>
                      </a:lnTo>
                      <a:lnTo>
                        <a:pt x="238" y="1023"/>
                      </a:lnTo>
                      <a:lnTo>
                        <a:pt x="240" y="1026"/>
                      </a:lnTo>
                      <a:lnTo>
                        <a:pt x="242" y="1030"/>
                      </a:lnTo>
                      <a:lnTo>
                        <a:pt x="242" y="1030"/>
                      </a:lnTo>
                      <a:lnTo>
                        <a:pt x="244" y="1034"/>
                      </a:lnTo>
                      <a:lnTo>
                        <a:pt x="244" y="1039"/>
                      </a:lnTo>
                      <a:lnTo>
                        <a:pt x="244" y="1043"/>
                      </a:lnTo>
                      <a:lnTo>
                        <a:pt x="244" y="1047"/>
                      </a:lnTo>
                      <a:lnTo>
                        <a:pt x="244" y="1050"/>
                      </a:lnTo>
                      <a:lnTo>
                        <a:pt x="244" y="1058"/>
                      </a:lnTo>
                      <a:lnTo>
                        <a:pt x="244" y="1058"/>
                      </a:lnTo>
                      <a:lnTo>
                        <a:pt x="244" y="1067"/>
                      </a:lnTo>
                      <a:lnTo>
                        <a:pt x="244" y="1076"/>
                      </a:lnTo>
                      <a:lnTo>
                        <a:pt x="244" y="1085"/>
                      </a:lnTo>
                      <a:lnTo>
                        <a:pt x="242" y="1085"/>
                      </a:lnTo>
                      <a:lnTo>
                        <a:pt x="238" y="1087"/>
                      </a:lnTo>
                      <a:lnTo>
                        <a:pt x="233" y="1089"/>
                      </a:lnTo>
                      <a:lnTo>
                        <a:pt x="234" y="1093"/>
                      </a:lnTo>
                      <a:lnTo>
                        <a:pt x="236" y="1098"/>
                      </a:lnTo>
                      <a:lnTo>
                        <a:pt x="240" y="1104"/>
                      </a:lnTo>
                      <a:lnTo>
                        <a:pt x="242" y="1109"/>
                      </a:lnTo>
                      <a:lnTo>
                        <a:pt x="245" y="1107"/>
                      </a:lnTo>
                      <a:lnTo>
                        <a:pt x="249" y="1107"/>
                      </a:lnTo>
                      <a:lnTo>
                        <a:pt x="255" y="1106"/>
                      </a:lnTo>
                      <a:lnTo>
                        <a:pt x="260" y="1106"/>
                      </a:lnTo>
                      <a:lnTo>
                        <a:pt x="260" y="1106"/>
                      </a:lnTo>
                      <a:lnTo>
                        <a:pt x="258" y="1109"/>
                      </a:lnTo>
                      <a:lnTo>
                        <a:pt x="257" y="1111"/>
                      </a:lnTo>
                      <a:lnTo>
                        <a:pt x="257" y="1115"/>
                      </a:lnTo>
                      <a:lnTo>
                        <a:pt x="257" y="1115"/>
                      </a:lnTo>
                      <a:lnTo>
                        <a:pt x="255" y="1117"/>
                      </a:lnTo>
                      <a:lnTo>
                        <a:pt x="266" y="1120"/>
                      </a:lnTo>
                      <a:lnTo>
                        <a:pt x="275" y="1124"/>
                      </a:lnTo>
                      <a:lnTo>
                        <a:pt x="275" y="1124"/>
                      </a:lnTo>
                      <a:lnTo>
                        <a:pt x="279" y="1126"/>
                      </a:lnTo>
                      <a:lnTo>
                        <a:pt x="282" y="1126"/>
                      </a:lnTo>
                      <a:lnTo>
                        <a:pt x="282" y="1126"/>
                      </a:lnTo>
                      <a:lnTo>
                        <a:pt x="284" y="1128"/>
                      </a:lnTo>
                      <a:lnTo>
                        <a:pt x="284" y="1128"/>
                      </a:lnTo>
                      <a:lnTo>
                        <a:pt x="288" y="1131"/>
                      </a:lnTo>
                      <a:lnTo>
                        <a:pt x="290" y="1133"/>
                      </a:lnTo>
                      <a:lnTo>
                        <a:pt x="290" y="1133"/>
                      </a:lnTo>
                      <a:lnTo>
                        <a:pt x="293" y="1135"/>
                      </a:lnTo>
                      <a:lnTo>
                        <a:pt x="295" y="1139"/>
                      </a:lnTo>
                      <a:lnTo>
                        <a:pt x="297" y="1141"/>
                      </a:lnTo>
                      <a:lnTo>
                        <a:pt x="303" y="1150"/>
                      </a:lnTo>
                      <a:lnTo>
                        <a:pt x="308" y="1159"/>
                      </a:lnTo>
                      <a:lnTo>
                        <a:pt x="314" y="1159"/>
                      </a:lnTo>
                      <a:lnTo>
                        <a:pt x="321" y="1159"/>
                      </a:lnTo>
                      <a:lnTo>
                        <a:pt x="321" y="1161"/>
                      </a:lnTo>
                      <a:lnTo>
                        <a:pt x="321" y="1170"/>
                      </a:lnTo>
                      <a:lnTo>
                        <a:pt x="321" y="1179"/>
                      </a:lnTo>
                      <a:lnTo>
                        <a:pt x="321" y="1189"/>
                      </a:lnTo>
                      <a:lnTo>
                        <a:pt x="321" y="1198"/>
                      </a:lnTo>
                      <a:lnTo>
                        <a:pt x="323" y="1196"/>
                      </a:lnTo>
                      <a:lnTo>
                        <a:pt x="325" y="1196"/>
                      </a:lnTo>
                      <a:lnTo>
                        <a:pt x="329" y="1194"/>
                      </a:lnTo>
                      <a:lnTo>
                        <a:pt x="330" y="1194"/>
                      </a:lnTo>
                      <a:lnTo>
                        <a:pt x="332" y="1190"/>
                      </a:lnTo>
                      <a:lnTo>
                        <a:pt x="332" y="1189"/>
                      </a:lnTo>
                      <a:lnTo>
                        <a:pt x="332" y="1187"/>
                      </a:lnTo>
                      <a:lnTo>
                        <a:pt x="334" y="1185"/>
                      </a:lnTo>
                      <a:lnTo>
                        <a:pt x="336" y="1181"/>
                      </a:lnTo>
                      <a:lnTo>
                        <a:pt x="336" y="1181"/>
                      </a:lnTo>
                      <a:lnTo>
                        <a:pt x="341" y="1181"/>
                      </a:lnTo>
                      <a:lnTo>
                        <a:pt x="347" y="1181"/>
                      </a:lnTo>
                      <a:lnTo>
                        <a:pt x="347" y="1176"/>
                      </a:lnTo>
                      <a:lnTo>
                        <a:pt x="347" y="1170"/>
                      </a:lnTo>
                      <a:lnTo>
                        <a:pt x="347" y="1165"/>
                      </a:lnTo>
                      <a:lnTo>
                        <a:pt x="347" y="1159"/>
                      </a:lnTo>
                      <a:lnTo>
                        <a:pt x="347" y="1159"/>
                      </a:lnTo>
                      <a:lnTo>
                        <a:pt x="354" y="1161"/>
                      </a:lnTo>
                      <a:lnTo>
                        <a:pt x="364" y="1161"/>
                      </a:lnTo>
                      <a:lnTo>
                        <a:pt x="371" y="1163"/>
                      </a:lnTo>
                      <a:lnTo>
                        <a:pt x="378" y="1165"/>
                      </a:lnTo>
                      <a:lnTo>
                        <a:pt x="380" y="1161"/>
                      </a:lnTo>
                      <a:lnTo>
                        <a:pt x="380" y="1161"/>
                      </a:lnTo>
                      <a:lnTo>
                        <a:pt x="384" y="1155"/>
                      </a:lnTo>
                      <a:lnTo>
                        <a:pt x="395" y="1159"/>
                      </a:lnTo>
                      <a:lnTo>
                        <a:pt x="406" y="1161"/>
                      </a:lnTo>
                      <a:lnTo>
                        <a:pt x="415" y="1165"/>
                      </a:lnTo>
                      <a:lnTo>
                        <a:pt x="424" y="1168"/>
                      </a:lnTo>
                      <a:lnTo>
                        <a:pt x="434" y="1170"/>
                      </a:lnTo>
                      <a:lnTo>
                        <a:pt x="445" y="1172"/>
                      </a:lnTo>
                      <a:lnTo>
                        <a:pt x="456" y="1174"/>
                      </a:lnTo>
                      <a:lnTo>
                        <a:pt x="467" y="1174"/>
                      </a:lnTo>
                      <a:lnTo>
                        <a:pt x="467" y="1170"/>
                      </a:lnTo>
                      <a:lnTo>
                        <a:pt x="467" y="1165"/>
                      </a:lnTo>
                      <a:lnTo>
                        <a:pt x="467" y="1165"/>
                      </a:lnTo>
                      <a:lnTo>
                        <a:pt x="472" y="1165"/>
                      </a:lnTo>
                      <a:lnTo>
                        <a:pt x="478" y="1165"/>
                      </a:lnTo>
                      <a:lnTo>
                        <a:pt x="478" y="1159"/>
                      </a:lnTo>
                      <a:lnTo>
                        <a:pt x="478" y="1154"/>
                      </a:lnTo>
                      <a:lnTo>
                        <a:pt x="489" y="1154"/>
                      </a:lnTo>
                      <a:lnTo>
                        <a:pt x="500" y="1154"/>
                      </a:lnTo>
                      <a:lnTo>
                        <a:pt x="511" y="1154"/>
                      </a:lnTo>
                      <a:lnTo>
                        <a:pt x="524" y="1154"/>
                      </a:lnTo>
                      <a:lnTo>
                        <a:pt x="522" y="1154"/>
                      </a:lnTo>
                      <a:lnTo>
                        <a:pt x="522" y="1159"/>
                      </a:lnTo>
                      <a:lnTo>
                        <a:pt x="520" y="1161"/>
                      </a:lnTo>
                      <a:lnTo>
                        <a:pt x="519" y="1165"/>
                      </a:lnTo>
                      <a:lnTo>
                        <a:pt x="519" y="1165"/>
                      </a:lnTo>
                      <a:lnTo>
                        <a:pt x="517" y="1166"/>
                      </a:lnTo>
                      <a:lnTo>
                        <a:pt x="515" y="1170"/>
                      </a:lnTo>
                      <a:lnTo>
                        <a:pt x="515" y="1170"/>
                      </a:lnTo>
                      <a:lnTo>
                        <a:pt x="511" y="1172"/>
                      </a:lnTo>
                      <a:lnTo>
                        <a:pt x="508" y="1178"/>
                      </a:lnTo>
                      <a:lnTo>
                        <a:pt x="502" y="1181"/>
                      </a:lnTo>
                      <a:lnTo>
                        <a:pt x="504" y="1181"/>
                      </a:lnTo>
                      <a:lnTo>
                        <a:pt x="509" y="1183"/>
                      </a:lnTo>
                      <a:lnTo>
                        <a:pt x="513" y="1183"/>
                      </a:lnTo>
                      <a:lnTo>
                        <a:pt x="513" y="1183"/>
                      </a:lnTo>
                      <a:lnTo>
                        <a:pt x="519" y="1185"/>
                      </a:lnTo>
                      <a:lnTo>
                        <a:pt x="519" y="1185"/>
                      </a:lnTo>
                      <a:lnTo>
                        <a:pt x="520" y="1190"/>
                      </a:lnTo>
                      <a:lnTo>
                        <a:pt x="520" y="1196"/>
                      </a:lnTo>
                      <a:lnTo>
                        <a:pt x="522" y="1202"/>
                      </a:lnTo>
                      <a:lnTo>
                        <a:pt x="524" y="1207"/>
                      </a:lnTo>
                      <a:lnTo>
                        <a:pt x="528" y="1209"/>
                      </a:lnTo>
                      <a:lnTo>
                        <a:pt x="533" y="1213"/>
                      </a:lnTo>
                      <a:lnTo>
                        <a:pt x="533" y="1213"/>
                      </a:lnTo>
                      <a:lnTo>
                        <a:pt x="533" y="1213"/>
                      </a:lnTo>
                      <a:lnTo>
                        <a:pt x="537" y="1214"/>
                      </a:lnTo>
                      <a:lnTo>
                        <a:pt x="537" y="1214"/>
                      </a:lnTo>
                      <a:lnTo>
                        <a:pt x="537" y="1216"/>
                      </a:lnTo>
                      <a:lnTo>
                        <a:pt x="539" y="1218"/>
                      </a:lnTo>
                      <a:lnTo>
                        <a:pt x="539" y="1218"/>
                      </a:lnTo>
                      <a:lnTo>
                        <a:pt x="541" y="1222"/>
                      </a:lnTo>
                      <a:lnTo>
                        <a:pt x="541" y="1222"/>
                      </a:lnTo>
                      <a:lnTo>
                        <a:pt x="543" y="1226"/>
                      </a:lnTo>
                      <a:lnTo>
                        <a:pt x="543" y="1226"/>
                      </a:lnTo>
                      <a:lnTo>
                        <a:pt x="543" y="1229"/>
                      </a:lnTo>
                      <a:lnTo>
                        <a:pt x="543" y="1229"/>
                      </a:lnTo>
                      <a:lnTo>
                        <a:pt x="543" y="1233"/>
                      </a:lnTo>
                      <a:lnTo>
                        <a:pt x="543" y="1233"/>
                      </a:lnTo>
                      <a:lnTo>
                        <a:pt x="543" y="1237"/>
                      </a:lnTo>
                      <a:lnTo>
                        <a:pt x="541" y="1240"/>
                      </a:lnTo>
                      <a:lnTo>
                        <a:pt x="541" y="1246"/>
                      </a:lnTo>
                      <a:lnTo>
                        <a:pt x="539" y="1249"/>
                      </a:lnTo>
                      <a:lnTo>
                        <a:pt x="535" y="1259"/>
                      </a:lnTo>
                      <a:lnTo>
                        <a:pt x="532" y="1268"/>
                      </a:lnTo>
                      <a:lnTo>
                        <a:pt x="533" y="1270"/>
                      </a:lnTo>
                      <a:lnTo>
                        <a:pt x="535" y="1272"/>
                      </a:lnTo>
                      <a:lnTo>
                        <a:pt x="535" y="1272"/>
                      </a:lnTo>
                      <a:lnTo>
                        <a:pt x="537" y="1273"/>
                      </a:lnTo>
                      <a:lnTo>
                        <a:pt x="537" y="1273"/>
                      </a:lnTo>
                      <a:lnTo>
                        <a:pt x="537" y="1277"/>
                      </a:lnTo>
                      <a:lnTo>
                        <a:pt x="541" y="1290"/>
                      </a:lnTo>
                      <a:lnTo>
                        <a:pt x="546" y="1310"/>
                      </a:lnTo>
                      <a:lnTo>
                        <a:pt x="548" y="1309"/>
                      </a:lnTo>
                      <a:lnTo>
                        <a:pt x="548" y="1309"/>
                      </a:lnTo>
                      <a:lnTo>
                        <a:pt x="554" y="1309"/>
                      </a:lnTo>
                      <a:lnTo>
                        <a:pt x="557" y="1307"/>
                      </a:lnTo>
                      <a:lnTo>
                        <a:pt x="557" y="1307"/>
                      </a:lnTo>
                      <a:lnTo>
                        <a:pt x="561" y="1305"/>
                      </a:lnTo>
                      <a:lnTo>
                        <a:pt x="559" y="1294"/>
                      </a:lnTo>
                      <a:lnTo>
                        <a:pt x="557" y="1283"/>
                      </a:lnTo>
                      <a:lnTo>
                        <a:pt x="556" y="1270"/>
                      </a:lnTo>
                      <a:lnTo>
                        <a:pt x="556" y="1257"/>
                      </a:lnTo>
                      <a:lnTo>
                        <a:pt x="563" y="1253"/>
                      </a:lnTo>
                      <a:lnTo>
                        <a:pt x="570" y="1249"/>
                      </a:lnTo>
                      <a:lnTo>
                        <a:pt x="578" y="1246"/>
                      </a:lnTo>
                      <a:lnTo>
                        <a:pt x="585" y="1242"/>
                      </a:lnTo>
                      <a:lnTo>
                        <a:pt x="587" y="1242"/>
                      </a:lnTo>
                      <a:lnTo>
                        <a:pt x="591" y="1244"/>
                      </a:lnTo>
                      <a:lnTo>
                        <a:pt x="596" y="1248"/>
                      </a:lnTo>
                      <a:lnTo>
                        <a:pt x="602" y="1249"/>
                      </a:lnTo>
                      <a:lnTo>
                        <a:pt x="605" y="1251"/>
                      </a:lnTo>
                      <a:lnTo>
                        <a:pt x="609" y="1246"/>
                      </a:lnTo>
                      <a:lnTo>
                        <a:pt x="615" y="1240"/>
                      </a:lnTo>
                      <a:lnTo>
                        <a:pt x="615" y="1240"/>
                      </a:lnTo>
                      <a:lnTo>
                        <a:pt x="622" y="1240"/>
                      </a:lnTo>
                      <a:lnTo>
                        <a:pt x="629" y="1240"/>
                      </a:lnTo>
                      <a:lnTo>
                        <a:pt x="635" y="1240"/>
                      </a:lnTo>
                      <a:lnTo>
                        <a:pt x="640" y="1240"/>
                      </a:lnTo>
                      <a:lnTo>
                        <a:pt x="644" y="1238"/>
                      </a:lnTo>
                      <a:lnTo>
                        <a:pt x="650" y="1237"/>
                      </a:lnTo>
                      <a:lnTo>
                        <a:pt x="653" y="1233"/>
                      </a:lnTo>
                      <a:lnTo>
                        <a:pt x="655" y="1231"/>
                      </a:lnTo>
                      <a:lnTo>
                        <a:pt x="659" y="1227"/>
                      </a:lnTo>
                      <a:lnTo>
                        <a:pt x="661" y="1224"/>
                      </a:lnTo>
                      <a:lnTo>
                        <a:pt x="663" y="1220"/>
                      </a:lnTo>
                      <a:lnTo>
                        <a:pt x="664" y="1214"/>
                      </a:lnTo>
                      <a:lnTo>
                        <a:pt x="664" y="1209"/>
                      </a:lnTo>
                      <a:lnTo>
                        <a:pt x="666" y="1203"/>
                      </a:lnTo>
                      <a:lnTo>
                        <a:pt x="666" y="1198"/>
                      </a:lnTo>
                      <a:lnTo>
                        <a:pt x="664" y="1189"/>
                      </a:lnTo>
                      <a:lnTo>
                        <a:pt x="666" y="1189"/>
                      </a:lnTo>
                      <a:lnTo>
                        <a:pt x="672" y="1187"/>
                      </a:lnTo>
                      <a:lnTo>
                        <a:pt x="675" y="1185"/>
                      </a:lnTo>
                      <a:lnTo>
                        <a:pt x="681" y="1183"/>
                      </a:lnTo>
                      <a:lnTo>
                        <a:pt x="687" y="1179"/>
                      </a:lnTo>
                      <a:lnTo>
                        <a:pt x="687" y="1176"/>
                      </a:lnTo>
                      <a:lnTo>
                        <a:pt x="687" y="1172"/>
                      </a:lnTo>
                      <a:lnTo>
                        <a:pt x="687" y="1168"/>
                      </a:lnTo>
                      <a:lnTo>
                        <a:pt x="687" y="1163"/>
                      </a:lnTo>
                      <a:lnTo>
                        <a:pt x="687" y="1163"/>
                      </a:lnTo>
                      <a:lnTo>
                        <a:pt x="692" y="1163"/>
                      </a:lnTo>
                      <a:lnTo>
                        <a:pt x="698" y="1163"/>
                      </a:lnTo>
                      <a:lnTo>
                        <a:pt x="698" y="1155"/>
                      </a:lnTo>
                      <a:lnTo>
                        <a:pt x="698" y="1146"/>
                      </a:lnTo>
                      <a:lnTo>
                        <a:pt x="698" y="1139"/>
                      </a:lnTo>
                      <a:lnTo>
                        <a:pt x="698" y="1130"/>
                      </a:lnTo>
                      <a:lnTo>
                        <a:pt x="690" y="1131"/>
                      </a:lnTo>
                      <a:lnTo>
                        <a:pt x="683" y="1131"/>
                      </a:lnTo>
                      <a:lnTo>
                        <a:pt x="677" y="1131"/>
                      </a:lnTo>
                      <a:lnTo>
                        <a:pt x="670" y="1131"/>
                      </a:lnTo>
                      <a:lnTo>
                        <a:pt x="670" y="1131"/>
                      </a:lnTo>
                      <a:lnTo>
                        <a:pt x="664" y="1131"/>
                      </a:lnTo>
                      <a:lnTo>
                        <a:pt x="664" y="1131"/>
                      </a:lnTo>
                      <a:lnTo>
                        <a:pt x="657" y="1130"/>
                      </a:lnTo>
                      <a:lnTo>
                        <a:pt x="651" y="1130"/>
                      </a:lnTo>
                      <a:lnTo>
                        <a:pt x="642" y="1126"/>
                      </a:lnTo>
                      <a:lnTo>
                        <a:pt x="642" y="1126"/>
                      </a:lnTo>
                      <a:lnTo>
                        <a:pt x="642" y="1120"/>
                      </a:lnTo>
                      <a:lnTo>
                        <a:pt x="644" y="1115"/>
                      </a:lnTo>
                      <a:lnTo>
                        <a:pt x="646" y="1109"/>
                      </a:lnTo>
                      <a:lnTo>
                        <a:pt x="648" y="1104"/>
                      </a:lnTo>
                      <a:lnTo>
                        <a:pt x="648" y="1104"/>
                      </a:lnTo>
                      <a:lnTo>
                        <a:pt x="651" y="1102"/>
                      </a:lnTo>
                      <a:lnTo>
                        <a:pt x="655" y="1100"/>
                      </a:lnTo>
                      <a:lnTo>
                        <a:pt x="657" y="1098"/>
                      </a:lnTo>
                      <a:lnTo>
                        <a:pt x="659" y="1096"/>
                      </a:lnTo>
                      <a:lnTo>
                        <a:pt x="661" y="1094"/>
                      </a:lnTo>
                      <a:lnTo>
                        <a:pt x="663" y="1093"/>
                      </a:lnTo>
                      <a:lnTo>
                        <a:pt x="663" y="1089"/>
                      </a:lnTo>
                      <a:lnTo>
                        <a:pt x="664" y="1087"/>
                      </a:lnTo>
                      <a:lnTo>
                        <a:pt x="666" y="1082"/>
                      </a:lnTo>
                      <a:lnTo>
                        <a:pt x="670" y="1076"/>
                      </a:lnTo>
                      <a:lnTo>
                        <a:pt x="670" y="1076"/>
                      </a:lnTo>
                      <a:lnTo>
                        <a:pt x="672" y="1072"/>
                      </a:lnTo>
                      <a:lnTo>
                        <a:pt x="674" y="1070"/>
                      </a:lnTo>
                      <a:lnTo>
                        <a:pt x="674" y="1070"/>
                      </a:lnTo>
                      <a:lnTo>
                        <a:pt x="675" y="1069"/>
                      </a:lnTo>
                      <a:lnTo>
                        <a:pt x="675" y="1069"/>
                      </a:lnTo>
                      <a:lnTo>
                        <a:pt x="679" y="1067"/>
                      </a:lnTo>
                      <a:lnTo>
                        <a:pt x="679" y="1067"/>
                      </a:lnTo>
                      <a:lnTo>
                        <a:pt x="685" y="1069"/>
                      </a:lnTo>
                      <a:lnTo>
                        <a:pt x="692" y="1070"/>
                      </a:lnTo>
                      <a:lnTo>
                        <a:pt x="698" y="1074"/>
                      </a:lnTo>
                      <a:lnTo>
                        <a:pt x="703" y="1076"/>
                      </a:lnTo>
                      <a:lnTo>
                        <a:pt x="703" y="1076"/>
                      </a:lnTo>
                      <a:lnTo>
                        <a:pt x="703" y="1082"/>
                      </a:lnTo>
                      <a:lnTo>
                        <a:pt x="703" y="1087"/>
                      </a:lnTo>
                      <a:lnTo>
                        <a:pt x="707" y="1087"/>
                      </a:lnTo>
                      <a:lnTo>
                        <a:pt x="707" y="1087"/>
                      </a:lnTo>
                      <a:lnTo>
                        <a:pt x="712" y="1089"/>
                      </a:lnTo>
                      <a:lnTo>
                        <a:pt x="716" y="1089"/>
                      </a:lnTo>
                      <a:lnTo>
                        <a:pt x="722" y="1091"/>
                      </a:lnTo>
                      <a:lnTo>
                        <a:pt x="722" y="1100"/>
                      </a:lnTo>
                      <a:lnTo>
                        <a:pt x="723" y="1109"/>
                      </a:lnTo>
                      <a:lnTo>
                        <a:pt x="725" y="1117"/>
                      </a:lnTo>
                      <a:lnTo>
                        <a:pt x="725" y="1124"/>
                      </a:lnTo>
                      <a:lnTo>
                        <a:pt x="733" y="1124"/>
                      </a:lnTo>
                      <a:lnTo>
                        <a:pt x="742" y="1122"/>
                      </a:lnTo>
                      <a:lnTo>
                        <a:pt x="749" y="1120"/>
                      </a:lnTo>
                      <a:lnTo>
                        <a:pt x="757" y="1118"/>
                      </a:lnTo>
                      <a:lnTo>
                        <a:pt x="755" y="1113"/>
                      </a:lnTo>
                      <a:lnTo>
                        <a:pt x="755" y="1113"/>
                      </a:lnTo>
                      <a:lnTo>
                        <a:pt x="753" y="1106"/>
                      </a:lnTo>
                      <a:lnTo>
                        <a:pt x="751" y="1098"/>
                      </a:lnTo>
                      <a:lnTo>
                        <a:pt x="751" y="1091"/>
                      </a:lnTo>
                      <a:lnTo>
                        <a:pt x="751" y="1085"/>
                      </a:lnTo>
                      <a:lnTo>
                        <a:pt x="751" y="1083"/>
                      </a:lnTo>
                      <a:lnTo>
                        <a:pt x="749" y="1078"/>
                      </a:lnTo>
                      <a:lnTo>
                        <a:pt x="749" y="1070"/>
                      </a:lnTo>
                      <a:lnTo>
                        <a:pt x="749" y="1063"/>
                      </a:lnTo>
                      <a:lnTo>
                        <a:pt x="751" y="1048"/>
                      </a:lnTo>
                      <a:lnTo>
                        <a:pt x="751" y="1035"/>
                      </a:lnTo>
                      <a:lnTo>
                        <a:pt x="753" y="1021"/>
                      </a:lnTo>
                      <a:lnTo>
                        <a:pt x="755" y="1006"/>
                      </a:lnTo>
                      <a:lnTo>
                        <a:pt x="753" y="1002"/>
                      </a:lnTo>
                      <a:lnTo>
                        <a:pt x="751" y="999"/>
                      </a:lnTo>
                      <a:lnTo>
                        <a:pt x="751" y="999"/>
                      </a:lnTo>
                      <a:lnTo>
                        <a:pt x="749" y="997"/>
                      </a:lnTo>
                      <a:lnTo>
                        <a:pt x="749" y="997"/>
                      </a:lnTo>
                      <a:lnTo>
                        <a:pt x="749" y="993"/>
                      </a:lnTo>
                      <a:lnTo>
                        <a:pt x="747" y="984"/>
                      </a:lnTo>
                      <a:lnTo>
                        <a:pt x="746" y="969"/>
                      </a:lnTo>
                      <a:lnTo>
                        <a:pt x="742" y="975"/>
                      </a:lnTo>
                      <a:lnTo>
                        <a:pt x="735" y="980"/>
                      </a:lnTo>
                      <a:lnTo>
                        <a:pt x="731" y="963"/>
                      </a:lnTo>
                      <a:lnTo>
                        <a:pt x="727" y="951"/>
                      </a:lnTo>
                      <a:lnTo>
                        <a:pt x="723" y="936"/>
                      </a:lnTo>
                      <a:lnTo>
                        <a:pt x="718" y="923"/>
                      </a:lnTo>
                      <a:lnTo>
                        <a:pt x="714" y="921"/>
                      </a:lnTo>
                      <a:lnTo>
                        <a:pt x="711" y="921"/>
                      </a:lnTo>
                      <a:lnTo>
                        <a:pt x="711" y="921"/>
                      </a:lnTo>
                      <a:lnTo>
                        <a:pt x="707" y="919"/>
                      </a:lnTo>
                      <a:lnTo>
                        <a:pt x="701" y="919"/>
                      </a:lnTo>
                      <a:lnTo>
                        <a:pt x="701" y="919"/>
                      </a:lnTo>
                      <a:lnTo>
                        <a:pt x="703" y="912"/>
                      </a:lnTo>
                      <a:lnTo>
                        <a:pt x="703" y="904"/>
                      </a:lnTo>
                      <a:lnTo>
                        <a:pt x="705" y="899"/>
                      </a:lnTo>
                      <a:lnTo>
                        <a:pt x="705" y="899"/>
                      </a:lnTo>
                      <a:lnTo>
                        <a:pt x="707" y="891"/>
                      </a:lnTo>
                      <a:lnTo>
                        <a:pt x="701" y="890"/>
                      </a:lnTo>
                      <a:lnTo>
                        <a:pt x="696" y="888"/>
                      </a:lnTo>
                      <a:lnTo>
                        <a:pt x="696" y="888"/>
                      </a:lnTo>
                      <a:lnTo>
                        <a:pt x="692" y="884"/>
                      </a:lnTo>
                      <a:lnTo>
                        <a:pt x="692" y="884"/>
                      </a:lnTo>
                      <a:lnTo>
                        <a:pt x="688" y="880"/>
                      </a:lnTo>
                      <a:lnTo>
                        <a:pt x="685" y="877"/>
                      </a:lnTo>
                      <a:lnTo>
                        <a:pt x="685" y="877"/>
                      </a:lnTo>
                      <a:lnTo>
                        <a:pt x="681" y="873"/>
                      </a:lnTo>
                      <a:lnTo>
                        <a:pt x="681" y="873"/>
                      </a:lnTo>
                      <a:lnTo>
                        <a:pt x="677" y="869"/>
                      </a:lnTo>
                      <a:lnTo>
                        <a:pt x="675" y="866"/>
                      </a:lnTo>
                      <a:lnTo>
                        <a:pt x="674" y="860"/>
                      </a:lnTo>
                      <a:lnTo>
                        <a:pt x="674" y="860"/>
                      </a:lnTo>
                      <a:lnTo>
                        <a:pt x="672" y="856"/>
                      </a:lnTo>
                      <a:lnTo>
                        <a:pt x="670" y="851"/>
                      </a:lnTo>
                      <a:lnTo>
                        <a:pt x="670" y="851"/>
                      </a:lnTo>
                      <a:lnTo>
                        <a:pt x="668" y="845"/>
                      </a:lnTo>
                      <a:lnTo>
                        <a:pt x="664" y="836"/>
                      </a:lnTo>
                      <a:lnTo>
                        <a:pt x="663" y="827"/>
                      </a:lnTo>
                      <a:lnTo>
                        <a:pt x="659" y="825"/>
                      </a:lnTo>
                      <a:lnTo>
                        <a:pt x="655" y="823"/>
                      </a:lnTo>
                      <a:lnTo>
                        <a:pt x="653" y="823"/>
                      </a:lnTo>
                      <a:lnTo>
                        <a:pt x="650" y="821"/>
                      </a:lnTo>
                      <a:lnTo>
                        <a:pt x="648" y="810"/>
                      </a:lnTo>
                      <a:lnTo>
                        <a:pt x="648" y="797"/>
                      </a:lnTo>
                      <a:lnTo>
                        <a:pt x="646" y="784"/>
                      </a:lnTo>
                      <a:lnTo>
                        <a:pt x="644" y="772"/>
                      </a:lnTo>
                      <a:lnTo>
                        <a:pt x="642" y="759"/>
                      </a:lnTo>
                      <a:lnTo>
                        <a:pt x="640" y="746"/>
                      </a:lnTo>
                      <a:lnTo>
                        <a:pt x="639" y="735"/>
                      </a:lnTo>
                      <a:lnTo>
                        <a:pt x="637" y="725"/>
                      </a:lnTo>
                      <a:lnTo>
                        <a:pt x="631" y="725"/>
                      </a:lnTo>
                      <a:lnTo>
                        <a:pt x="626" y="727"/>
                      </a:lnTo>
                      <a:lnTo>
                        <a:pt x="618" y="727"/>
                      </a:lnTo>
                      <a:lnTo>
                        <a:pt x="613" y="729"/>
                      </a:lnTo>
                      <a:lnTo>
                        <a:pt x="611" y="718"/>
                      </a:lnTo>
                      <a:lnTo>
                        <a:pt x="609" y="711"/>
                      </a:lnTo>
                      <a:lnTo>
                        <a:pt x="607" y="707"/>
                      </a:lnTo>
                      <a:lnTo>
                        <a:pt x="605" y="705"/>
                      </a:lnTo>
                      <a:lnTo>
                        <a:pt x="603" y="703"/>
                      </a:lnTo>
                      <a:lnTo>
                        <a:pt x="602" y="701"/>
                      </a:lnTo>
                      <a:lnTo>
                        <a:pt x="600" y="700"/>
                      </a:lnTo>
                      <a:lnTo>
                        <a:pt x="596" y="698"/>
                      </a:lnTo>
                      <a:lnTo>
                        <a:pt x="594" y="696"/>
                      </a:lnTo>
                      <a:lnTo>
                        <a:pt x="591" y="696"/>
                      </a:lnTo>
                      <a:lnTo>
                        <a:pt x="581" y="694"/>
                      </a:lnTo>
                      <a:lnTo>
                        <a:pt x="568" y="690"/>
                      </a:lnTo>
                      <a:lnTo>
                        <a:pt x="568" y="690"/>
                      </a:lnTo>
                      <a:lnTo>
                        <a:pt x="568" y="688"/>
                      </a:lnTo>
                      <a:lnTo>
                        <a:pt x="568" y="688"/>
                      </a:lnTo>
                      <a:lnTo>
                        <a:pt x="568" y="687"/>
                      </a:lnTo>
                      <a:lnTo>
                        <a:pt x="570" y="687"/>
                      </a:lnTo>
                      <a:lnTo>
                        <a:pt x="570" y="685"/>
                      </a:lnTo>
                      <a:lnTo>
                        <a:pt x="570" y="685"/>
                      </a:lnTo>
                      <a:lnTo>
                        <a:pt x="572" y="685"/>
                      </a:lnTo>
                      <a:lnTo>
                        <a:pt x="572" y="685"/>
                      </a:lnTo>
                      <a:lnTo>
                        <a:pt x="579" y="685"/>
                      </a:lnTo>
                      <a:lnTo>
                        <a:pt x="591" y="685"/>
                      </a:lnTo>
                      <a:lnTo>
                        <a:pt x="591" y="679"/>
                      </a:lnTo>
                      <a:lnTo>
                        <a:pt x="589" y="676"/>
                      </a:lnTo>
                      <a:lnTo>
                        <a:pt x="587" y="672"/>
                      </a:lnTo>
                      <a:lnTo>
                        <a:pt x="587" y="668"/>
                      </a:lnTo>
                      <a:lnTo>
                        <a:pt x="578" y="666"/>
                      </a:lnTo>
                      <a:lnTo>
                        <a:pt x="570" y="665"/>
                      </a:lnTo>
                      <a:lnTo>
                        <a:pt x="563" y="663"/>
                      </a:lnTo>
                      <a:lnTo>
                        <a:pt x="557" y="661"/>
                      </a:lnTo>
                      <a:lnTo>
                        <a:pt x="550" y="661"/>
                      </a:lnTo>
                      <a:lnTo>
                        <a:pt x="541" y="661"/>
                      </a:lnTo>
                      <a:lnTo>
                        <a:pt x="530" y="659"/>
                      </a:lnTo>
                      <a:lnTo>
                        <a:pt x="513" y="659"/>
                      </a:lnTo>
                      <a:lnTo>
                        <a:pt x="513" y="657"/>
                      </a:lnTo>
                      <a:lnTo>
                        <a:pt x="513" y="652"/>
                      </a:lnTo>
                      <a:lnTo>
                        <a:pt x="513" y="648"/>
                      </a:lnTo>
                      <a:lnTo>
                        <a:pt x="506" y="646"/>
                      </a:lnTo>
                      <a:lnTo>
                        <a:pt x="495" y="644"/>
                      </a:lnTo>
                      <a:lnTo>
                        <a:pt x="485" y="644"/>
                      </a:lnTo>
                      <a:lnTo>
                        <a:pt x="476" y="642"/>
                      </a:lnTo>
                      <a:lnTo>
                        <a:pt x="474" y="646"/>
                      </a:lnTo>
                      <a:lnTo>
                        <a:pt x="471" y="652"/>
                      </a:lnTo>
                      <a:lnTo>
                        <a:pt x="469" y="657"/>
                      </a:lnTo>
                      <a:lnTo>
                        <a:pt x="465" y="661"/>
                      </a:lnTo>
                      <a:lnTo>
                        <a:pt x="465" y="661"/>
                      </a:lnTo>
                      <a:lnTo>
                        <a:pt x="458" y="663"/>
                      </a:lnTo>
                      <a:lnTo>
                        <a:pt x="448" y="665"/>
                      </a:lnTo>
                      <a:lnTo>
                        <a:pt x="441" y="666"/>
                      </a:lnTo>
                      <a:lnTo>
                        <a:pt x="434" y="668"/>
                      </a:lnTo>
                      <a:lnTo>
                        <a:pt x="439" y="674"/>
                      </a:lnTo>
                      <a:lnTo>
                        <a:pt x="445" y="679"/>
                      </a:lnTo>
                      <a:lnTo>
                        <a:pt x="448" y="687"/>
                      </a:lnTo>
                      <a:lnTo>
                        <a:pt x="456" y="694"/>
                      </a:lnTo>
                      <a:lnTo>
                        <a:pt x="456" y="694"/>
                      </a:lnTo>
                      <a:lnTo>
                        <a:pt x="458" y="696"/>
                      </a:lnTo>
                      <a:lnTo>
                        <a:pt x="458" y="714"/>
                      </a:lnTo>
                      <a:lnTo>
                        <a:pt x="458" y="725"/>
                      </a:lnTo>
                      <a:lnTo>
                        <a:pt x="458" y="725"/>
                      </a:lnTo>
                      <a:lnTo>
                        <a:pt x="456" y="729"/>
                      </a:lnTo>
                      <a:lnTo>
                        <a:pt x="456" y="729"/>
                      </a:lnTo>
                      <a:lnTo>
                        <a:pt x="456" y="731"/>
                      </a:lnTo>
                      <a:lnTo>
                        <a:pt x="456" y="731"/>
                      </a:lnTo>
                      <a:lnTo>
                        <a:pt x="454" y="733"/>
                      </a:lnTo>
                      <a:lnTo>
                        <a:pt x="450" y="736"/>
                      </a:lnTo>
                      <a:lnTo>
                        <a:pt x="452" y="735"/>
                      </a:lnTo>
                      <a:lnTo>
                        <a:pt x="452" y="725"/>
                      </a:lnTo>
                      <a:lnTo>
                        <a:pt x="452" y="725"/>
                      </a:lnTo>
                      <a:lnTo>
                        <a:pt x="452" y="716"/>
                      </a:lnTo>
                      <a:lnTo>
                        <a:pt x="452" y="707"/>
                      </a:lnTo>
                      <a:lnTo>
                        <a:pt x="454" y="700"/>
                      </a:lnTo>
                      <a:lnTo>
                        <a:pt x="452" y="698"/>
                      </a:lnTo>
                      <a:lnTo>
                        <a:pt x="452" y="698"/>
                      </a:lnTo>
                      <a:lnTo>
                        <a:pt x="448" y="696"/>
                      </a:lnTo>
                      <a:lnTo>
                        <a:pt x="448" y="696"/>
                      </a:lnTo>
                      <a:lnTo>
                        <a:pt x="448" y="694"/>
                      </a:lnTo>
                      <a:lnTo>
                        <a:pt x="447" y="698"/>
                      </a:lnTo>
                      <a:lnTo>
                        <a:pt x="445" y="701"/>
                      </a:lnTo>
                      <a:lnTo>
                        <a:pt x="443" y="707"/>
                      </a:lnTo>
                      <a:lnTo>
                        <a:pt x="443" y="711"/>
                      </a:lnTo>
                      <a:lnTo>
                        <a:pt x="439" y="722"/>
                      </a:lnTo>
                      <a:lnTo>
                        <a:pt x="437" y="731"/>
                      </a:lnTo>
                      <a:lnTo>
                        <a:pt x="437" y="731"/>
                      </a:lnTo>
                      <a:lnTo>
                        <a:pt x="436" y="736"/>
                      </a:lnTo>
                      <a:lnTo>
                        <a:pt x="434" y="742"/>
                      </a:lnTo>
                      <a:lnTo>
                        <a:pt x="434" y="742"/>
                      </a:lnTo>
                      <a:lnTo>
                        <a:pt x="432" y="744"/>
                      </a:lnTo>
                      <a:lnTo>
                        <a:pt x="430" y="746"/>
                      </a:lnTo>
                      <a:lnTo>
                        <a:pt x="430" y="746"/>
                      </a:lnTo>
                      <a:lnTo>
                        <a:pt x="428" y="748"/>
                      </a:lnTo>
                      <a:lnTo>
                        <a:pt x="428" y="748"/>
                      </a:lnTo>
                      <a:lnTo>
                        <a:pt x="426" y="748"/>
                      </a:lnTo>
                      <a:lnTo>
                        <a:pt x="424" y="749"/>
                      </a:lnTo>
                      <a:lnTo>
                        <a:pt x="424" y="749"/>
                      </a:lnTo>
                      <a:lnTo>
                        <a:pt x="423" y="751"/>
                      </a:lnTo>
                      <a:lnTo>
                        <a:pt x="423" y="751"/>
                      </a:lnTo>
                      <a:lnTo>
                        <a:pt x="421" y="751"/>
                      </a:lnTo>
                      <a:lnTo>
                        <a:pt x="417" y="753"/>
                      </a:lnTo>
                      <a:lnTo>
                        <a:pt x="417" y="753"/>
                      </a:lnTo>
                      <a:lnTo>
                        <a:pt x="415" y="753"/>
                      </a:lnTo>
                      <a:lnTo>
                        <a:pt x="415" y="753"/>
                      </a:lnTo>
                      <a:lnTo>
                        <a:pt x="412" y="753"/>
                      </a:lnTo>
                      <a:lnTo>
                        <a:pt x="410" y="753"/>
                      </a:lnTo>
                      <a:lnTo>
                        <a:pt x="410" y="753"/>
                      </a:lnTo>
                      <a:lnTo>
                        <a:pt x="404" y="753"/>
                      </a:lnTo>
                      <a:lnTo>
                        <a:pt x="406" y="751"/>
                      </a:lnTo>
                      <a:lnTo>
                        <a:pt x="408" y="748"/>
                      </a:lnTo>
                      <a:lnTo>
                        <a:pt x="410" y="744"/>
                      </a:lnTo>
                      <a:lnTo>
                        <a:pt x="412" y="742"/>
                      </a:lnTo>
                      <a:lnTo>
                        <a:pt x="412" y="738"/>
                      </a:lnTo>
                      <a:lnTo>
                        <a:pt x="413" y="731"/>
                      </a:lnTo>
                      <a:lnTo>
                        <a:pt x="415" y="718"/>
                      </a:lnTo>
                      <a:lnTo>
                        <a:pt x="410" y="718"/>
                      </a:lnTo>
                      <a:lnTo>
                        <a:pt x="402" y="718"/>
                      </a:lnTo>
                      <a:lnTo>
                        <a:pt x="395" y="718"/>
                      </a:lnTo>
                      <a:lnTo>
                        <a:pt x="388" y="718"/>
                      </a:lnTo>
                      <a:lnTo>
                        <a:pt x="388" y="718"/>
                      </a:lnTo>
                      <a:lnTo>
                        <a:pt x="388" y="712"/>
                      </a:lnTo>
                      <a:lnTo>
                        <a:pt x="388" y="707"/>
                      </a:lnTo>
                      <a:lnTo>
                        <a:pt x="389" y="707"/>
                      </a:lnTo>
                      <a:lnTo>
                        <a:pt x="395" y="707"/>
                      </a:lnTo>
                      <a:lnTo>
                        <a:pt x="399" y="707"/>
                      </a:lnTo>
                      <a:lnTo>
                        <a:pt x="397" y="703"/>
                      </a:lnTo>
                      <a:lnTo>
                        <a:pt x="395" y="700"/>
                      </a:lnTo>
                      <a:lnTo>
                        <a:pt x="393" y="696"/>
                      </a:lnTo>
                      <a:lnTo>
                        <a:pt x="391" y="692"/>
                      </a:lnTo>
                      <a:lnTo>
                        <a:pt x="388" y="700"/>
                      </a:lnTo>
                      <a:lnTo>
                        <a:pt x="386" y="707"/>
                      </a:lnTo>
                      <a:lnTo>
                        <a:pt x="382" y="716"/>
                      </a:lnTo>
                      <a:lnTo>
                        <a:pt x="378" y="724"/>
                      </a:lnTo>
                      <a:lnTo>
                        <a:pt x="382" y="724"/>
                      </a:lnTo>
                      <a:lnTo>
                        <a:pt x="386" y="724"/>
                      </a:lnTo>
                      <a:lnTo>
                        <a:pt x="389" y="724"/>
                      </a:lnTo>
                      <a:lnTo>
                        <a:pt x="395" y="724"/>
                      </a:lnTo>
                      <a:lnTo>
                        <a:pt x="395" y="724"/>
                      </a:lnTo>
                      <a:lnTo>
                        <a:pt x="393" y="729"/>
                      </a:lnTo>
                      <a:lnTo>
                        <a:pt x="393" y="735"/>
                      </a:lnTo>
                      <a:lnTo>
                        <a:pt x="393" y="735"/>
                      </a:lnTo>
                      <a:lnTo>
                        <a:pt x="389" y="738"/>
                      </a:lnTo>
                      <a:lnTo>
                        <a:pt x="388" y="740"/>
                      </a:lnTo>
                      <a:lnTo>
                        <a:pt x="388" y="742"/>
                      </a:lnTo>
                      <a:lnTo>
                        <a:pt x="386" y="744"/>
                      </a:lnTo>
                      <a:lnTo>
                        <a:pt x="386" y="744"/>
                      </a:lnTo>
                      <a:lnTo>
                        <a:pt x="382" y="746"/>
                      </a:lnTo>
                      <a:lnTo>
                        <a:pt x="378" y="749"/>
                      </a:lnTo>
                      <a:lnTo>
                        <a:pt x="378" y="749"/>
                      </a:lnTo>
                      <a:lnTo>
                        <a:pt x="371" y="751"/>
                      </a:lnTo>
                      <a:lnTo>
                        <a:pt x="371" y="742"/>
                      </a:lnTo>
                      <a:lnTo>
                        <a:pt x="369" y="735"/>
                      </a:lnTo>
                      <a:lnTo>
                        <a:pt x="365" y="729"/>
                      </a:lnTo>
                      <a:lnTo>
                        <a:pt x="364" y="722"/>
                      </a:lnTo>
                      <a:lnTo>
                        <a:pt x="360" y="714"/>
                      </a:lnTo>
                      <a:lnTo>
                        <a:pt x="356" y="709"/>
                      </a:lnTo>
                      <a:lnTo>
                        <a:pt x="351" y="701"/>
                      </a:lnTo>
                      <a:lnTo>
                        <a:pt x="347" y="694"/>
                      </a:lnTo>
                      <a:lnTo>
                        <a:pt x="340" y="698"/>
                      </a:lnTo>
                      <a:lnTo>
                        <a:pt x="332" y="701"/>
                      </a:lnTo>
                      <a:lnTo>
                        <a:pt x="325" y="705"/>
                      </a:lnTo>
                      <a:lnTo>
                        <a:pt x="317" y="709"/>
                      </a:lnTo>
                      <a:lnTo>
                        <a:pt x="319" y="712"/>
                      </a:lnTo>
                      <a:lnTo>
                        <a:pt x="319" y="720"/>
                      </a:lnTo>
                      <a:lnTo>
                        <a:pt x="306" y="720"/>
                      </a:lnTo>
                      <a:lnTo>
                        <a:pt x="295" y="720"/>
                      </a:lnTo>
                      <a:lnTo>
                        <a:pt x="284" y="720"/>
                      </a:lnTo>
                      <a:lnTo>
                        <a:pt x="273" y="720"/>
                      </a:lnTo>
                      <a:lnTo>
                        <a:pt x="275" y="709"/>
                      </a:lnTo>
                      <a:lnTo>
                        <a:pt x="277" y="698"/>
                      </a:lnTo>
                      <a:lnTo>
                        <a:pt x="279" y="688"/>
                      </a:lnTo>
                      <a:lnTo>
                        <a:pt x="282" y="677"/>
                      </a:lnTo>
                      <a:lnTo>
                        <a:pt x="282" y="677"/>
                      </a:lnTo>
                      <a:lnTo>
                        <a:pt x="286" y="677"/>
                      </a:lnTo>
                      <a:lnTo>
                        <a:pt x="286" y="677"/>
                      </a:lnTo>
                      <a:lnTo>
                        <a:pt x="288" y="676"/>
                      </a:lnTo>
                      <a:lnTo>
                        <a:pt x="292" y="676"/>
                      </a:lnTo>
                      <a:lnTo>
                        <a:pt x="295" y="676"/>
                      </a:lnTo>
                      <a:lnTo>
                        <a:pt x="293" y="666"/>
                      </a:lnTo>
                      <a:lnTo>
                        <a:pt x="293" y="657"/>
                      </a:lnTo>
                      <a:lnTo>
                        <a:pt x="295" y="650"/>
                      </a:lnTo>
                      <a:lnTo>
                        <a:pt x="295" y="641"/>
                      </a:lnTo>
                      <a:lnTo>
                        <a:pt x="297" y="633"/>
                      </a:lnTo>
                      <a:lnTo>
                        <a:pt x="299" y="624"/>
                      </a:lnTo>
                      <a:lnTo>
                        <a:pt x="301" y="615"/>
                      </a:lnTo>
                      <a:lnTo>
                        <a:pt x="303" y="607"/>
                      </a:lnTo>
                      <a:lnTo>
                        <a:pt x="306" y="589"/>
                      </a:lnTo>
                      <a:lnTo>
                        <a:pt x="312" y="572"/>
                      </a:lnTo>
                      <a:lnTo>
                        <a:pt x="316" y="554"/>
                      </a:lnTo>
                      <a:lnTo>
                        <a:pt x="319" y="537"/>
                      </a:lnTo>
                      <a:lnTo>
                        <a:pt x="316" y="535"/>
                      </a:lnTo>
                      <a:lnTo>
                        <a:pt x="310" y="533"/>
                      </a:lnTo>
                      <a:lnTo>
                        <a:pt x="312" y="522"/>
                      </a:lnTo>
                      <a:lnTo>
                        <a:pt x="312" y="515"/>
                      </a:lnTo>
                      <a:lnTo>
                        <a:pt x="314" y="506"/>
                      </a:lnTo>
                      <a:lnTo>
                        <a:pt x="316" y="495"/>
                      </a:lnTo>
                      <a:lnTo>
                        <a:pt x="317" y="482"/>
                      </a:lnTo>
                      <a:lnTo>
                        <a:pt x="321" y="463"/>
                      </a:lnTo>
                      <a:lnTo>
                        <a:pt x="327" y="439"/>
                      </a:lnTo>
                      <a:lnTo>
                        <a:pt x="334" y="408"/>
                      </a:lnTo>
                      <a:lnTo>
                        <a:pt x="334" y="380"/>
                      </a:lnTo>
                      <a:lnTo>
                        <a:pt x="334" y="351"/>
                      </a:lnTo>
                      <a:lnTo>
                        <a:pt x="334" y="336"/>
                      </a:lnTo>
                      <a:lnTo>
                        <a:pt x="334" y="321"/>
                      </a:lnTo>
                      <a:lnTo>
                        <a:pt x="334" y="314"/>
                      </a:lnTo>
                      <a:lnTo>
                        <a:pt x="334" y="307"/>
                      </a:lnTo>
                      <a:lnTo>
                        <a:pt x="334" y="307"/>
                      </a:lnTo>
                      <a:lnTo>
                        <a:pt x="336" y="299"/>
                      </a:lnTo>
                      <a:lnTo>
                        <a:pt x="336" y="294"/>
                      </a:lnTo>
                      <a:lnTo>
                        <a:pt x="336" y="294"/>
                      </a:lnTo>
                      <a:lnTo>
                        <a:pt x="338" y="286"/>
                      </a:lnTo>
                      <a:lnTo>
                        <a:pt x="340" y="279"/>
                      </a:lnTo>
                      <a:lnTo>
                        <a:pt x="341" y="273"/>
                      </a:lnTo>
                      <a:lnTo>
                        <a:pt x="341" y="273"/>
                      </a:lnTo>
                      <a:lnTo>
                        <a:pt x="343" y="266"/>
                      </a:lnTo>
                      <a:lnTo>
                        <a:pt x="345" y="260"/>
                      </a:lnTo>
                      <a:lnTo>
                        <a:pt x="349" y="253"/>
                      </a:lnTo>
                      <a:lnTo>
                        <a:pt x="349" y="253"/>
                      </a:lnTo>
                      <a:lnTo>
                        <a:pt x="351" y="247"/>
                      </a:lnTo>
                      <a:lnTo>
                        <a:pt x="354" y="242"/>
                      </a:lnTo>
                      <a:lnTo>
                        <a:pt x="354" y="242"/>
                      </a:lnTo>
                      <a:lnTo>
                        <a:pt x="358" y="236"/>
                      </a:lnTo>
                      <a:lnTo>
                        <a:pt x="358" y="236"/>
                      </a:lnTo>
                      <a:lnTo>
                        <a:pt x="362" y="231"/>
                      </a:lnTo>
                      <a:lnTo>
                        <a:pt x="367" y="225"/>
                      </a:lnTo>
                      <a:lnTo>
                        <a:pt x="373" y="222"/>
                      </a:lnTo>
                      <a:lnTo>
                        <a:pt x="373" y="222"/>
                      </a:lnTo>
                      <a:lnTo>
                        <a:pt x="378" y="216"/>
                      </a:lnTo>
                      <a:lnTo>
                        <a:pt x="384" y="212"/>
                      </a:lnTo>
                      <a:lnTo>
                        <a:pt x="389" y="209"/>
                      </a:lnTo>
                      <a:lnTo>
                        <a:pt x="397" y="205"/>
                      </a:lnTo>
                      <a:lnTo>
                        <a:pt x="397" y="199"/>
                      </a:lnTo>
                      <a:lnTo>
                        <a:pt x="397" y="194"/>
                      </a:lnTo>
                      <a:lnTo>
                        <a:pt x="397" y="194"/>
                      </a:lnTo>
                      <a:lnTo>
                        <a:pt x="400" y="192"/>
                      </a:lnTo>
                      <a:lnTo>
                        <a:pt x="402" y="192"/>
                      </a:lnTo>
                      <a:lnTo>
                        <a:pt x="402" y="192"/>
                      </a:lnTo>
                      <a:lnTo>
                        <a:pt x="406" y="190"/>
                      </a:lnTo>
                      <a:lnTo>
                        <a:pt x="406" y="190"/>
                      </a:lnTo>
                      <a:lnTo>
                        <a:pt x="410" y="190"/>
                      </a:lnTo>
                      <a:lnTo>
                        <a:pt x="410" y="187"/>
                      </a:lnTo>
                      <a:lnTo>
                        <a:pt x="410" y="187"/>
                      </a:lnTo>
                      <a:lnTo>
                        <a:pt x="412" y="185"/>
                      </a:lnTo>
                      <a:lnTo>
                        <a:pt x="412" y="181"/>
                      </a:lnTo>
                      <a:lnTo>
                        <a:pt x="413" y="177"/>
                      </a:lnTo>
                      <a:lnTo>
                        <a:pt x="413" y="177"/>
                      </a:lnTo>
                      <a:lnTo>
                        <a:pt x="421" y="175"/>
                      </a:lnTo>
                      <a:lnTo>
                        <a:pt x="426" y="172"/>
                      </a:lnTo>
                      <a:lnTo>
                        <a:pt x="434" y="170"/>
                      </a:lnTo>
                      <a:lnTo>
                        <a:pt x="441" y="166"/>
                      </a:lnTo>
                      <a:lnTo>
                        <a:pt x="441" y="163"/>
                      </a:lnTo>
                      <a:lnTo>
                        <a:pt x="439" y="155"/>
                      </a:lnTo>
                      <a:lnTo>
                        <a:pt x="441" y="155"/>
                      </a:lnTo>
                      <a:lnTo>
                        <a:pt x="447" y="157"/>
                      </a:lnTo>
                      <a:lnTo>
                        <a:pt x="452" y="159"/>
                      </a:lnTo>
                      <a:lnTo>
                        <a:pt x="452" y="159"/>
                      </a:lnTo>
                      <a:lnTo>
                        <a:pt x="452" y="163"/>
                      </a:lnTo>
                      <a:lnTo>
                        <a:pt x="450" y="166"/>
                      </a:lnTo>
                      <a:lnTo>
                        <a:pt x="452" y="168"/>
                      </a:lnTo>
                      <a:lnTo>
                        <a:pt x="456" y="170"/>
                      </a:lnTo>
                      <a:lnTo>
                        <a:pt x="460" y="172"/>
                      </a:lnTo>
                      <a:lnTo>
                        <a:pt x="463" y="172"/>
                      </a:lnTo>
                      <a:lnTo>
                        <a:pt x="463" y="168"/>
                      </a:lnTo>
                      <a:lnTo>
                        <a:pt x="463" y="164"/>
                      </a:lnTo>
                      <a:lnTo>
                        <a:pt x="463" y="161"/>
                      </a:lnTo>
                      <a:lnTo>
                        <a:pt x="463" y="159"/>
                      </a:lnTo>
                      <a:lnTo>
                        <a:pt x="463" y="151"/>
                      </a:lnTo>
                      <a:lnTo>
                        <a:pt x="460" y="139"/>
                      </a:lnTo>
                      <a:lnTo>
                        <a:pt x="461" y="137"/>
                      </a:lnTo>
                      <a:lnTo>
                        <a:pt x="465" y="135"/>
                      </a:lnTo>
                      <a:lnTo>
                        <a:pt x="471" y="133"/>
                      </a:lnTo>
                      <a:lnTo>
                        <a:pt x="474" y="131"/>
                      </a:lnTo>
                      <a:lnTo>
                        <a:pt x="478" y="129"/>
                      </a:lnTo>
                      <a:lnTo>
                        <a:pt x="474" y="122"/>
                      </a:lnTo>
                      <a:lnTo>
                        <a:pt x="469" y="116"/>
                      </a:lnTo>
                      <a:lnTo>
                        <a:pt x="465" y="109"/>
                      </a:lnTo>
                      <a:lnTo>
                        <a:pt x="460" y="104"/>
                      </a:lnTo>
                      <a:lnTo>
                        <a:pt x="452" y="104"/>
                      </a:lnTo>
                      <a:lnTo>
                        <a:pt x="445" y="105"/>
                      </a:lnTo>
                      <a:lnTo>
                        <a:pt x="437" y="107"/>
                      </a:lnTo>
                      <a:lnTo>
                        <a:pt x="428" y="109"/>
                      </a:lnTo>
                      <a:lnTo>
                        <a:pt x="428" y="107"/>
                      </a:lnTo>
                      <a:lnTo>
                        <a:pt x="428" y="102"/>
                      </a:lnTo>
                      <a:lnTo>
                        <a:pt x="428" y="98"/>
                      </a:lnTo>
                      <a:lnTo>
                        <a:pt x="417" y="100"/>
                      </a:lnTo>
                      <a:lnTo>
                        <a:pt x="404" y="100"/>
                      </a:lnTo>
                      <a:lnTo>
                        <a:pt x="391" y="102"/>
                      </a:lnTo>
                      <a:lnTo>
                        <a:pt x="378" y="104"/>
                      </a:lnTo>
                      <a:lnTo>
                        <a:pt x="378" y="104"/>
                      </a:lnTo>
                      <a:lnTo>
                        <a:pt x="378" y="96"/>
                      </a:lnTo>
                      <a:lnTo>
                        <a:pt x="378" y="91"/>
                      </a:lnTo>
                      <a:lnTo>
                        <a:pt x="378" y="91"/>
                      </a:lnTo>
                      <a:lnTo>
                        <a:pt x="378" y="85"/>
                      </a:lnTo>
                      <a:lnTo>
                        <a:pt x="378" y="81"/>
                      </a:lnTo>
                      <a:lnTo>
                        <a:pt x="378" y="74"/>
                      </a:lnTo>
                      <a:lnTo>
                        <a:pt x="380" y="67"/>
                      </a:lnTo>
                      <a:lnTo>
                        <a:pt x="382" y="59"/>
                      </a:lnTo>
                      <a:lnTo>
                        <a:pt x="382" y="50"/>
                      </a:lnTo>
                      <a:lnTo>
                        <a:pt x="382" y="44"/>
                      </a:lnTo>
                      <a:lnTo>
                        <a:pt x="382" y="39"/>
                      </a:lnTo>
                      <a:lnTo>
                        <a:pt x="380" y="33"/>
                      </a:lnTo>
                      <a:lnTo>
                        <a:pt x="380" y="26"/>
                      </a:lnTo>
                      <a:lnTo>
                        <a:pt x="375" y="26"/>
                      </a:lnTo>
                      <a:lnTo>
                        <a:pt x="369" y="26"/>
                      </a:lnTo>
                      <a:lnTo>
                        <a:pt x="369" y="26"/>
                      </a:lnTo>
                      <a:lnTo>
                        <a:pt x="369" y="20"/>
                      </a:lnTo>
                      <a:lnTo>
                        <a:pt x="369" y="15"/>
                      </a:lnTo>
                      <a:lnTo>
                        <a:pt x="360" y="13"/>
                      </a:lnTo>
                      <a:lnTo>
                        <a:pt x="352" y="9"/>
                      </a:lnTo>
                      <a:lnTo>
                        <a:pt x="345" y="8"/>
                      </a:lnTo>
                      <a:lnTo>
                        <a:pt x="338" y="4"/>
                      </a:lnTo>
                      <a:lnTo>
                        <a:pt x="329" y="2"/>
                      </a:lnTo>
                      <a:lnTo>
                        <a:pt x="321" y="2"/>
                      </a:lnTo>
                      <a:lnTo>
                        <a:pt x="312" y="0"/>
                      </a:lnTo>
                      <a:lnTo>
                        <a:pt x="30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0" name="Freeform 2964"/>
                <p:cNvSpPr>
                  <a:spLocks/>
                </p:cNvSpPr>
                <p:nvPr/>
              </p:nvSpPr>
              <p:spPr bwMode="auto">
                <a:xfrm>
                  <a:off x="4422" y="1646"/>
                  <a:ext cx="757" cy="1310"/>
                </a:xfrm>
                <a:custGeom>
                  <a:avLst/>
                  <a:gdLst>
                    <a:gd name="T0" fmla="*/ 277 w 757"/>
                    <a:gd name="T1" fmla="*/ 20 h 1310"/>
                    <a:gd name="T2" fmla="*/ 216 w 757"/>
                    <a:gd name="T3" fmla="*/ 72 h 1310"/>
                    <a:gd name="T4" fmla="*/ 142 w 757"/>
                    <a:gd name="T5" fmla="*/ 76 h 1310"/>
                    <a:gd name="T6" fmla="*/ 129 w 757"/>
                    <a:gd name="T7" fmla="*/ 235 h 1310"/>
                    <a:gd name="T8" fmla="*/ 172 w 757"/>
                    <a:gd name="T9" fmla="*/ 323 h 1310"/>
                    <a:gd name="T10" fmla="*/ 120 w 757"/>
                    <a:gd name="T11" fmla="*/ 382 h 1310"/>
                    <a:gd name="T12" fmla="*/ 22 w 757"/>
                    <a:gd name="T13" fmla="*/ 482 h 1310"/>
                    <a:gd name="T14" fmla="*/ 37 w 757"/>
                    <a:gd name="T15" fmla="*/ 578 h 1310"/>
                    <a:gd name="T16" fmla="*/ 39 w 757"/>
                    <a:gd name="T17" fmla="*/ 641 h 1310"/>
                    <a:gd name="T18" fmla="*/ 65 w 757"/>
                    <a:gd name="T19" fmla="*/ 663 h 1310"/>
                    <a:gd name="T20" fmla="*/ 61 w 757"/>
                    <a:gd name="T21" fmla="*/ 725 h 1310"/>
                    <a:gd name="T22" fmla="*/ 114 w 757"/>
                    <a:gd name="T23" fmla="*/ 718 h 1310"/>
                    <a:gd name="T24" fmla="*/ 164 w 757"/>
                    <a:gd name="T25" fmla="*/ 731 h 1310"/>
                    <a:gd name="T26" fmla="*/ 127 w 757"/>
                    <a:gd name="T27" fmla="*/ 838 h 1310"/>
                    <a:gd name="T28" fmla="*/ 166 w 757"/>
                    <a:gd name="T29" fmla="*/ 891 h 1310"/>
                    <a:gd name="T30" fmla="*/ 209 w 757"/>
                    <a:gd name="T31" fmla="*/ 893 h 1310"/>
                    <a:gd name="T32" fmla="*/ 258 w 757"/>
                    <a:gd name="T33" fmla="*/ 847 h 1310"/>
                    <a:gd name="T34" fmla="*/ 288 w 757"/>
                    <a:gd name="T35" fmla="*/ 814 h 1310"/>
                    <a:gd name="T36" fmla="*/ 334 w 757"/>
                    <a:gd name="T37" fmla="*/ 871 h 1310"/>
                    <a:gd name="T38" fmla="*/ 282 w 757"/>
                    <a:gd name="T39" fmla="*/ 915 h 1310"/>
                    <a:gd name="T40" fmla="*/ 290 w 757"/>
                    <a:gd name="T41" fmla="*/ 951 h 1310"/>
                    <a:gd name="T42" fmla="*/ 255 w 757"/>
                    <a:gd name="T43" fmla="*/ 1010 h 1310"/>
                    <a:gd name="T44" fmla="*/ 244 w 757"/>
                    <a:gd name="T45" fmla="*/ 1058 h 1310"/>
                    <a:gd name="T46" fmla="*/ 260 w 757"/>
                    <a:gd name="T47" fmla="*/ 1106 h 1310"/>
                    <a:gd name="T48" fmla="*/ 290 w 757"/>
                    <a:gd name="T49" fmla="*/ 1133 h 1310"/>
                    <a:gd name="T50" fmla="*/ 330 w 757"/>
                    <a:gd name="T51" fmla="*/ 1194 h 1310"/>
                    <a:gd name="T52" fmla="*/ 371 w 757"/>
                    <a:gd name="T53" fmla="*/ 1163 h 1310"/>
                    <a:gd name="T54" fmla="*/ 472 w 757"/>
                    <a:gd name="T55" fmla="*/ 1165 h 1310"/>
                    <a:gd name="T56" fmla="*/ 511 w 757"/>
                    <a:gd name="T57" fmla="*/ 1172 h 1310"/>
                    <a:gd name="T58" fmla="*/ 533 w 757"/>
                    <a:gd name="T59" fmla="*/ 1213 h 1310"/>
                    <a:gd name="T60" fmla="*/ 541 w 757"/>
                    <a:gd name="T61" fmla="*/ 1246 h 1310"/>
                    <a:gd name="T62" fmla="*/ 557 w 757"/>
                    <a:gd name="T63" fmla="*/ 1307 h 1310"/>
                    <a:gd name="T64" fmla="*/ 615 w 757"/>
                    <a:gd name="T65" fmla="*/ 1240 h 1310"/>
                    <a:gd name="T66" fmla="*/ 666 w 757"/>
                    <a:gd name="T67" fmla="*/ 1198 h 1310"/>
                    <a:gd name="T68" fmla="*/ 698 w 757"/>
                    <a:gd name="T69" fmla="*/ 1139 h 1310"/>
                    <a:gd name="T70" fmla="*/ 648 w 757"/>
                    <a:gd name="T71" fmla="*/ 1104 h 1310"/>
                    <a:gd name="T72" fmla="*/ 675 w 757"/>
                    <a:gd name="T73" fmla="*/ 1069 h 1310"/>
                    <a:gd name="T74" fmla="*/ 722 w 757"/>
                    <a:gd name="T75" fmla="*/ 1100 h 1310"/>
                    <a:gd name="T76" fmla="*/ 749 w 757"/>
                    <a:gd name="T77" fmla="*/ 1070 h 1310"/>
                    <a:gd name="T78" fmla="*/ 731 w 757"/>
                    <a:gd name="T79" fmla="*/ 963 h 1310"/>
                    <a:gd name="T80" fmla="*/ 696 w 757"/>
                    <a:gd name="T81" fmla="*/ 888 h 1310"/>
                    <a:gd name="T82" fmla="*/ 668 w 757"/>
                    <a:gd name="T83" fmla="*/ 845 h 1310"/>
                    <a:gd name="T84" fmla="*/ 626 w 757"/>
                    <a:gd name="T85" fmla="*/ 727 h 1310"/>
                    <a:gd name="T86" fmla="*/ 568 w 757"/>
                    <a:gd name="T87" fmla="*/ 688 h 1310"/>
                    <a:gd name="T88" fmla="*/ 563 w 757"/>
                    <a:gd name="T89" fmla="*/ 663 h 1310"/>
                    <a:gd name="T90" fmla="*/ 465 w 757"/>
                    <a:gd name="T91" fmla="*/ 661 h 1310"/>
                    <a:gd name="T92" fmla="*/ 456 w 757"/>
                    <a:gd name="T93" fmla="*/ 729 h 1310"/>
                    <a:gd name="T94" fmla="*/ 447 w 757"/>
                    <a:gd name="T95" fmla="*/ 698 h 1310"/>
                    <a:gd name="T96" fmla="*/ 424 w 757"/>
                    <a:gd name="T97" fmla="*/ 749 h 1310"/>
                    <a:gd name="T98" fmla="*/ 412 w 757"/>
                    <a:gd name="T99" fmla="*/ 742 h 1310"/>
                    <a:gd name="T100" fmla="*/ 393 w 757"/>
                    <a:gd name="T101" fmla="*/ 696 h 1310"/>
                    <a:gd name="T102" fmla="*/ 388 w 757"/>
                    <a:gd name="T103" fmla="*/ 742 h 1310"/>
                    <a:gd name="T104" fmla="*/ 332 w 757"/>
                    <a:gd name="T105" fmla="*/ 701 h 1310"/>
                    <a:gd name="T106" fmla="*/ 288 w 757"/>
                    <a:gd name="T107" fmla="*/ 676 h 1310"/>
                    <a:gd name="T108" fmla="*/ 310 w 757"/>
                    <a:gd name="T109" fmla="*/ 533 h 1310"/>
                    <a:gd name="T110" fmla="*/ 336 w 757"/>
                    <a:gd name="T111" fmla="*/ 299 h 1310"/>
                    <a:gd name="T112" fmla="*/ 362 w 757"/>
                    <a:gd name="T113" fmla="*/ 231 h 1310"/>
                    <a:gd name="T114" fmla="*/ 410 w 757"/>
                    <a:gd name="T115" fmla="*/ 190 h 1310"/>
                    <a:gd name="T116" fmla="*/ 452 w 757"/>
                    <a:gd name="T117" fmla="*/ 159 h 1310"/>
                    <a:gd name="T118" fmla="*/ 474 w 757"/>
                    <a:gd name="T119" fmla="*/ 131 h 1310"/>
                    <a:gd name="T120" fmla="*/ 378 w 757"/>
                    <a:gd name="T121" fmla="*/ 104 h 1310"/>
                    <a:gd name="T122" fmla="*/ 369 w 757"/>
                    <a:gd name="T123" fmla="*/ 26 h 1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57" h="1310">
                      <a:moveTo>
                        <a:pt x="305" y="0"/>
                      </a:moveTo>
                      <a:lnTo>
                        <a:pt x="305" y="4"/>
                      </a:lnTo>
                      <a:lnTo>
                        <a:pt x="305" y="11"/>
                      </a:lnTo>
                      <a:lnTo>
                        <a:pt x="303" y="11"/>
                      </a:lnTo>
                      <a:lnTo>
                        <a:pt x="297" y="11"/>
                      </a:lnTo>
                      <a:lnTo>
                        <a:pt x="293" y="11"/>
                      </a:lnTo>
                      <a:lnTo>
                        <a:pt x="290" y="15"/>
                      </a:lnTo>
                      <a:lnTo>
                        <a:pt x="288" y="20"/>
                      </a:lnTo>
                      <a:lnTo>
                        <a:pt x="288" y="20"/>
                      </a:lnTo>
                      <a:lnTo>
                        <a:pt x="284" y="19"/>
                      </a:lnTo>
                      <a:lnTo>
                        <a:pt x="282" y="19"/>
                      </a:lnTo>
                      <a:lnTo>
                        <a:pt x="279" y="17"/>
                      </a:lnTo>
                      <a:lnTo>
                        <a:pt x="279" y="17"/>
                      </a:lnTo>
                      <a:lnTo>
                        <a:pt x="277" y="17"/>
                      </a:lnTo>
                      <a:lnTo>
                        <a:pt x="277" y="19"/>
                      </a:lnTo>
                      <a:lnTo>
                        <a:pt x="277" y="20"/>
                      </a:lnTo>
                      <a:lnTo>
                        <a:pt x="277" y="20"/>
                      </a:lnTo>
                      <a:lnTo>
                        <a:pt x="277" y="30"/>
                      </a:lnTo>
                      <a:lnTo>
                        <a:pt x="277" y="37"/>
                      </a:lnTo>
                      <a:lnTo>
                        <a:pt x="277" y="46"/>
                      </a:lnTo>
                      <a:lnTo>
                        <a:pt x="277" y="56"/>
                      </a:lnTo>
                      <a:lnTo>
                        <a:pt x="262" y="54"/>
                      </a:lnTo>
                      <a:lnTo>
                        <a:pt x="251" y="52"/>
                      </a:lnTo>
                      <a:lnTo>
                        <a:pt x="242" y="54"/>
                      </a:lnTo>
                      <a:lnTo>
                        <a:pt x="227" y="56"/>
                      </a:lnTo>
                      <a:lnTo>
                        <a:pt x="227" y="57"/>
                      </a:lnTo>
                      <a:lnTo>
                        <a:pt x="227" y="63"/>
                      </a:lnTo>
                      <a:lnTo>
                        <a:pt x="227" y="67"/>
                      </a:lnTo>
                      <a:lnTo>
                        <a:pt x="227" y="72"/>
                      </a:lnTo>
                      <a:lnTo>
                        <a:pt x="227" y="72"/>
                      </a:lnTo>
                      <a:lnTo>
                        <a:pt x="221" y="72"/>
                      </a:lnTo>
                      <a:lnTo>
                        <a:pt x="216" y="72"/>
                      </a:lnTo>
                      <a:lnTo>
                        <a:pt x="216" y="76"/>
                      </a:lnTo>
                      <a:lnTo>
                        <a:pt x="216" y="83"/>
                      </a:lnTo>
                      <a:lnTo>
                        <a:pt x="216" y="83"/>
                      </a:lnTo>
                      <a:lnTo>
                        <a:pt x="210" y="81"/>
                      </a:lnTo>
                      <a:lnTo>
                        <a:pt x="207" y="80"/>
                      </a:lnTo>
                      <a:lnTo>
                        <a:pt x="201" y="78"/>
                      </a:lnTo>
                      <a:lnTo>
                        <a:pt x="197" y="78"/>
                      </a:lnTo>
                      <a:lnTo>
                        <a:pt x="197" y="81"/>
                      </a:lnTo>
                      <a:lnTo>
                        <a:pt x="194" y="87"/>
                      </a:lnTo>
                      <a:lnTo>
                        <a:pt x="186" y="85"/>
                      </a:lnTo>
                      <a:lnTo>
                        <a:pt x="177" y="83"/>
                      </a:lnTo>
                      <a:lnTo>
                        <a:pt x="172" y="81"/>
                      </a:lnTo>
                      <a:lnTo>
                        <a:pt x="164" y="80"/>
                      </a:lnTo>
                      <a:lnTo>
                        <a:pt x="157" y="78"/>
                      </a:lnTo>
                      <a:lnTo>
                        <a:pt x="149" y="78"/>
                      </a:lnTo>
                      <a:lnTo>
                        <a:pt x="142" y="76"/>
                      </a:lnTo>
                      <a:lnTo>
                        <a:pt x="135" y="76"/>
                      </a:lnTo>
                      <a:lnTo>
                        <a:pt x="133" y="85"/>
                      </a:lnTo>
                      <a:lnTo>
                        <a:pt x="133" y="94"/>
                      </a:lnTo>
                      <a:lnTo>
                        <a:pt x="135" y="104"/>
                      </a:lnTo>
                      <a:lnTo>
                        <a:pt x="135" y="113"/>
                      </a:lnTo>
                      <a:lnTo>
                        <a:pt x="137" y="126"/>
                      </a:lnTo>
                      <a:lnTo>
                        <a:pt x="137" y="140"/>
                      </a:lnTo>
                      <a:lnTo>
                        <a:pt x="137" y="157"/>
                      </a:lnTo>
                      <a:lnTo>
                        <a:pt x="137" y="179"/>
                      </a:lnTo>
                      <a:lnTo>
                        <a:pt x="135" y="188"/>
                      </a:lnTo>
                      <a:lnTo>
                        <a:pt x="131" y="196"/>
                      </a:lnTo>
                      <a:lnTo>
                        <a:pt x="129" y="205"/>
                      </a:lnTo>
                      <a:lnTo>
                        <a:pt x="129" y="211"/>
                      </a:lnTo>
                      <a:lnTo>
                        <a:pt x="129" y="218"/>
                      </a:lnTo>
                      <a:lnTo>
                        <a:pt x="129" y="227"/>
                      </a:lnTo>
                      <a:lnTo>
                        <a:pt x="129" y="235"/>
                      </a:lnTo>
                      <a:lnTo>
                        <a:pt x="129" y="244"/>
                      </a:lnTo>
                      <a:lnTo>
                        <a:pt x="133" y="244"/>
                      </a:lnTo>
                      <a:lnTo>
                        <a:pt x="137" y="244"/>
                      </a:lnTo>
                      <a:lnTo>
                        <a:pt x="142" y="244"/>
                      </a:lnTo>
                      <a:lnTo>
                        <a:pt x="146" y="244"/>
                      </a:lnTo>
                      <a:lnTo>
                        <a:pt x="148" y="253"/>
                      </a:lnTo>
                      <a:lnTo>
                        <a:pt x="149" y="260"/>
                      </a:lnTo>
                      <a:lnTo>
                        <a:pt x="151" y="266"/>
                      </a:lnTo>
                      <a:lnTo>
                        <a:pt x="155" y="273"/>
                      </a:lnTo>
                      <a:lnTo>
                        <a:pt x="159" y="281"/>
                      </a:lnTo>
                      <a:lnTo>
                        <a:pt x="162" y="290"/>
                      </a:lnTo>
                      <a:lnTo>
                        <a:pt x="170" y="303"/>
                      </a:lnTo>
                      <a:lnTo>
                        <a:pt x="179" y="319"/>
                      </a:lnTo>
                      <a:lnTo>
                        <a:pt x="179" y="319"/>
                      </a:lnTo>
                      <a:lnTo>
                        <a:pt x="175" y="321"/>
                      </a:lnTo>
                      <a:lnTo>
                        <a:pt x="172" y="323"/>
                      </a:lnTo>
                      <a:lnTo>
                        <a:pt x="170" y="327"/>
                      </a:lnTo>
                      <a:lnTo>
                        <a:pt x="166" y="329"/>
                      </a:lnTo>
                      <a:lnTo>
                        <a:pt x="164" y="330"/>
                      </a:lnTo>
                      <a:lnTo>
                        <a:pt x="162" y="334"/>
                      </a:lnTo>
                      <a:lnTo>
                        <a:pt x="162" y="338"/>
                      </a:lnTo>
                      <a:lnTo>
                        <a:pt x="162" y="338"/>
                      </a:lnTo>
                      <a:lnTo>
                        <a:pt x="161" y="342"/>
                      </a:lnTo>
                      <a:lnTo>
                        <a:pt x="155" y="354"/>
                      </a:lnTo>
                      <a:lnTo>
                        <a:pt x="151" y="371"/>
                      </a:lnTo>
                      <a:lnTo>
                        <a:pt x="151" y="371"/>
                      </a:lnTo>
                      <a:lnTo>
                        <a:pt x="146" y="371"/>
                      </a:lnTo>
                      <a:lnTo>
                        <a:pt x="140" y="371"/>
                      </a:lnTo>
                      <a:lnTo>
                        <a:pt x="140" y="377"/>
                      </a:lnTo>
                      <a:lnTo>
                        <a:pt x="140" y="382"/>
                      </a:lnTo>
                      <a:lnTo>
                        <a:pt x="131" y="382"/>
                      </a:lnTo>
                      <a:lnTo>
                        <a:pt x="120" y="382"/>
                      </a:lnTo>
                      <a:lnTo>
                        <a:pt x="111" y="382"/>
                      </a:lnTo>
                      <a:lnTo>
                        <a:pt x="103" y="382"/>
                      </a:lnTo>
                      <a:lnTo>
                        <a:pt x="103" y="393"/>
                      </a:lnTo>
                      <a:lnTo>
                        <a:pt x="103" y="404"/>
                      </a:lnTo>
                      <a:lnTo>
                        <a:pt x="103" y="414"/>
                      </a:lnTo>
                      <a:lnTo>
                        <a:pt x="103" y="426"/>
                      </a:lnTo>
                      <a:lnTo>
                        <a:pt x="90" y="428"/>
                      </a:lnTo>
                      <a:lnTo>
                        <a:pt x="81" y="430"/>
                      </a:lnTo>
                      <a:lnTo>
                        <a:pt x="70" y="434"/>
                      </a:lnTo>
                      <a:lnTo>
                        <a:pt x="61" y="438"/>
                      </a:lnTo>
                      <a:lnTo>
                        <a:pt x="52" y="441"/>
                      </a:lnTo>
                      <a:lnTo>
                        <a:pt x="42" y="447"/>
                      </a:lnTo>
                      <a:lnTo>
                        <a:pt x="33" y="452"/>
                      </a:lnTo>
                      <a:lnTo>
                        <a:pt x="24" y="458"/>
                      </a:lnTo>
                      <a:lnTo>
                        <a:pt x="22" y="471"/>
                      </a:lnTo>
                      <a:lnTo>
                        <a:pt x="22" y="482"/>
                      </a:lnTo>
                      <a:lnTo>
                        <a:pt x="20" y="493"/>
                      </a:lnTo>
                      <a:lnTo>
                        <a:pt x="20" y="506"/>
                      </a:lnTo>
                      <a:lnTo>
                        <a:pt x="22" y="517"/>
                      </a:lnTo>
                      <a:lnTo>
                        <a:pt x="22" y="517"/>
                      </a:lnTo>
                      <a:lnTo>
                        <a:pt x="22" y="528"/>
                      </a:lnTo>
                      <a:lnTo>
                        <a:pt x="24" y="539"/>
                      </a:lnTo>
                      <a:lnTo>
                        <a:pt x="26" y="552"/>
                      </a:lnTo>
                      <a:lnTo>
                        <a:pt x="24" y="552"/>
                      </a:lnTo>
                      <a:lnTo>
                        <a:pt x="18" y="554"/>
                      </a:lnTo>
                      <a:lnTo>
                        <a:pt x="11" y="556"/>
                      </a:lnTo>
                      <a:lnTo>
                        <a:pt x="6" y="557"/>
                      </a:lnTo>
                      <a:lnTo>
                        <a:pt x="0" y="559"/>
                      </a:lnTo>
                      <a:lnTo>
                        <a:pt x="9" y="563"/>
                      </a:lnTo>
                      <a:lnTo>
                        <a:pt x="18" y="569"/>
                      </a:lnTo>
                      <a:lnTo>
                        <a:pt x="28" y="572"/>
                      </a:lnTo>
                      <a:lnTo>
                        <a:pt x="37" y="578"/>
                      </a:lnTo>
                      <a:lnTo>
                        <a:pt x="37" y="589"/>
                      </a:lnTo>
                      <a:lnTo>
                        <a:pt x="37" y="600"/>
                      </a:lnTo>
                      <a:lnTo>
                        <a:pt x="37" y="611"/>
                      </a:lnTo>
                      <a:lnTo>
                        <a:pt x="37" y="624"/>
                      </a:lnTo>
                      <a:lnTo>
                        <a:pt x="35" y="624"/>
                      </a:lnTo>
                      <a:lnTo>
                        <a:pt x="30" y="624"/>
                      </a:lnTo>
                      <a:lnTo>
                        <a:pt x="26" y="624"/>
                      </a:lnTo>
                      <a:lnTo>
                        <a:pt x="24" y="626"/>
                      </a:lnTo>
                      <a:lnTo>
                        <a:pt x="24" y="629"/>
                      </a:lnTo>
                      <a:lnTo>
                        <a:pt x="22" y="635"/>
                      </a:lnTo>
                      <a:lnTo>
                        <a:pt x="22" y="637"/>
                      </a:lnTo>
                      <a:lnTo>
                        <a:pt x="26" y="639"/>
                      </a:lnTo>
                      <a:lnTo>
                        <a:pt x="31" y="639"/>
                      </a:lnTo>
                      <a:lnTo>
                        <a:pt x="31" y="639"/>
                      </a:lnTo>
                      <a:lnTo>
                        <a:pt x="35" y="641"/>
                      </a:lnTo>
                      <a:lnTo>
                        <a:pt x="39" y="641"/>
                      </a:lnTo>
                      <a:lnTo>
                        <a:pt x="39" y="641"/>
                      </a:lnTo>
                      <a:lnTo>
                        <a:pt x="42" y="642"/>
                      </a:lnTo>
                      <a:lnTo>
                        <a:pt x="46" y="644"/>
                      </a:lnTo>
                      <a:lnTo>
                        <a:pt x="46" y="644"/>
                      </a:lnTo>
                      <a:lnTo>
                        <a:pt x="50" y="646"/>
                      </a:lnTo>
                      <a:lnTo>
                        <a:pt x="50" y="646"/>
                      </a:lnTo>
                      <a:lnTo>
                        <a:pt x="54" y="648"/>
                      </a:lnTo>
                      <a:lnTo>
                        <a:pt x="55" y="652"/>
                      </a:lnTo>
                      <a:lnTo>
                        <a:pt x="55" y="652"/>
                      </a:lnTo>
                      <a:lnTo>
                        <a:pt x="59" y="653"/>
                      </a:lnTo>
                      <a:lnTo>
                        <a:pt x="59" y="653"/>
                      </a:lnTo>
                      <a:lnTo>
                        <a:pt x="61" y="657"/>
                      </a:lnTo>
                      <a:lnTo>
                        <a:pt x="61" y="657"/>
                      </a:lnTo>
                      <a:lnTo>
                        <a:pt x="63" y="659"/>
                      </a:lnTo>
                      <a:lnTo>
                        <a:pt x="63" y="659"/>
                      </a:lnTo>
                      <a:lnTo>
                        <a:pt x="65" y="663"/>
                      </a:lnTo>
                      <a:lnTo>
                        <a:pt x="65" y="663"/>
                      </a:lnTo>
                      <a:lnTo>
                        <a:pt x="66" y="666"/>
                      </a:lnTo>
                      <a:lnTo>
                        <a:pt x="66" y="666"/>
                      </a:lnTo>
                      <a:lnTo>
                        <a:pt x="70" y="672"/>
                      </a:lnTo>
                      <a:lnTo>
                        <a:pt x="72" y="677"/>
                      </a:lnTo>
                      <a:lnTo>
                        <a:pt x="70" y="677"/>
                      </a:lnTo>
                      <a:lnTo>
                        <a:pt x="63" y="679"/>
                      </a:lnTo>
                      <a:lnTo>
                        <a:pt x="59" y="681"/>
                      </a:lnTo>
                      <a:lnTo>
                        <a:pt x="57" y="681"/>
                      </a:lnTo>
                      <a:lnTo>
                        <a:pt x="55" y="683"/>
                      </a:lnTo>
                      <a:lnTo>
                        <a:pt x="54" y="685"/>
                      </a:lnTo>
                      <a:lnTo>
                        <a:pt x="52" y="687"/>
                      </a:lnTo>
                      <a:lnTo>
                        <a:pt x="55" y="703"/>
                      </a:lnTo>
                      <a:lnTo>
                        <a:pt x="59" y="716"/>
                      </a:lnTo>
                      <a:lnTo>
                        <a:pt x="59" y="716"/>
                      </a:lnTo>
                      <a:lnTo>
                        <a:pt x="61" y="725"/>
                      </a:lnTo>
                      <a:lnTo>
                        <a:pt x="63" y="731"/>
                      </a:lnTo>
                      <a:lnTo>
                        <a:pt x="65" y="736"/>
                      </a:lnTo>
                      <a:lnTo>
                        <a:pt x="66" y="740"/>
                      </a:lnTo>
                      <a:lnTo>
                        <a:pt x="68" y="742"/>
                      </a:lnTo>
                      <a:lnTo>
                        <a:pt x="72" y="746"/>
                      </a:lnTo>
                      <a:lnTo>
                        <a:pt x="81" y="742"/>
                      </a:lnTo>
                      <a:lnTo>
                        <a:pt x="90" y="738"/>
                      </a:lnTo>
                      <a:lnTo>
                        <a:pt x="100" y="735"/>
                      </a:lnTo>
                      <a:lnTo>
                        <a:pt x="109" y="731"/>
                      </a:lnTo>
                      <a:lnTo>
                        <a:pt x="111" y="727"/>
                      </a:lnTo>
                      <a:lnTo>
                        <a:pt x="111" y="727"/>
                      </a:lnTo>
                      <a:lnTo>
                        <a:pt x="111" y="725"/>
                      </a:lnTo>
                      <a:lnTo>
                        <a:pt x="111" y="725"/>
                      </a:lnTo>
                      <a:lnTo>
                        <a:pt x="113" y="722"/>
                      </a:lnTo>
                      <a:lnTo>
                        <a:pt x="114" y="718"/>
                      </a:lnTo>
                      <a:lnTo>
                        <a:pt x="114" y="718"/>
                      </a:lnTo>
                      <a:lnTo>
                        <a:pt x="122" y="716"/>
                      </a:lnTo>
                      <a:lnTo>
                        <a:pt x="127" y="716"/>
                      </a:lnTo>
                      <a:lnTo>
                        <a:pt x="135" y="714"/>
                      </a:lnTo>
                      <a:lnTo>
                        <a:pt x="142" y="712"/>
                      </a:lnTo>
                      <a:lnTo>
                        <a:pt x="142" y="714"/>
                      </a:lnTo>
                      <a:lnTo>
                        <a:pt x="144" y="718"/>
                      </a:lnTo>
                      <a:lnTo>
                        <a:pt x="146" y="722"/>
                      </a:lnTo>
                      <a:lnTo>
                        <a:pt x="149" y="722"/>
                      </a:lnTo>
                      <a:lnTo>
                        <a:pt x="155" y="720"/>
                      </a:lnTo>
                      <a:lnTo>
                        <a:pt x="159" y="720"/>
                      </a:lnTo>
                      <a:lnTo>
                        <a:pt x="159" y="720"/>
                      </a:lnTo>
                      <a:lnTo>
                        <a:pt x="164" y="718"/>
                      </a:lnTo>
                      <a:lnTo>
                        <a:pt x="164" y="720"/>
                      </a:lnTo>
                      <a:lnTo>
                        <a:pt x="164" y="724"/>
                      </a:lnTo>
                      <a:lnTo>
                        <a:pt x="164" y="727"/>
                      </a:lnTo>
                      <a:lnTo>
                        <a:pt x="164" y="731"/>
                      </a:lnTo>
                      <a:lnTo>
                        <a:pt x="164" y="736"/>
                      </a:lnTo>
                      <a:lnTo>
                        <a:pt x="164" y="736"/>
                      </a:lnTo>
                      <a:lnTo>
                        <a:pt x="159" y="736"/>
                      </a:lnTo>
                      <a:lnTo>
                        <a:pt x="153" y="736"/>
                      </a:lnTo>
                      <a:lnTo>
                        <a:pt x="149" y="751"/>
                      </a:lnTo>
                      <a:lnTo>
                        <a:pt x="144" y="766"/>
                      </a:lnTo>
                      <a:lnTo>
                        <a:pt x="140" y="779"/>
                      </a:lnTo>
                      <a:lnTo>
                        <a:pt x="135" y="790"/>
                      </a:lnTo>
                      <a:lnTo>
                        <a:pt x="135" y="792"/>
                      </a:lnTo>
                      <a:lnTo>
                        <a:pt x="133" y="797"/>
                      </a:lnTo>
                      <a:lnTo>
                        <a:pt x="133" y="803"/>
                      </a:lnTo>
                      <a:lnTo>
                        <a:pt x="131" y="810"/>
                      </a:lnTo>
                      <a:lnTo>
                        <a:pt x="129" y="816"/>
                      </a:lnTo>
                      <a:lnTo>
                        <a:pt x="127" y="823"/>
                      </a:lnTo>
                      <a:lnTo>
                        <a:pt x="127" y="831"/>
                      </a:lnTo>
                      <a:lnTo>
                        <a:pt x="127" y="838"/>
                      </a:lnTo>
                      <a:lnTo>
                        <a:pt x="127" y="845"/>
                      </a:lnTo>
                      <a:lnTo>
                        <a:pt x="125" y="845"/>
                      </a:lnTo>
                      <a:lnTo>
                        <a:pt x="124" y="847"/>
                      </a:lnTo>
                      <a:lnTo>
                        <a:pt x="120" y="847"/>
                      </a:lnTo>
                      <a:lnTo>
                        <a:pt x="116" y="847"/>
                      </a:lnTo>
                      <a:lnTo>
                        <a:pt x="114" y="849"/>
                      </a:lnTo>
                      <a:lnTo>
                        <a:pt x="113" y="858"/>
                      </a:lnTo>
                      <a:lnTo>
                        <a:pt x="113" y="866"/>
                      </a:lnTo>
                      <a:lnTo>
                        <a:pt x="111" y="875"/>
                      </a:lnTo>
                      <a:lnTo>
                        <a:pt x="111" y="882"/>
                      </a:lnTo>
                      <a:lnTo>
                        <a:pt x="120" y="880"/>
                      </a:lnTo>
                      <a:lnTo>
                        <a:pt x="133" y="877"/>
                      </a:lnTo>
                      <a:lnTo>
                        <a:pt x="144" y="875"/>
                      </a:lnTo>
                      <a:lnTo>
                        <a:pt x="155" y="871"/>
                      </a:lnTo>
                      <a:lnTo>
                        <a:pt x="161" y="882"/>
                      </a:lnTo>
                      <a:lnTo>
                        <a:pt x="166" y="891"/>
                      </a:lnTo>
                      <a:lnTo>
                        <a:pt x="172" y="901"/>
                      </a:lnTo>
                      <a:lnTo>
                        <a:pt x="175" y="910"/>
                      </a:lnTo>
                      <a:lnTo>
                        <a:pt x="179" y="910"/>
                      </a:lnTo>
                      <a:lnTo>
                        <a:pt x="185" y="910"/>
                      </a:lnTo>
                      <a:lnTo>
                        <a:pt x="188" y="910"/>
                      </a:lnTo>
                      <a:lnTo>
                        <a:pt x="192" y="910"/>
                      </a:lnTo>
                      <a:lnTo>
                        <a:pt x="194" y="904"/>
                      </a:lnTo>
                      <a:lnTo>
                        <a:pt x="194" y="904"/>
                      </a:lnTo>
                      <a:lnTo>
                        <a:pt x="196" y="899"/>
                      </a:lnTo>
                      <a:lnTo>
                        <a:pt x="196" y="899"/>
                      </a:lnTo>
                      <a:lnTo>
                        <a:pt x="199" y="901"/>
                      </a:lnTo>
                      <a:lnTo>
                        <a:pt x="203" y="903"/>
                      </a:lnTo>
                      <a:lnTo>
                        <a:pt x="205" y="903"/>
                      </a:lnTo>
                      <a:lnTo>
                        <a:pt x="209" y="904"/>
                      </a:lnTo>
                      <a:lnTo>
                        <a:pt x="209" y="899"/>
                      </a:lnTo>
                      <a:lnTo>
                        <a:pt x="209" y="893"/>
                      </a:lnTo>
                      <a:lnTo>
                        <a:pt x="209" y="893"/>
                      </a:lnTo>
                      <a:lnTo>
                        <a:pt x="214" y="891"/>
                      </a:lnTo>
                      <a:lnTo>
                        <a:pt x="220" y="890"/>
                      </a:lnTo>
                      <a:lnTo>
                        <a:pt x="225" y="888"/>
                      </a:lnTo>
                      <a:lnTo>
                        <a:pt x="229" y="888"/>
                      </a:lnTo>
                      <a:lnTo>
                        <a:pt x="229" y="882"/>
                      </a:lnTo>
                      <a:lnTo>
                        <a:pt x="229" y="877"/>
                      </a:lnTo>
                      <a:lnTo>
                        <a:pt x="231" y="877"/>
                      </a:lnTo>
                      <a:lnTo>
                        <a:pt x="234" y="875"/>
                      </a:lnTo>
                      <a:lnTo>
                        <a:pt x="238" y="873"/>
                      </a:lnTo>
                      <a:lnTo>
                        <a:pt x="238" y="873"/>
                      </a:lnTo>
                      <a:lnTo>
                        <a:pt x="244" y="873"/>
                      </a:lnTo>
                      <a:lnTo>
                        <a:pt x="247" y="871"/>
                      </a:lnTo>
                      <a:lnTo>
                        <a:pt x="251" y="864"/>
                      </a:lnTo>
                      <a:lnTo>
                        <a:pt x="255" y="856"/>
                      </a:lnTo>
                      <a:lnTo>
                        <a:pt x="258" y="847"/>
                      </a:lnTo>
                      <a:lnTo>
                        <a:pt x="262" y="840"/>
                      </a:lnTo>
                      <a:lnTo>
                        <a:pt x="262" y="840"/>
                      </a:lnTo>
                      <a:lnTo>
                        <a:pt x="266" y="840"/>
                      </a:lnTo>
                      <a:lnTo>
                        <a:pt x="269" y="838"/>
                      </a:lnTo>
                      <a:lnTo>
                        <a:pt x="271" y="838"/>
                      </a:lnTo>
                      <a:lnTo>
                        <a:pt x="275" y="836"/>
                      </a:lnTo>
                      <a:lnTo>
                        <a:pt x="277" y="836"/>
                      </a:lnTo>
                      <a:lnTo>
                        <a:pt x="279" y="834"/>
                      </a:lnTo>
                      <a:lnTo>
                        <a:pt x="281" y="832"/>
                      </a:lnTo>
                      <a:lnTo>
                        <a:pt x="282" y="831"/>
                      </a:lnTo>
                      <a:lnTo>
                        <a:pt x="282" y="829"/>
                      </a:lnTo>
                      <a:lnTo>
                        <a:pt x="282" y="829"/>
                      </a:lnTo>
                      <a:lnTo>
                        <a:pt x="284" y="825"/>
                      </a:lnTo>
                      <a:lnTo>
                        <a:pt x="286" y="823"/>
                      </a:lnTo>
                      <a:lnTo>
                        <a:pt x="286" y="820"/>
                      </a:lnTo>
                      <a:lnTo>
                        <a:pt x="288" y="814"/>
                      </a:lnTo>
                      <a:lnTo>
                        <a:pt x="290" y="805"/>
                      </a:lnTo>
                      <a:lnTo>
                        <a:pt x="292" y="805"/>
                      </a:lnTo>
                      <a:lnTo>
                        <a:pt x="295" y="805"/>
                      </a:lnTo>
                      <a:lnTo>
                        <a:pt x="299" y="805"/>
                      </a:lnTo>
                      <a:lnTo>
                        <a:pt x="303" y="805"/>
                      </a:lnTo>
                      <a:lnTo>
                        <a:pt x="308" y="805"/>
                      </a:lnTo>
                      <a:lnTo>
                        <a:pt x="308" y="807"/>
                      </a:lnTo>
                      <a:lnTo>
                        <a:pt x="308" y="812"/>
                      </a:lnTo>
                      <a:lnTo>
                        <a:pt x="308" y="816"/>
                      </a:lnTo>
                      <a:lnTo>
                        <a:pt x="312" y="816"/>
                      </a:lnTo>
                      <a:lnTo>
                        <a:pt x="319" y="816"/>
                      </a:lnTo>
                      <a:lnTo>
                        <a:pt x="321" y="831"/>
                      </a:lnTo>
                      <a:lnTo>
                        <a:pt x="325" y="844"/>
                      </a:lnTo>
                      <a:lnTo>
                        <a:pt x="327" y="858"/>
                      </a:lnTo>
                      <a:lnTo>
                        <a:pt x="330" y="871"/>
                      </a:lnTo>
                      <a:lnTo>
                        <a:pt x="334" y="871"/>
                      </a:lnTo>
                      <a:lnTo>
                        <a:pt x="340" y="871"/>
                      </a:lnTo>
                      <a:lnTo>
                        <a:pt x="341" y="871"/>
                      </a:lnTo>
                      <a:lnTo>
                        <a:pt x="341" y="879"/>
                      </a:lnTo>
                      <a:lnTo>
                        <a:pt x="343" y="888"/>
                      </a:lnTo>
                      <a:lnTo>
                        <a:pt x="345" y="895"/>
                      </a:lnTo>
                      <a:lnTo>
                        <a:pt x="347" y="904"/>
                      </a:lnTo>
                      <a:lnTo>
                        <a:pt x="345" y="904"/>
                      </a:lnTo>
                      <a:lnTo>
                        <a:pt x="338" y="904"/>
                      </a:lnTo>
                      <a:lnTo>
                        <a:pt x="329" y="906"/>
                      </a:lnTo>
                      <a:lnTo>
                        <a:pt x="321" y="906"/>
                      </a:lnTo>
                      <a:lnTo>
                        <a:pt x="312" y="908"/>
                      </a:lnTo>
                      <a:lnTo>
                        <a:pt x="305" y="908"/>
                      </a:lnTo>
                      <a:lnTo>
                        <a:pt x="297" y="908"/>
                      </a:lnTo>
                      <a:lnTo>
                        <a:pt x="288" y="910"/>
                      </a:lnTo>
                      <a:lnTo>
                        <a:pt x="281" y="910"/>
                      </a:lnTo>
                      <a:lnTo>
                        <a:pt x="282" y="915"/>
                      </a:lnTo>
                      <a:lnTo>
                        <a:pt x="282" y="921"/>
                      </a:lnTo>
                      <a:lnTo>
                        <a:pt x="284" y="927"/>
                      </a:lnTo>
                      <a:lnTo>
                        <a:pt x="286" y="930"/>
                      </a:lnTo>
                      <a:lnTo>
                        <a:pt x="290" y="932"/>
                      </a:lnTo>
                      <a:lnTo>
                        <a:pt x="292" y="934"/>
                      </a:lnTo>
                      <a:lnTo>
                        <a:pt x="292" y="934"/>
                      </a:lnTo>
                      <a:lnTo>
                        <a:pt x="295" y="934"/>
                      </a:lnTo>
                      <a:lnTo>
                        <a:pt x="301" y="936"/>
                      </a:lnTo>
                      <a:lnTo>
                        <a:pt x="299" y="938"/>
                      </a:lnTo>
                      <a:lnTo>
                        <a:pt x="297" y="939"/>
                      </a:lnTo>
                      <a:lnTo>
                        <a:pt x="297" y="943"/>
                      </a:lnTo>
                      <a:lnTo>
                        <a:pt x="295" y="947"/>
                      </a:lnTo>
                      <a:lnTo>
                        <a:pt x="295" y="947"/>
                      </a:lnTo>
                      <a:lnTo>
                        <a:pt x="293" y="949"/>
                      </a:lnTo>
                      <a:lnTo>
                        <a:pt x="293" y="949"/>
                      </a:lnTo>
                      <a:lnTo>
                        <a:pt x="290" y="951"/>
                      </a:lnTo>
                      <a:lnTo>
                        <a:pt x="288" y="952"/>
                      </a:lnTo>
                      <a:lnTo>
                        <a:pt x="288" y="952"/>
                      </a:lnTo>
                      <a:lnTo>
                        <a:pt x="284" y="952"/>
                      </a:lnTo>
                      <a:lnTo>
                        <a:pt x="284" y="952"/>
                      </a:lnTo>
                      <a:lnTo>
                        <a:pt x="281" y="954"/>
                      </a:lnTo>
                      <a:lnTo>
                        <a:pt x="277" y="962"/>
                      </a:lnTo>
                      <a:lnTo>
                        <a:pt x="273" y="973"/>
                      </a:lnTo>
                      <a:lnTo>
                        <a:pt x="269" y="982"/>
                      </a:lnTo>
                      <a:lnTo>
                        <a:pt x="266" y="993"/>
                      </a:lnTo>
                      <a:lnTo>
                        <a:pt x="266" y="993"/>
                      </a:lnTo>
                      <a:lnTo>
                        <a:pt x="262" y="997"/>
                      </a:lnTo>
                      <a:lnTo>
                        <a:pt x="260" y="1002"/>
                      </a:lnTo>
                      <a:lnTo>
                        <a:pt x="258" y="1006"/>
                      </a:lnTo>
                      <a:lnTo>
                        <a:pt x="258" y="1006"/>
                      </a:lnTo>
                      <a:lnTo>
                        <a:pt x="255" y="1010"/>
                      </a:lnTo>
                      <a:lnTo>
                        <a:pt x="255" y="1010"/>
                      </a:lnTo>
                      <a:lnTo>
                        <a:pt x="251" y="1013"/>
                      </a:lnTo>
                      <a:lnTo>
                        <a:pt x="245" y="1015"/>
                      </a:lnTo>
                      <a:lnTo>
                        <a:pt x="245" y="1015"/>
                      </a:lnTo>
                      <a:lnTo>
                        <a:pt x="242" y="1017"/>
                      </a:lnTo>
                      <a:lnTo>
                        <a:pt x="238" y="1019"/>
                      </a:lnTo>
                      <a:lnTo>
                        <a:pt x="238" y="1023"/>
                      </a:lnTo>
                      <a:lnTo>
                        <a:pt x="238" y="1023"/>
                      </a:lnTo>
                      <a:lnTo>
                        <a:pt x="240" y="1026"/>
                      </a:lnTo>
                      <a:lnTo>
                        <a:pt x="242" y="1030"/>
                      </a:lnTo>
                      <a:lnTo>
                        <a:pt x="242" y="1030"/>
                      </a:lnTo>
                      <a:lnTo>
                        <a:pt x="244" y="1034"/>
                      </a:lnTo>
                      <a:lnTo>
                        <a:pt x="244" y="1039"/>
                      </a:lnTo>
                      <a:lnTo>
                        <a:pt x="244" y="1043"/>
                      </a:lnTo>
                      <a:lnTo>
                        <a:pt x="244" y="1047"/>
                      </a:lnTo>
                      <a:lnTo>
                        <a:pt x="244" y="1050"/>
                      </a:lnTo>
                      <a:lnTo>
                        <a:pt x="244" y="1058"/>
                      </a:lnTo>
                      <a:lnTo>
                        <a:pt x="244" y="1058"/>
                      </a:lnTo>
                      <a:lnTo>
                        <a:pt x="244" y="1067"/>
                      </a:lnTo>
                      <a:lnTo>
                        <a:pt x="244" y="1076"/>
                      </a:lnTo>
                      <a:lnTo>
                        <a:pt x="244" y="1085"/>
                      </a:lnTo>
                      <a:lnTo>
                        <a:pt x="242" y="1085"/>
                      </a:lnTo>
                      <a:lnTo>
                        <a:pt x="238" y="1087"/>
                      </a:lnTo>
                      <a:lnTo>
                        <a:pt x="233" y="1089"/>
                      </a:lnTo>
                      <a:lnTo>
                        <a:pt x="234" y="1093"/>
                      </a:lnTo>
                      <a:lnTo>
                        <a:pt x="236" y="1098"/>
                      </a:lnTo>
                      <a:lnTo>
                        <a:pt x="240" y="1104"/>
                      </a:lnTo>
                      <a:lnTo>
                        <a:pt x="242" y="1109"/>
                      </a:lnTo>
                      <a:lnTo>
                        <a:pt x="245" y="1107"/>
                      </a:lnTo>
                      <a:lnTo>
                        <a:pt x="249" y="1107"/>
                      </a:lnTo>
                      <a:lnTo>
                        <a:pt x="255" y="1106"/>
                      </a:lnTo>
                      <a:lnTo>
                        <a:pt x="260" y="1106"/>
                      </a:lnTo>
                      <a:lnTo>
                        <a:pt x="260" y="1106"/>
                      </a:lnTo>
                      <a:lnTo>
                        <a:pt x="258" y="1109"/>
                      </a:lnTo>
                      <a:lnTo>
                        <a:pt x="257" y="1111"/>
                      </a:lnTo>
                      <a:lnTo>
                        <a:pt x="257" y="1115"/>
                      </a:lnTo>
                      <a:lnTo>
                        <a:pt x="257" y="1115"/>
                      </a:lnTo>
                      <a:lnTo>
                        <a:pt x="255" y="1117"/>
                      </a:lnTo>
                      <a:lnTo>
                        <a:pt x="266" y="1120"/>
                      </a:lnTo>
                      <a:lnTo>
                        <a:pt x="275" y="1124"/>
                      </a:lnTo>
                      <a:lnTo>
                        <a:pt x="275" y="1124"/>
                      </a:lnTo>
                      <a:lnTo>
                        <a:pt x="279" y="1126"/>
                      </a:lnTo>
                      <a:lnTo>
                        <a:pt x="282" y="1126"/>
                      </a:lnTo>
                      <a:lnTo>
                        <a:pt x="282" y="1126"/>
                      </a:lnTo>
                      <a:lnTo>
                        <a:pt x="284" y="1128"/>
                      </a:lnTo>
                      <a:lnTo>
                        <a:pt x="284" y="1128"/>
                      </a:lnTo>
                      <a:lnTo>
                        <a:pt x="288" y="1131"/>
                      </a:lnTo>
                      <a:lnTo>
                        <a:pt x="290" y="1133"/>
                      </a:lnTo>
                      <a:lnTo>
                        <a:pt x="290" y="1133"/>
                      </a:lnTo>
                      <a:lnTo>
                        <a:pt x="293" y="1135"/>
                      </a:lnTo>
                      <a:lnTo>
                        <a:pt x="295" y="1139"/>
                      </a:lnTo>
                      <a:lnTo>
                        <a:pt x="297" y="1141"/>
                      </a:lnTo>
                      <a:lnTo>
                        <a:pt x="303" y="1150"/>
                      </a:lnTo>
                      <a:lnTo>
                        <a:pt x="308" y="1159"/>
                      </a:lnTo>
                      <a:lnTo>
                        <a:pt x="314" y="1159"/>
                      </a:lnTo>
                      <a:lnTo>
                        <a:pt x="321" y="1159"/>
                      </a:lnTo>
                      <a:lnTo>
                        <a:pt x="321" y="1161"/>
                      </a:lnTo>
                      <a:lnTo>
                        <a:pt x="321" y="1170"/>
                      </a:lnTo>
                      <a:lnTo>
                        <a:pt x="321" y="1179"/>
                      </a:lnTo>
                      <a:lnTo>
                        <a:pt x="321" y="1189"/>
                      </a:lnTo>
                      <a:lnTo>
                        <a:pt x="321" y="1198"/>
                      </a:lnTo>
                      <a:lnTo>
                        <a:pt x="323" y="1196"/>
                      </a:lnTo>
                      <a:lnTo>
                        <a:pt x="325" y="1196"/>
                      </a:lnTo>
                      <a:lnTo>
                        <a:pt x="329" y="1194"/>
                      </a:lnTo>
                      <a:lnTo>
                        <a:pt x="330" y="1194"/>
                      </a:lnTo>
                      <a:lnTo>
                        <a:pt x="332" y="1190"/>
                      </a:lnTo>
                      <a:lnTo>
                        <a:pt x="332" y="1189"/>
                      </a:lnTo>
                      <a:lnTo>
                        <a:pt x="332" y="1187"/>
                      </a:lnTo>
                      <a:lnTo>
                        <a:pt x="334" y="1185"/>
                      </a:lnTo>
                      <a:lnTo>
                        <a:pt x="336" y="1181"/>
                      </a:lnTo>
                      <a:lnTo>
                        <a:pt x="336" y="1181"/>
                      </a:lnTo>
                      <a:lnTo>
                        <a:pt x="341" y="1181"/>
                      </a:lnTo>
                      <a:lnTo>
                        <a:pt x="347" y="1181"/>
                      </a:lnTo>
                      <a:lnTo>
                        <a:pt x="347" y="1176"/>
                      </a:lnTo>
                      <a:lnTo>
                        <a:pt x="347" y="1170"/>
                      </a:lnTo>
                      <a:lnTo>
                        <a:pt x="347" y="1165"/>
                      </a:lnTo>
                      <a:lnTo>
                        <a:pt x="347" y="1159"/>
                      </a:lnTo>
                      <a:lnTo>
                        <a:pt x="347" y="1159"/>
                      </a:lnTo>
                      <a:lnTo>
                        <a:pt x="354" y="1161"/>
                      </a:lnTo>
                      <a:lnTo>
                        <a:pt x="364" y="1161"/>
                      </a:lnTo>
                      <a:lnTo>
                        <a:pt x="371" y="1163"/>
                      </a:lnTo>
                      <a:lnTo>
                        <a:pt x="378" y="1165"/>
                      </a:lnTo>
                      <a:lnTo>
                        <a:pt x="380" y="1161"/>
                      </a:lnTo>
                      <a:lnTo>
                        <a:pt x="380" y="1161"/>
                      </a:lnTo>
                      <a:lnTo>
                        <a:pt x="384" y="1155"/>
                      </a:lnTo>
                      <a:lnTo>
                        <a:pt x="395" y="1159"/>
                      </a:lnTo>
                      <a:lnTo>
                        <a:pt x="406" y="1161"/>
                      </a:lnTo>
                      <a:lnTo>
                        <a:pt x="415" y="1165"/>
                      </a:lnTo>
                      <a:lnTo>
                        <a:pt x="424" y="1168"/>
                      </a:lnTo>
                      <a:lnTo>
                        <a:pt x="434" y="1170"/>
                      </a:lnTo>
                      <a:lnTo>
                        <a:pt x="445" y="1172"/>
                      </a:lnTo>
                      <a:lnTo>
                        <a:pt x="456" y="1174"/>
                      </a:lnTo>
                      <a:lnTo>
                        <a:pt x="467" y="1174"/>
                      </a:lnTo>
                      <a:lnTo>
                        <a:pt x="467" y="1170"/>
                      </a:lnTo>
                      <a:lnTo>
                        <a:pt x="467" y="1165"/>
                      </a:lnTo>
                      <a:lnTo>
                        <a:pt x="467" y="1165"/>
                      </a:lnTo>
                      <a:lnTo>
                        <a:pt x="472" y="1165"/>
                      </a:lnTo>
                      <a:lnTo>
                        <a:pt x="478" y="1165"/>
                      </a:lnTo>
                      <a:lnTo>
                        <a:pt x="478" y="1159"/>
                      </a:lnTo>
                      <a:lnTo>
                        <a:pt x="478" y="1154"/>
                      </a:lnTo>
                      <a:lnTo>
                        <a:pt x="489" y="1154"/>
                      </a:lnTo>
                      <a:lnTo>
                        <a:pt x="500" y="1154"/>
                      </a:lnTo>
                      <a:lnTo>
                        <a:pt x="511" y="1154"/>
                      </a:lnTo>
                      <a:lnTo>
                        <a:pt x="524" y="1154"/>
                      </a:lnTo>
                      <a:lnTo>
                        <a:pt x="522" y="1154"/>
                      </a:lnTo>
                      <a:lnTo>
                        <a:pt x="522" y="1159"/>
                      </a:lnTo>
                      <a:lnTo>
                        <a:pt x="520" y="1161"/>
                      </a:lnTo>
                      <a:lnTo>
                        <a:pt x="519" y="1165"/>
                      </a:lnTo>
                      <a:lnTo>
                        <a:pt x="519" y="1165"/>
                      </a:lnTo>
                      <a:lnTo>
                        <a:pt x="517" y="1166"/>
                      </a:lnTo>
                      <a:lnTo>
                        <a:pt x="515" y="1170"/>
                      </a:lnTo>
                      <a:lnTo>
                        <a:pt x="515" y="1170"/>
                      </a:lnTo>
                      <a:lnTo>
                        <a:pt x="511" y="1172"/>
                      </a:lnTo>
                      <a:lnTo>
                        <a:pt x="508" y="1178"/>
                      </a:lnTo>
                      <a:lnTo>
                        <a:pt x="502" y="1181"/>
                      </a:lnTo>
                      <a:lnTo>
                        <a:pt x="504" y="1181"/>
                      </a:lnTo>
                      <a:lnTo>
                        <a:pt x="509" y="1183"/>
                      </a:lnTo>
                      <a:lnTo>
                        <a:pt x="513" y="1183"/>
                      </a:lnTo>
                      <a:lnTo>
                        <a:pt x="513" y="1183"/>
                      </a:lnTo>
                      <a:lnTo>
                        <a:pt x="519" y="1185"/>
                      </a:lnTo>
                      <a:lnTo>
                        <a:pt x="519" y="1185"/>
                      </a:lnTo>
                      <a:lnTo>
                        <a:pt x="520" y="1190"/>
                      </a:lnTo>
                      <a:lnTo>
                        <a:pt x="520" y="1196"/>
                      </a:lnTo>
                      <a:lnTo>
                        <a:pt x="522" y="1202"/>
                      </a:lnTo>
                      <a:lnTo>
                        <a:pt x="524" y="1207"/>
                      </a:lnTo>
                      <a:lnTo>
                        <a:pt x="528" y="1209"/>
                      </a:lnTo>
                      <a:lnTo>
                        <a:pt x="533" y="1213"/>
                      </a:lnTo>
                      <a:lnTo>
                        <a:pt x="533" y="1213"/>
                      </a:lnTo>
                      <a:lnTo>
                        <a:pt x="533" y="1213"/>
                      </a:lnTo>
                      <a:lnTo>
                        <a:pt x="537" y="1214"/>
                      </a:lnTo>
                      <a:lnTo>
                        <a:pt x="537" y="1214"/>
                      </a:lnTo>
                      <a:lnTo>
                        <a:pt x="537" y="1216"/>
                      </a:lnTo>
                      <a:lnTo>
                        <a:pt x="539" y="1218"/>
                      </a:lnTo>
                      <a:lnTo>
                        <a:pt x="539" y="1218"/>
                      </a:lnTo>
                      <a:lnTo>
                        <a:pt x="541" y="1222"/>
                      </a:lnTo>
                      <a:lnTo>
                        <a:pt x="541" y="1222"/>
                      </a:lnTo>
                      <a:lnTo>
                        <a:pt x="543" y="1226"/>
                      </a:lnTo>
                      <a:lnTo>
                        <a:pt x="543" y="1226"/>
                      </a:lnTo>
                      <a:lnTo>
                        <a:pt x="543" y="1229"/>
                      </a:lnTo>
                      <a:lnTo>
                        <a:pt x="543" y="1229"/>
                      </a:lnTo>
                      <a:lnTo>
                        <a:pt x="543" y="1233"/>
                      </a:lnTo>
                      <a:lnTo>
                        <a:pt x="543" y="1233"/>
                      </a:lnTo>
                      <a:lnTo>
                        <a:pt x="543" y="1237"/>
                      </a:lnTo>
                      <a:lnTo>
                        <a:pt x="541" y="1240"/>
                      </a:lnTo>
                      <a:lnTo>
                        <a:pt x="541" y="1246"/>
                      </a:lnTo>
                      <a:lnTo>
                        <a:pt x="539" y="1249"/>
                      </a:lnTo>
                      <a:lnTo>
                        <a:pt x="535" y="1259"/>
                      </a:lnTo>
                      <a:lnTo>
                        <a:pt x="532" y="1268"/>
                      </a:lnTo>
                      <a:lnTo>
                        <a:pt x="533" y="1270"/>
                      </a:lnTo>
                      <a:lnTo>
                        <a:pt x="535" y="1272"/>
                      </a:lnTo>
                      <a:lnTo>
                        <a:pt x="535" y="1272"/>
                      </a:lnTo>
                      <a:lnTo>
                        <a:pt x="537" y="1273"/>
                      </a:lnTo>
                      <a:lnTo>
                        <a:pt x="537" y="1273"/>
                      </a:lnTo>
                      <a:lnTo>
                        <a:pt x="537" y="1277"/>
                      </a:lnTo>
                      <a:lnTo>
                        <a:pt x="541" y="1290"/>
                      </a:lnTo>
                      <a:lnTo>
                        <a:pt x="546" y="1310"/>
                      </a:lnTo>
                      <a:lnTo>
                        <a:pt x="548" y="1309"/>
                      </a:lnTo>
                      <a:lnTo>
                        <a:pt x="548" y="1309"/>
                      </a:lnTo>
                      <a:lnTo>
                        <a:pt x="554" y="1309"/>
                      </a:lnTo>
                      <a:lnTo>
                        <a:pt x="557" y="1307"/>
                      </a:lnTo>
                      <a:lnTo>
                        <a:pt x="557" y="1307"/>
                      </a:lnTo>
                      <a:lnTo>
                        <a:pt x="561" y="1305"/>
                      </a:lnTo>
                      <a:lnTo>
                        <a:pt x="559" y="1294"/>
                      </a:lnTo>
                      <a:lnTo>
                        <a:pt x="557" y="1283"/>
                      </a:lnTo>
                      <a:lnTo>
                        <a:pt x="556" y="1270"/>
                      </a:lnTo>
                      <a:lnTo>
                        <a:pt x="556" y="1257"/>
                      </a:lnTo>
                      <a:lnTo>
                        <a:pt x="563" y="1253"/>
                      </a:lnTo>
                      <a:lnTo>
                        <a:pt x="570" y="1249"/>
                      </a:lnTo>
                      <a:lnTo>
                        <a:pt x="578" y="1246"/>
                      </a:lnTo>
                      <a:lnTo>
                        <a:pt x="585" y="1242"/>
                      </a:lnTo>
                      <a:lnTo>
                        <a:pt x="587" y="1242"/>
                      </a:lnTo>
                      <a:lnTo>
                        <a:pt x="591" y="1244"/>
                      </a:lnTo>
                      <a:lnTo>
                        <a:pt x="596" y="1248"/>
                      </a:lnTo>
                      <a:lnTo>
                        <a:pt x="602" y="1249"/>
                      </a:lnTo>
                      <a:lnTo>
                        <a:pt x="605" y="1251"/>
                      </a:lnTo>
                      <a:lnTo>
                        <a:pt x="609" y="1246"/>
                      </a:lnTo>
                      <a:lnTo>
                        <a:pt x="615" y="1240"/>
                      </a:lnTo>
                      <a:lnTo>
                        <a:pt x="615" y="1240"/>
                      </a:lnTo>
                      <a:lnTo>
                        <a:pt x="622" y="1240"/>
                      </a:lnTo>
                      <a:lnTo>
                        <a:pt x="629" y="1240"/>
                      </a:lnTo>
                      <a:lnTo>
                        <a:pt x="635" y="1240"/>
                      </a:lnTo>
                      <a:lnTo>
                        <a:pt x="640" y="1240"/>
                      </a:lnTo>
                      <a:lnTo>
                        <a:pt x="644" y="1238"/>
                      </a:lnTo>
                      <a:lnTo>
                        <a:pt x="650" y="1237"/>
                      </a:lnTo>
                      <a:lnTo>
                        <a:pt x="653" y="1233"/>
                      </a:lnTo>
                      <a:lnTo>
                        <a:pt x="655" y="1231"/>
                      </a:lnTo>
                      <a:lnTo>
                        <a:pt x="659" y="1227"/>
                      </a:lnTo>
                      <a:lnTo>
                        <a:pt x="661" y="1224"/>
                      </a:lnTo>
                      <a:lnTo>
                        <a:pt x="663" y="1220"/>
                      </a:lnTo>
                      <a:lnTo>
                        <a:pt x="664" y="1214"/>
                      </a:lnTo>
                      <a:lnTo>
                        <a:pt x="664" y="1209"/>
                      </a:lnTo>
                      <a:lnTo>
                        <a:pt x="666" y="1203"/>
                      </a:lnTo>
                      <a:lnTo>
                        <a:pt x="666" y="1198"/>
                      </a:lnTo>
                      <a:lnTo>
                        <a:pt x="664" y="1189"/>
                      </a:lnTo>
                      <a:lnTo>
                        <a:pt x="666" y="1189"/>
                      </a:lnTo>
                      <a:lnTo>
                        <a:pt x="672" y="1187"/>
                      </a:lnTo>
                      <a:lnTo>
                        <a:pt x="675" y="1185"/>
                      </a:lnTo>
                      <a:lnTo>
                        <a:pt x="681" y="1183"/>
                      </a:lnTo>
                      <a:lnTo>
                        <a:pt x="687" y="1179"/>
                      </a:lnTo>
                      <a:lnTo>
                        <a:pt x="687" y="1176"/>
                      </a:lnTo>
                      <a:lnTo>
                        <a:pt x="687" y="1172"/>
                      </a:lnTo>
                      <a:lnTo>
                        <a:pt x="687" y="1168"/>
                      </a:lnTo>
                      <a:lnTo>
                        <a:pt x="687" y="1163"/>
                      </a:lnTo>
                      <a:lnTo>
                        <a:pt x="687" y="1163"/>
                      </a:lnTo>
                      <a:lnTo>
                        <a:pt x="692" y="1163"/>
                      </a:lnTo>
                      <a:lnTo>
                        <a:pt x="698" y="1163"/>
                      </a:lnTo>
                      <a:lnTo>
                        <a:pt x="698" y="1155"/>
                      </a:lnTo>
                      <a:lnTo>
                        <a:pt x="698" y="1146"/>
                      </a:lnTo>
                      <a:lnTo>
                        <a:pt x="698" y="1139"/>
                      </a:lnTo>
                      <a:lnTo>
                        <a:pt x="698" y="1130"/>
                      </a:lnTo>
                      <a:lnTo>
                        <a:pt x="690" y="1131"/>
                      </a:lnTo>
                      <a:lnTo>
                        <a:pt x="683" y="1131"/>
                      </a:lnTo>
                      <a:lnTo>
                        <a:pt x="677" y="1131"/>
                      </a:lnTo>
                      <a:lnTo>
                        <a:pt x="670" y="1131"/>
                      </a:lnTo>
                      <a:lnTo>
                        <a:pt x="670" y="1131"/>
                      </a:lnTo>
                      <a:lnTo>
                        <a:pt x="664" y="1131"/>
                      </a:lnTo>
                      <a:lnTo>
                        <a:pt x="664" y="1131"/>
                      </a:lnTo>
                      <a:lnTo>
                        <a:pt x="657" y="1130"/>
                      </a:lnTo>
                      <a:lnTo>
                        <a:pt x="651" y="1130"/>
                      </a:lnTo>
                      <a:lnTo>
                        <a:pt x="642" y="1126"/>
                      </a:lnTo>
                      <a:lnTo>
                        <a:pt x="642" y="1126"/>
                      </a:lnTo>
                      <a:lnTo>
                        <a:pt x="642" y="1120"/>
                      </a:lnTo>
                      <a:lnTo>
                        <a:pt x="644" y="1115"/>
                      </a:lnTo>
                      <a:lnTo>
                        <a:pt x="646" y="1109"/>
                      </a:lnTo>
                      <a:lnTo>
                        <a:pt x="648" y="1104"/>
                      </a:lnTo>
                      <a:lnTo>
                        <a:pt x="648" y="1104"/>
                      </a:lnTo>
                      <a:lnTo>
                        <a:pt x="651" y="1102"/>
                      </a:lnTo>
                      <a:lnTo>
                        <a:pt x="655" y="1100"/>
                      </a:lnTo>
                      <a:lnTo>
                        <a:pt x="657" y="1098"/>
                      </a:lnTo>
                      <a:lnTo>
                        <a:pt x="659" y="1096"/>
                      </a:lnTo>
                      <a:lnTo>
                        <a:pt x="661" y="1094"/>
                      </a:lnTo>
                      <a:lnTo>
                        <a:pt x="663" y="1093"/>
                      </a:lnTo>
                      <a:lnTo>
                        <a:pt x="663" y="1089"/>
                      </a:lnTo>
                      <a:lnTo>
                        <a:pt x="664" y="1087"/>
                      </a:lnTo>
                      <a:lnTo>
                        <a:pt x="666" y="1082"/>
                      </a:lnTo>
                      <a:lnTo>
                        <a:pt x="670" y="1076"/>
                      </a:lnTo>
                      <a:lnTo>
                        <a:pt x="670" y="1076"/>
                      </a:lnTo>
                      <a:lnTo>
                        <a:pt x="672" y="1072"/>
                      </a:lnTo>
                      <a:lnTo>
                        <a:pt x="674" y="1070"/>
                      </a:lnTo>
                      <a:lnTo>
                        <a:pt x="674" y="1070"/>
                      </a:lnTo>
                      <a:lnTo>
                        <a:pt x="675" y="1069"/>
                      </a:lnTo>
                      <a:lnTo>
                        <a:pt x="675" y="1069"/>
                      </a:lnTo>
                      <a:lnTo>
                        <a:pt x="679" y="1067"/>
                      </a:lnTo>
                      <a:lnTo>
                        <a:pt x="679" y="1067"/>
                      </a:lnTo>
                      <a:lnTo>
                        <a:pt x="685" y="1069"/>
                      </a:lnTo>
                      <a:lnTo>
                        <a:pt x="692" y="1070"/>
                      </a:lnTo>
                      <a:lnTo>
                        <a:pt x="698" y="1074"/>
                      </a:lnTo>
                      <a:lnTo>
                        <a:pt x="703" y="1076"/>
                      </a:lnTo>
                      <a:lnTo>
                        <a:pt x="703" y="1076"/>
                      </a:lnTo>
                      <a:lnTo>
                        <a:pt x="703" y="1082"/>
                      </a:lnTo>
                      <a:lnTo>
                        <a:pt x="703" y="1087"/>
                      </a:lnTo>
                      <a:lnTo>
                        <a:pt x="707" y="1087"/>
                      </a:lnTo>
                      <a:lnTo>
                        <a:pt x="707" y="1087"/>
                      </a:lnTo>
                      <a:lnTo>
                        <a:pt x="712" y="1089"/>
                      </a:lnTo>
                      <a:lnTo>
                        <a:pt x="716" y="1089"/>
                      </a:lnTo>
                      <a:lnTo>
                        <a:pt x="722" y="1091"/>
                      </a:lnTo>
                      <a:lnTo>
                        <a:pt x="722" y="1100"/>
                      </a:lnTo>
                      <a:lnTo>
                        <a:pt x="723" y="1109"/>
                      </a:lnTo>
                      <a:lnTo>
                        <a:pt x="725" y="1117"/>
                      </a:lnTo>
                      <a:lnTo>
                        <a:pt x="725" y="1124"/>
                      </a:lnTo>
                      <a:lnTo>
                        <a:pt x="733" y="1124"/>
                      </a:lnTo>
                      <a:lnTo>
                        <a:pt x="742" y="1122"/>
                      </a:lnTo>
                      <a:lnTo>
                        <a:pt x="749" y="1120"/>
                      </a:lnTo>
                      <a:lnTo>
                        <a:pt x="757" y="1118"/>
                      </a:lnTo>
                      <a:lnTo>
                        <a:pt x="755" y="1113"/>
                      </a:lnTo>
                      <a:lnTo>
                        <a:pt x="755" y="1113"/>
                      </a:lnTo>
                      <a:lnTo>
                        <a:pt x="753" y="1106"/>
                      </a:lnTo>
                      <a:lnTo>
                        <a:pt x="751" y="1098"/>
                      </a:lnTo>
                      <a:lnTo>
                        <a:pt x="751" y="1091"/>
                      </a:lnTo>
                      <a:lnTo>
                        <a:pt x="751" y="1085"/>
                      </a:lnTo>
                      <a:lnTo>
                        <a:pt x="751" y="1083"/>
                      </a:lnTo>
                      <a:lnTo>
                        <a:pt x="749" y="1078"/>
                      </a:lnTo>
                      <a:lnTo>
                        <a:pt x="749" y="1070"/>
                      </a:lnTo>
                      <a:lnTo>
                        <a:pt x="749" y="1063"/>
                      </a:lnTo>
                      <a:lnTo>
                        <a:pt x="751" y="1048"/>
                      </a:lnTo>
                      <a:lnTo>
                        <a:pt x="751" y="1035"/>
                      </a:lnTo>
                      <a:lnTo>
                        <a:pt x="753" y="1021"/>
                      </a:lnTo>
                      <a:lnTo>
                        <a:pt x="755" y="1006"/>
                      </a:lnTo>
                      <a:lnTo>
                        <a:pt x="753" y="1002"/>
                      </a:lnTo>
                      <a:lnTo>
                        <a:pt x="751" y="999"/>
                      </a:lnTo>
                      <a:lnTo>
                        <a:pt x="751" y="999"/>
                      </a:lnTo>
                      <a:lnTo>
                        <a:pt x="749" y="997"/>
                      </a:lnTo>
                      <a:lnTo>
                        <a:pt x="749" y="997"/>
                      </a:lnTo>
                      <a:lnTo>
                        <a:pt x="749" y="993"/>
                      </a:lnTo>
                      <a:lnTo>
                        <a:pt x="747" y="984"/>
                      </a:lnTo>
                      <a:lnTo>
                        <a:pt x="746" y="969"/>
                      </a:lnTo>
                      <a:lnTo>
                        <a:pt x="742" y="975"/>
                      </a:lnTo>
                      <a:lnTo>
                        <a:pt x="735" y="980"/>
                      </a:lnTo>
                      <a:lnTo>
                        <a:pt x="731" y="963"/>
                      </a:lnTo>
                      <a:lnTo>
                        <a:pt x="727" y="951"/>
                      </a:lnTo>
                      <a:lnTo>
                        <a:pt x="723" y="936"/>
                      </a:lnTo>
                      <a:lnTo>
                        <a:pt x="718" y="923"/>
                      </a:lnTo>
                      <a:lnTo>
                        <a:pt x="714" y="921"/>
                      </a:lnTo>
                      <a:lnTo>
                        <a:pt x="711" y="921"/>
                      </a:lnTo>
                      <a:lnTo>
                        <a:pt x="711" y="921"/>
                      </a:lnTo>
                      <a:lnTo>
                        <a:pt x="707" y="919"/>
                      </a:lnTo>
                      <a:lnTo>
                        <a:pt x="701" y="919"/>
                      </a:lnTo>
                      <a:lnTo>
                        <a:pt x="701" y="919"/>
                      </a:lnTo>
                      <a:lnTo>
                        <a:pt x="703" y="912"/>
                      </a:lnTo>
                      <a:lnTo>
                        <a:pt x="703" y="904"/>
                      </a:lnTo>
                      <a:lnTo>
                        <a:pt x="705" y="899"/>
                      </a:lnTo>
                      <a:lnTo>
                        <a:pt x="705" y="899"/>
                      </a:lnTo>
                      <a:lnTo>
                        <a:pt x="707" y="891"/>
                      </a:lnTo>
                      <a:lnTo>
                        <a:pt x="701" y="890"/>
                      </a:lnTo>
                      <a:lnTo>
                        <a:pt x="696" y="888"/>
                      </a:lnTo>
                      <a:lnTo>
                        <a:pt x="696" y="888"/>
                      </a:lnTo>
                      <a:lnTo>
                        <a:pt x="692" y="884"/>
                      </a:lnTo>
                      <a:lnTo>
                        <a:pt x="692" y="884"/>
                      </a:lnTo>
                      <a:lnTo>
                        <a:pt x="688" y="880"/>
                      </a:lnTo>
                      <a:lnTo>
                        <a:pt x="685" y="877"/>
                      </a:lnTo>
                      <a:lnTo>
                        <a:pt x="685" y="877"/>
                      </a:lnTo>
                      <a:lnTo>
                        <a:pt x="681" y="873"/>
                      </a:lnTo>
                      <a:lnTo>
                        <a:pt x="681" y="873"/>
                      </a:lnTo>
                      <a:lnTo>
                        <a:pt x="677" y="869"/>
                      </a:lnTo>
                      <a:lnTo>
                        <a:pt x="675" y="866"/>
                      </a:lnTo>
                      <a:lnTo>
                        <a:pt x="674" y="860"/>
                      </a:lnTo>
                      <a:lnTo>
                        <a:pt x="674" y="860"/>
                      </a:lnTo>
                      <a:lnTo>
                        <a:pt x="672" y="856"/>
                      </a:lnTo>
                      <a:lnTo>
                        <a:pt x="670" y="851"/>
                      </a:lnTo>
                      <a:lnTo>
                        <a:pt x="670" y="851"/>
                      </a:lnTo>
                      <a:lnTo>
                        <a:pt x="668" y="845"/>
                      </a:lnTo>
                      <a:lnTo>
                        <a:pt x="664" y="836"/>
                      </a:lnTo>
                      <a:lnTo>
                        <a:pt x="663" y="827"/>
                      </a:lnTo>
                      <a:lnTo>
                        <a:pt x="659" y="825"/>
                      </a:lnTo>
                      <a:lnTo>
                        <a:pt x="655" y="823"/>
                      </a:lnTo>
                      <a:lnTo>
                        <a:pt x="653" y="823"/>
                      </a:lnTo>
                      <a:lnTo>
                        <a:pt x="650" y="821"/>
                      </a:lnTo>
                      <a:lnTo>
                        <a:pt x="648" y="810"/>
                      </a:lnTo>
                      <a:lnTo>
                        <a:pt x="648" y="797"/>
                      </a:lnTo>
                      <a:lnTo>
                        <a:pt x="646" y="784"/>
                      </a:lnTo>
                      <a:lnTo>
                        <a:pt x="644" y="772"/>
                      </a:lnTo>
                      <a:lnTo>
                        <a:pt x="642" y="759"/>
                      </a:lnTo>
                      <a:lnTo>
                        <a:pt x="640" y="746"/>
                      </a:lnTo>
                      <a:lnTo>
                        <a:pt x="639" y="735"/>
                      </a:lnTo>
                      <a:lnTo>
                        <a:pt x="637" y="725"/>
                      </a:lnTo>
                      <a:lnTo>
                        <a:pt x="631" y="725"/>
                      </a:lnTo>
                      <a:lnTo>
                        <a:pt x="626" y="727"/>
                      </a:lnTo>
                      <a:lnTo>
                        <a:pt x="618" y="727"/>
                      </a:lnTo>
                      <a:lnTo>
                        <a:pt x="613" y="729"/>
                      </a:lnTo>
                      <a:lnTo>
                        <a:pt x="611" y="718"/>
                      </a:lnTo>
                      <a:lnTo>
                        <a:pt x="609" y="711"/>
                      </a:lnTo>
                      <a:lnTo>
                        <a:pt x="607" y="707"/>
                      </a:lnTo>
                      <a:lnTo>
                        <a:pt x="605" y="705"/>
                      </a:lnTo>
                      <a:lnTo>
                        <a:pt x="603" y="703"/>
                      </a:lnTo>
                      <a:lnTo>
                        <a:pt x="602" y="701"/>
                      </a:lnTo>
                      <a:lnTo>
                        <a:pt x="600" y="700"/>
                      </a:lnTo>
                      <a:lnTo>
                        <a:pt x="596" y="698"/>
                      </a:lnTo>
                      <a:lnTo>
                        <a:pt x="594" y="696"/>
                      </a:lnTo>
                      <a:lnTo>
                        <a:pt x="591" y="696"/>
                      </a:lnTo>
                      <a:lnTo>
                        <a:pt x="581" y="694"/>
                      </a:lnTo>
                      <a:lnTo>
                        <a:pt x="568" y="690"/>
                      </a:lnTo>
                      <a:lnTo>
                        <a:pt x="568" y="690"/>
                      </a:lnTo>
                      <a:lnTo>
                        <a:pt x="568" y="688"/>
                      </a:lnTo>
                      <a:lnTo>
                        <a:pt x="568" y="688"/>
                      </a:lnTo>
                      <a:lnTo>
                        <a:pt x="568" y="687"/>
                      </a:lnTo>
                      <a:lnTo>
                        <a:pt x="570" y="687"/>
                      </a:lnTo>
                      <a:lnTo>
                        <a:pt x="570" y="685"/>
                      </a:lnTo>
                      <a:lnTo>
                        <a:pt x="570" y="685"/>
                      </a:lnTo>
                      <a:lnTo>
                        <a:pt x="572" y="685"/>
                      </a:lnTo>
                      <a:lnTo>
                        <a:pt x="572" y="685"/>
                      </a:lnTo>
                      <a:lnTo>
                        <a:pt x="579" y="685"/>
                      </a:lnTo>
                      <a:lnTo>
                        <a:pt x="591" y="685"/>
                      </a:lnTo>
                      <a:lnTo>
                        <a:pt x="591" y="679"/>
                      </a:lnTo>
                      <a:lnTo>
                        <a:pt x="589" y="676"/>
                      </a:lnTo>
                      <a:lnTo>
                        <a:pt x="587" y="672"/>
                      </a:lnTo>
                      <a:lnTo>
                        <a:pt x="587" y="668"/>
                      </a:lnTo>
                      <a:lnTo>
                        <a:pt x="578" y="666"/>
                      </a:lnTo>
                      <a:lnTo>
                        <a:pt x="570" y="665"/>
                      </a:lnTo>
                      <a:lnTo>
                        <a:pt x="563" y="663"/>
                      </a:lnTo>
                      <a:lnTo>
                        <a:pt x="557" y="661"/>
                      </a:lnTo>
                      <a:lnTo>
                        <a:pt x="550" y="661"/>
                      </a:lnTo>
                      <a:lnTo>
                        <a:pt x="541" y="661"/>
                      </a:lnTo>
                      <a:lnTo>
                        <a:pt x="530" y="659"/>
                      </a:lnTo>
                      <a:lnTo>
                        <a:pt x="513" y="659"/>
                      </a:lnTo>
                      <a:lnTo>
                        <a:pt x="513" y="657"/>
                      </a:lnTo>
                      <a:lnTo>
                        <a:pt x="513" y="652"/>
                      </a:lnTo>
                      <a:lnTo>
                        <a:pt x="513" y="648"/>
                      </a:lnTo>
                      <a:lnTo>
                        <a:pt x="506" y="646"/>
                      </a:lnTo>
                      <a:lnTo>
                        <a:pt x="495" y="644"/>
                      </a:lnTo>
                      <a:lnTo>
                        <a:pt x="485" y="644"/>
                      </a:lnTo>
                      <a:lnTo>
                        <a:pt x="476" y="642"/>
                      </a:lnTo>
                      <a:lnTo>
                        <a:pt x="474" y="646"/>
                      </a:lnTo>
                      <a:lnTo>
                        <a:pt x="471" y="652"/>
                      </a:lnTo>
                      <a:lnTo>
                        <a:pt x="469" y="657"/>
                      </a:lnTo>
                      <a:lnTo>
                        <a:pt x="465" y="661"/>
                      </a:lnTo>
                      <a:lnTo>
                        <a:pt x="465" y="661"/>
                      </a:lnTo>
                      <a:lnTo>
                        <a:pt x="458" y="663"/>
                      </a:lnTo>
                      <a:lnTo>
                        <a:pt x="448" y="665"/>
                      </a:lnTo>
                      <a:lnTo>
                        <a:pt x="441" y="666"/>
                      </a:lnTo>
                      <a:lnTo>
                        <a:pt x="434" y="668"/>
                      </a:lnTo>
                      <a:lnTo>
                        <a:pt x="439" y="674"/>
                      </a:lnTo>
                      <a:lnTo>
                        <a:pt x="445" y="679"/>
                      </a:lnTo>
                      <a:lnTo>
                        <a:pt x="448" y="687"/>
                      </a:lnTo>
                      <a:lnTo>
                        <a:pt x="456" y="694"/>
                      </a:lnTo>
                      <a:lnTo>
                        <a:pt x="456" y="694"/>
                      </a:lnTo>
                      <a:lnTo>
                        <a:pt x="458" y="696"/>
                      </a:lnTo>
                      <a:lnTo>
                        <a:pt x="458" y="714"/>
                      </a:lnTo>
                      <a:lnTo>
                        <a:pt x="458" y="725"/>
                      </a:lnTo>
                      <a:lnTo>
                        <a:pt x="458" y="725"/>
                      </a:lnTo>
                      <a:lnTo>
                        <a:pt x="456" y="729"/>
                      </a:lnTo>
                      <a:lnTo>
                        <a:pt x="456" y="729"/>
                      </a:lnTo>
                      <a:lnTo>
                        <a:pt x="456" y="731"/>
                      </a:lnTo>
                      <a:lnTo>
                        <a:pt x="456" y="731"/>
                      </a:lnTo>
                      <a:lnTo>
                        <a:pt x="454" y="733"/>
                      </a:lnTo>
                      <a:lnTo>
                        <a:pt x="450" y="736"/>
                      </a:lnTo>
                      <a:lnTo>
                        <a:pt x="452" y="735"/>
                      </a:lnTo>
                      <a:lnTo>
                        <a:pt x="452" y="725"/>
                      </a:lnTo>
                      <a:lnTo>
                        <a:pt x="452" y="725"/>
                      </a:lnTo>
                      <a:lnTo>
                        <a:pt x="452" y="716"/>
                      </a:lnTo>
                      <a:lnTo>
                        <a:pt x="452" y="707"/>
                      </a:lnTo>
                      <a:lnTo>
                        <a:pt x="454" y="700"/>
                      </a:lnTo>
                      <a:lnTo>
                        <a:pt x="452" y="698"/>
                      </a:lnTo>
                      <a:lnTo>
                        <a:pt x="452" y="698"/>
                      </a:lnTo>
                      <a:lnTo>
                        <a:pt x="448" y="696"/>
                      </a:lnTo>
                      <a:lnTo>
                        <a:pt x="448" y="696"/>
                      </a:lnTo>
                      <a:lnTo>
                        <a:pt x="448" y="694"/>
                      </a:lnTo>
                      <a:lnTo>
                        <a:pt x="447" y="698"/>
                      </a:lnTo>
                      <a:lnTo>
                        <a:pt x="445" y="701"/>
                      </a:lnTo>
                      <a:lnTo>
                        <a:pt x="443" y="707"/>
                      </a:lnTo>
                      <a:lnTo>
                        <a:pt x="443" y="711"/>
                      </a:lnTo>
                      <a:lnTo>
                        <a:pt x="439" y="722"/>
                      </a:lnTo>
                      <a:lnTo>
                        <a:pt x="437" y="731"/>
                      </a:lnTo>
                      <a:lnTo>
                        <a:pt x="437" y="731"/>
                      </a:lnTo>
                      <a:lnTo>
                        <a:pt x="436" y="736"/>
                      </a:lnTo>
                      <a:lnTo>
                        <a:pt x="434" y="742"/>
                      </a:lnTo>
                      <a:lnTo>
                        <a:pt x="434" y="742"/>
                      </a:lnTo>
                      <a:lnTo>
                        <a:pt x="432" y="744"/>
                      </a:lnTo>
                      <a:lnTo>
                        <a:pt x="430" y="746"/>
                      </a:lnTo>
                      <a:lnTo>
                        <a:pt x="430" y="746"/>
                      </a:lnTo>
                      <a:lnTo>
                        <a:pt x="428" y="748"/>
                      </a:lnTo>
                      <a:lnTo>
                        <a:pt x="428" y="748"/>
                      </a:lnTo>
                      <a:lnTo>
                        <a:pt x="426" y="748"/>
                      </a:lnTo>
                      <a:lnTo>
                        <a:pt x="424" y="749"/>
                      </a:lnTo>
                      <a:lnTo>
                        <a:pt x="424" y="749"/>
                      </a:lnTo>
                      <a:lnTo>
                        <a:pt x="423" y="751"/>
                      </a:lnTo>
                      <a:lnTo>
                        <a:pt x="423" y="751"/>
                      </a:lnTo>
                      <a:lnTo>
                        <a:pt x="421" y="751"/>
                      </a:lnTo>
                      <a:lnTo>
                        <a:pt x="417" y="753"/>
                      </a:lnTo>
                      <a:lnTo>
                        <a:pt x="417" y="753"/>
                      </a:lnTo>
                      <a:lnTo>
                        <a:pt x="415" y="753"/>
                      </a:lnTo>
                      <a:lnTo>
                        <a:pt x="415" y="753"/>
                      </a:lnTo>
                      <a:lnTo>
                        <a:pt x="412" y="753"/>
                      </a:lnTo>
                      <a:lnTo>
                        <a:pt x="410" y="753"/>
                      </a:lnTo>
                      <a:lnTo>
                        <a:pt x="410" y="753"/>
                      </a:lnTo>
                      <a:lnTo>
                        <a:pt x="404" y="753"/>
                      </a:lnTo>
                      <a:lnTo>
                        <a:pt x="406" y="751"/>
                      </a:lnTo>
                      <a:lnTo>
                        <a:pt x="408" y="748"/>
                      </a:lnTo>
                      <a:lnTo>
                        <a:pt x="410" y="744"/>
                      </a:lnTo>
                      <a:lnTo>
                        <a:pt x="412" y="742"/>
                      </a:lnTo>
                      <a:lnTo>
                        <a:pt x="412" y="738"/>
                      </a:lnTo>
                      <a:lnTo>
                        <a:pt x="413" y="731"/>
                      </a:lnTo>
                      <a:lnTo>
                        <a:pt x="415" y="718"/>
                      </a:lnTo>
                      <a:lnTo>
                        <a:pt x="410" y="718"/>
                      </a:lnTo>
                      <a:lnTo>
                        <a:pt x="402" y="718"/>
                      </a:lnTo>
                      <a:lnTo>
                        <a:pt x="395" y="718"/>
                      </a:lnTo>
                      <a:lnTo>
                        <a:pt x="388" y="718"/>
                      </a:lnTo>
                      <a:lnTo>
                        <a:pt x="388" y="718"/>
                      </a:lnTo>
                      <a:lnTo>
                        <a:pt x="388" y="712"/>
                      </a:lnTo>
                      <a:lnTo>
                        <a:pt x="388" y="707"/>
                      </a:lnTo>
                      <a:lnTo>
                        <a:pt x="389" y="707"/>
                      </a:lnTo>
                      <a:lnTo>
                        <a:pt x="395" y="707"/>
                      </a:lnTo>
                      <a:lnTo>
                        <a:pt x="399" y="707"/>
                      </a:lnTo>
                      <a:lnTo>
                        <a:pt x="397" y="703"/>
                      </a:lnTo>
                      <a:lnTo>
                        <a:pt x="395" y="700"/>
                      </a:lnTo>
                      <a:lnTo>
                        <a:pt x="393" y="696"/>
                      </a:lnTo>
                      <a:lnTo>
                        <a:pt x="391" y="692"/>
                      </a:lnTo>
                      <a:lnTo>
                        <a:pt x="388" y="700"/>
                      </a:lnTo>
                      <a:lnTo>
                        <a:pt x="386" y="707"/>
                      </a:lnTo>
                      <a:lnTo>
                        <a:pt x="382" y="716"/>
                      </a:lnTo>
                      <a:lnTo>
                        <a:pt x="378" y="724"/>
                      </a:lnTo>
                      <a:lnTo>
                        <a:pt x="382" y="724"/>
                      </a:lnTo>
                      <a:lnTo>
                        <a:pt x="386" y="724"/>
                      </a:lnTo>
                      <a:lnTo>
                        <a:pt x="389" y="724"/>
                      </a:lnTo>
                      <a:lnTo>
                        <a:pt x="395" y="724"/>
                      </a:lnTo>
                      <a:lnTo>
                        <a:pt x="395" y="724"/>
                      </a:lnTo>
                      <a:lnTo>
                        <a:pt x="393" y="729"/>
                      </a:lnTo>
                      <a:lnTo>
                        <a:pt x="393" y="735"/>
                      </a:lnTo>
                      <a:lnTo>
                        <a:pt x="393" y="735"/>
                      </a:lnTo>
                      <a:lnTo>
                        <a:pt x="389" y="738"/>
                      </a:lnTo>
                      <a:lnTo>
                        <a:pt x="388" y="740"/>
                      </a:lnTo>
                      <a:lnTo>
                        <a:pt x="388" y="742"/>
                      </a:lnTo>
                      <a:lnTo>
                        <a:pt x="386" y="744"/>
                      </a:lnTo>
                      <a:lnTo>
                        <a:pt x="386" y="744"/>
                      </a:lnTo>
                      <a:lnTo>
                        <a:pt x="382" y="746"/>
                      </a:lnTo>
                      <a:lnTo>
                        <a:pt x="378" y="749"/>
                      </a:lnTo>
                      <a:lnTo>
                        <a:pt x="378" y="749"/>
                      </a:lnTo>
                      <a:lnTo>
                        <a:pt x="371" y="751"/>
                      </a:lnTo>
                      <a:lnTo>
                        <a:pt x="371" y="742"/>
                      </a:lnTo>
                      <a:lnTo>
                        <a:pt x="369" y="735"/>
                      </a:lnTo>
                      <a:lnTo>
                        <a:pt x="365" y="729"/>
                      </a:lnTo>
                      <a:lnTo>
                        <a:pt x="364" y="722"/>
                      </a:lnTo>
                      <a:lnTo>
                        <a:pt x="360" y="714"/>
                      </a:lnTo>
                      <a:lnTo>
                        <a:pt x="356" y="709"/>
                      </a:lnTo>
                      <a:lnTo>
                        <a:pt x="351" y="701"/>
                      </a:lnTo>
                      <a:lnTo>
                        <a:pt x="347" y="694"/>
                      </a:lnTo>
                      <a:lnTo>
                        <a:pt x="340" y="698"/>
                      </a:lnTo>
                      <a:lnTo>
                        <a:pt x="332" y="701"/>
                      </a:lnTo>
                      <a:lnTo>
                        <a:pt x="325" y="705"/>
                      </a:lnTo>
                      <a:lnTo>
                        <a:pt x="317" y="709"/>
                      </a:lnTo>
                      <a:lnTo>
                        <a:pt x="319" y="712"/>
                      </a:lnTo>
                      <a:lnTo>
                        <a:pt x="319" y="720"/>
                      </a:lnTo>
                      <a:lnTo>
                        <a:pt x="306" y="720"/>
                      </a:lnTo>
                      <a:lnTo>
                        <a:pt x="295" y="720"/>
                      </a:lnTo>
                      <a:lnTo>
                        <a:pt x="284" y="720"/>
                      </a:lnTo>
                      <a:lnTo>
                        <a:pt x="273" y="720"/>
                      </a:lnTo>
                      <a:lnTo>
                        <a:pt x="275" y="709"/>
                      </a:lnTo>
                      <a:lnTo>
                        <a:pt x="277" y="698"/>
                      </a:lnTo>
                      <a:lnTo>
                        <a:pt x="279" y="688"/>
                      </a:lnTo>
                      <a:lnTo>
                        <a:pt x="282" y="677"/>
                      </a:lnTo>
                      <a:lnTo>
                        <a:pt x="282" y="677"/>
                      </a:lnTo>
                      <a:lnTo>
                        <a:pt x="286" y="677"/>
                      </a:lnTo>
                      <a:lnTo>
                        <a:pt x="286" y="677"/>
                      </a:lnTo>
                      <a:lnTo>
                        <a:pt x="288" y="676"/>
                      </a:lnTo>
                      <a:lnTo>
                        <a:pt x="292" y="676"/>
                      </a:lnTo>
                      <a:lnTo>
                        <a:pt x="295" y="676"/>
                      </a:lnTo>
                      <a:lnTo>
                        <a:pt x="293" y="666"/>
                      </a:lnTo>
                      <a:lnTo>
                        <a:pt x="293" y="657"/>
                      </a:lnTo>
                      <a:lnTo>
                        <a:pt x="295" y="650"/>
                      </a:lnTo>
                      <a:lnTo>
                        <a:pt x="295" y="641"/>
                      </a:lnTo>
                      <a:lnTo>
                        <a:pt x="297" y="633"/>
                      </a:lnTo>
                      <a:lnTo>
                        <a:pt x="299" y="624"/>
                      </a:lnTo>
                      <a:lnTo>
                        <a:pt x="301" y="615"/>
                      </a:lnTo>
                      <a:lnTo>
                        <a:pt x="303" y="607"/>
                      </a:lnTo>
                      <a:lnTo>
                        <a:pt x="306" y="589"/>
                      </a:lnTo>
                      <a:lnTo>
                        <a:pt x="312" y="572"/>
                      </a:lnTo>
                      <a:lnTo>
                        <a:pt x="316" y="554"/>
                      </a:lnTo>
                      <a:lnTo>
                        <a:pt x="319" y="537"/>
                      </a:lnTo>
                      <a:lnTo>
                        <a:pt x="316" y="535"/>
                      </a:lnTo>
                      <a:lnTo>
                        <a:pt x="310" y="533"/>
                      </a:lnTo>
                      <a:lnTo>
                        <a:pt x="312" y="522"/>
                      </a:lnTo>
                      <a:lnTo>
                        <a:pt x="312" y="515"/>
                      </a:lnTo>
                      <a:lnTo>
                        <a:pt x="314" y="506"/>
                      </a:lnTo>
                      <a:lnTo>
                        <a:pt x="316" y="495"/>
                      </a:lnTo>
                      <a:lnTo>
                        <a:pt x="317" y="482"/>
                      </a:lnTo>
                      <a:lnTo>
                        <a:pt x="321" y="463"/>
                      </a:lnTo>
                      <a:lnTo>
                        <a:pt x="327" y="439"/>
                      </a:lnTo>
                      <a:lnTo>
                        <a:pt x="334" y="408"/>
                      </a:lnTo>
                      <a:lnTo>
                        <a:pt x="334" y="380"/>
                      </a:lnTo>
                      <a:lnTo>
                        <a:pt x="334" y="351"/>
                      </a:lnTo>
                      <a:lnTo>
                        <a:pt x="334" y="336"/>
                      </a:lnTo>
                      <a:lnTo>
                        <a:pt x="334" y="321"/>
                      </a:lnTo>
                      <a:lnTo>
                        <a:pt x="334" y="314"/>
                      </a:lnTo>
                      <a:lnTo>
                        <a:pt x="334" y="307"/>
                      </a:lnTo>
                      <a:lnTo>
                        <a:pt x="334" y="307"/>
                      </a:lnTo>
                      <a:lnTo>
                        <a:pt x="336" y="299"/>
                      </a:lnTo>
                      <a:lnTo>
                        <a:pt x="336" y="294"/>
                      </a:lnTo>
                      <a:lnTo>
                        <a:pt x="336" y="294"/>
                      </a:lnTo>
                      <a:lnTo>
                        <a:pt x="338" y="286"/>
                      </a:lnTo>
                      <a:lnTo>
                        <a:pt x="340" y="279"/>
                      </a:lnTo>
                      <a:lnTo>
                        <a:pt x="341" y="273"/>
                      </a:lnTo>
                      <a:lnTo>
                        <a:pt x="341" y="273"/>
                      </a:lnTo>
                      <a:lnTo>
                        <a:pt x="343" y="266"/>
                      </a:lnTo>
                      <a:lnTo>
                        <a:pt x="345" y="260"/>
                      </a:lnTo>
                      <a:lnTo>
                        <a:pt x="349" y="253"/>
                      </a:lnTo>
                      <a:lnTo>
                        <a:pt x="349" y="253"/>
                      </a:lnTo>
                      <a:lnTo>
                        <a:pt x="351" y="247"/>
                      </a:lnTo>
                      <a:lnTo>
                        <a:pt x="354" y="242"/>
                      </a:lnTo>
                      <a:lnTo>
                        <a:pt x="354" y="242"/>
                      </a:lnTo>
                      <a:lnTo>
                        <a:pt x="358" y="236"/>
                      </a:lnTo>
                      <a:lnTo>
                        <a:pt x="358" y="236"/>
                      </a:lnTo>
                      <a:lnTo>
                        <a:pt x="362" y="231"/>
                      </a:lnTo>
                      <a:lnTo>
                        <a:pt x="367" y="225"/>
                      </a:lnTo>
                      <a:lnTo>
                        <a:pt x="373" y="222"/>
                      </a:lnTo>
                      <a:lnTo>
                        <a:pt x="373" y="222"/>
                      </a:lnTo>
                      <a:lnTo>
                        <a:pt x="378" y="216"/>
                      </a:lnTo>
                      <a:lnTo>
                        <a:pt x="384" y="212"/>
                      </a:lnTo>
                      <a:lnTo>
                        <a:pt x="389" y="209"/>
                      </a:lnTo>
                      <a:lnTo>
                        <a:pt x="397" y="205"/>
                      </a:lnTo>
                      <a:lnTo>
                        <a:pt x="397" y="199"/>
                      </a:lnTo>
                      <a:lnTo>
                        <a:pt x="397" y="194"/>
                      </a:lnTo>
                      <a:lnTo>
                        <a:pt x="397" y="194"/>
                      </a:lnTo>
                      <a:lnTo>
                        <a:pt x="400" y="192"/>
                      </a:lnTo>
                      <a:lnTo>
                        <a:pt x="402" y="192"/>
                      </a:lnTo>
                      <a:lnTo>
                        <a:pt x="402" y="192"/>
                      </a:lnTo>
                      <a:lnTo>
                        <a:pt x="406" y="190"/>
                      </a:lnTo>
                      <a:lnTo>
                        <a:pt x="406" y="190"/>
                      </a:lnTo>
                      <a:lnTo>
                        <a:pt x="410" y="190"/>
                      </a:lnTo>
                      <a:lnTo>
                        <a:pt x="410" y="187"/>
                      </a:lnTo>
                      <a:lnTo>
                        <a:pt x="410" y="187"/>
                      </a:lnTo>
                      <a:lnTo>
                        <a:pt x="412" y="185"/>
                      </a:lnTo>
                      <a:lnTo>
                        <a:pt x="412" y="181"/>
                      </a:lnTo>
                      <a:lnTo>
                        <a:pt x="413" y="177"/>
                      </a:lnTo>
                      <a:lnTo>
                        <a:pt x="413" y="177"/>
                      </a:lnTo>
                      <a:lnTo>
                        <a:pt x="421" y="175"/>
                      </a:lnTo>
                      <a:lnTo>
                        <a:pt x="426" y="172"/>
                      </a:lnTo>
                      <a:lnTo>
                        <a:pt x="434" y="170"/>
                      </a:lnTo>
                      <a:lnTo>
                        <a:pt x="441" y="166"/>
                      </a:lnTo>
                      <a:lnTo>
                        <a:pt x="441" y="163"/>
                      </a:lnTo>
                      <a:lnTo>
                        <a:pt x="439" y="155"/>
                      </a:lnTo>
                      <a:lnTo>
                        <a:pt x="441" y="155"/>
                      </a:lnTo>
                      <a:lnTo>
                        <a:pt x="447" y="157"/>
                      </a:lnTo>
                      <a:lnTo>
                        <a:pt x="452" y="159"/>
                      </a:lnTo>
                      <a:lnTo>
                        <a:pt x="452" y="159"/>
                      </a:lnTo>
                      <a:lnTo>
                        <a:pt x="452" y="163"/>
                      </a:lnTo>
                      <a:lnTo>
                        <a:pt x="450" y="166"/>
                      </a:lnTo>
                      <a:lnTo>
                        <a:pt x="452" y="168"/>
                      </a:lnTo>
                      <a:lnTo>
                        <a:pt x="456" y="170"/>
                      </a:lnTo>
                      <a:lnTo>
                        <a:pt x="460" y="172"/>
                      </a:lnTo>
                      <a:lnTo>
                        <a:pt x="463" y="172"/>
                      </a:lnTo>
                      <a:lnTo>
                        <a:pt x="463" y="168"/>
                      </a:lnTo>
                      <a:lnTo>
                        <a:pt x="463" y="164"/>
                      </a:lnTo>
                      <a:lnTo>
                        <a:pt x="463" y="161"/>
                      </a:lnTo>
                      <a:lnTo>
                        <a:pt x="463" y="159"/>
                      </a:lnTo>
                      <a:lnTo>
                        <a:pt x="463" y="151"/>
                      </a:lnTo>
                      <a:lnTo>
                        <a:pt x="460" y="139"/>
                      </a:lnTo>
                      <a:lnTo>
                        <a:pt x="461" y="137"/>
                      </a:lnTo>
                      <a:lnTo>
                        <a:pt x="465" y="135"/>
                      </a:lnTo>
                      <a:lnTo>
                        <a:pt x="471" y="133"/>
                      </a:lnTo>
                      <a:lnTo>
                        <a:pt x="474" y="131"/>
                      </a:lnTo>
                      <a:lnTo>
                        <a:pt x="478" y="129"/>
                      </a:lnTo>
                      <a:lnTo>
                        <a:pt x="474" y="122"/>
                      </a:lnTo>
                      <a:lnTo>
                        <a:pt x="469" y="116"/>
                      </a:lnTo>
                      <a:lnTo>
                        <a:pt x="465" y="109"/>
                      </a:lnTo>
                      <a:lnTo>
                        <a:pt x="460" y="104"/>
                      </a:lnTo>
                      <a:lnTo>
                        <a:pt x="452" y="104"/>
                      </a:lnTo>
                      <a:lnTo>
                        <a:pt x="445" y="105"/>
                      </a:lnTo>
                      <a:lnTo>
                        <a:pt x="437" y="107"/>
                      </a:lnTo>
                      <a:lnTo>
                        <a:pt x="428" y="109"/>
                      </a:lnTo>
                      <a:lnTo>
                        <a:pt x="428" y="107"/>
                      </a:lnTo>
                      <a:lnTo>
                        <a:pt x="428" y="102"/>
                      </a:lnTo>
                      <a:lnTo>
                        <a:pt x="428" y="98"/>
                      </a:lnTo>
                      <a:lnTo>
                        <a:pt x="417" y="100"/>
                      </a:lnTo>
                      <a:lnTo>
                        <a:pt x="404" y="100"/>
                      </a:lnTo>
                      <a:lnTo>
                        <a:pt x="391" y="102"/>
                      </a:lnTo>
                      <a:lnTo>
                        <a:pt x="378" y="104"/>
                      </a:lnTo>
                      <a:lnTo>
                        <a:pt x="378" y="104"/>
                      </a:lnTo>
                      <a:lnTo>
                        <a:pt x="378" y="96"/>
                      </a:lnTo>
                      <a:lnTo>
                        <a:pt x="378" y="91"/>
                      </a:lnTo>
                      <a:lnTo>
                        <a:pt x="378" y="91"/>
                      </a:lnTo>
                      <a:lnTo>
                        <a:pt x="378" y="85"/>
                      </a:lnTo>
                      <a:lnTo>
                        <a:pt x="378" y="81"/>
                      </a:lnTo>
                      <a:lnTo>
                        <a:pt x="378" y="74"/>
                      </a:lnTo>
                      <a:lnTo>
                        <a:pt x="380" y="67"/>
                      </a:lnTo>
                      <a:lnTo>
                        <a:pt x="382" y="59"/>
                      </a:lnTo>
                      <a:lnTo>
                        <a:pt x="382" y="50"/>
                      </a:lnTo>
                      <a:lnTo>
                        <a:pt x="382" y="44"/>
                      </a:lnTo>
                      <a:lnTo>
                        <a:pt x="382" y="39"/>
                      </a:lnTo>
                      <a:lnTo>
                        <a:pt x="380" y="33"/>
                      </a:lnTo>
                      <a:lnTo>
                        <a:pt x="380" y="26"/>
                      </a:lnTo>
                      <a:lnTo>
                        <a:pt x="375" y="26"/>
                      </a:lnTo>
                      <a:lnTo>
                        <a:pt x="369" y="26"/>
                      </a:lnTo>
                      <a:lnTo>
                        <a:pt x="369" y="26"/>
                      </a:lnTo>
                      <a:lnTo>
                        <a:pt x="369" y="20"/>
                      </a:lnTo>
                      <a:lnTo>
                        <a:pt x="369" y="15"/>
                      </a:lnTo>
                      <a:lnTo>
                        <a:pt x="360" y="13"/>
                      </a:lnTo>
                      <a:lnTo>
                        <a:pt x="352" y="9"/>
                      </a:lnTo>
                      <a:lnTo>
                        <a:pt x="345" y="8"/>
                      </a:lnTo>
                      <a:lnTo>
                        <a:pt x="338" y="4"/>
                      </a:lnTo>
                      <a:lnTo>
                        <a:pt x="329" y="2"/>
                      </a:lnTo>
                      <a:lnTo>
                        <a:pt x="321" y="2"/>
                      </a:lnTo>
                      <a:lnTo>
                        <a:pt x="312" y="0"/>
                      </a:lnTo>
                      <a:lnTo>
                        <a:pt x="305" y="0"/>
                      </a:lnTo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1" name="Freeform 2965"/>
                <p:cNvSpPr>
                  <a:spLocks noEditPoints="1"/>
                </p:cNvSpPr>
                <p:nvPr/>
              </p:nvSpPr>
              <p:spPr bwMode="auto">
                <a:xfrm>
                  <a:off x="4743" y="2800"/>
                  <a:ext cx="203" cy="44"/>
                </a:xfrm>
                <a:custGeom>
                  <a:avLst/>
                  <a:gdLst>
                    <a:gd name="T0" fmla="*/ 2 w 203"/>
                    <a:gd name="T1" fmla="*/ 42 h 44"/>
                    <a:gd name="T2" fmla="*/ 0 w 203"/>
                    <a:gd name="T3" fmla="*/ 44 h 44"/>
                    <a:gd name="T4" fmla="*/ 0 w 203"/>
                    <a:gd name="T5" fmla="*/ 44 h 44"/>
                    <a:gd name="T6" fmla="*/ 2 w 203"/>
                    <a:gd name="T7" fmla="*/ 42 h 44"/>
                    <a:gd name="T8" fmla="*/ 203 w 203"/>
                    <a:gd name="T9" fmla="*/ 0 h 44"/>
                    <a:gd name="T10" fmla="*/ 203 w 203"/>
                    <a:gd name="T11" fmla="*/ 0 h 44"/>
                    <a:gd name="T12" fmla="*/ 201 w 203"/>
                    <a:gd name="T13" fmla="*/ 0 h 44"/>
                    <a:gd name="T14" fmla="*/ 201 w 203"/>
                    <a:gd name="T15" fmla="*/ 5 h 44"/>
                    <a:gd name="T16" fmla="*/ 199 w 203"/>
                    <a:gd name="T17" fmla="*/ 7 h 44"/>
                    <a:gd name="T18" fmla="*/ 198 w 203"/>
                    <a:gd name="T19" fmla="*/ 11 h 44"/>
                    <a:gd name="T20" fmla="*/ 198 w 203"/>
                    <a:gd name="T21" fmla="*/ 11 h 44"/>
                    <a:gd name="T22" fmla="*/ 196 w 203"/>
                    <a:gd name="T23" fmla="*/ 12 h 44"/>
                    <a:gd name="T24" fmla="*/ 194 w 203"/>
                    <a:gd name="T25" fmla="*/ 16 h 44"/>
                    <a:gd name="T26" fmla="*/ 194 w 203"/>
                    <a:gd name="T27" fmla="*/ 16 h 44"/>
                    <a:gd name="T28" fmla="*/ 190 w 203"/>
                    <a:gd name="T29" fmla="*/ 18 h 44"/>
                    <a:gd name="T30" fmla="*/ 187 w 203"/>
                    <a:gd name="T31" fmla="*/ 24 h 44"/>
                    <a:gd name="T32" fmla="*/ 181 w 203"/>
                    <a:gd name="T33" fmla="*/ 27 h 44"/>
                    <a:gd name="T34" fmla="*/ 181 w 203"/>
                    <a:gd name="T35" fmla="*/ 27 h 44"/>
                    <a:gd name="T36" fmla="*/ 187 w 203"/>
                    <a:gd name="T37" fmla="*/ 24 h 44"/>
                    <a:gd name="T38" fmla="*/ 190 w 203"/>
                    <a:gd name="T39" fmla="*/ 18 h 44"/>
                    <a:gd name="T40" fmla="*/ 194 w 203"/>
                    <a:gd name="T41" fmla="*/ 16 h 44"/>
                    <a:gd name="T42" fmla="*/ 194 w 203"/>
                    <a:gd name="T43" fmla="*/ 16 h 44"/>
                    <a:gd name="T44" fmla="*/ 196 w 203"/>
                    <a:gd name="T45" fmla="*/ 12 h 44"/>
                    <a:gd name="T46" fmla="*/ 198 w 203"/>
                    <a:gd name="T47" fmla="*/ 11 h 44"/>
                    <a:gd name="T48" fmla="*/ 198 w 203"/>
                    <a:gd name="T49" fmla="*/ 11 h 44"/>
                    <a:gd name="T50" fmla="*/ 199 w 203"/>
                    <a:gd name="T51" fmla="*/ 7 h 44"/>
                    <a:gd name="T52" fmla="*/ 201 w 203"/>
                    <a:gd name="T53" fmla="*/ 5 h 44"/>
                    <a:gd name="T54" fmla="*/ 201 w 203"/>
                    <a:gd name="T55" fmla="*/ 0 h 44"/>
                    <a:gd name="T56" fmla="*/ 203 w 203"/>
                    <a:gd name="T57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3" h="44">
                      <a:moveTo>
                        <a:pt x="2" y="42"/>
                      </a:move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2" y="42"/>
                      </a:lnTo>
                      <a:close/>
                      <a:moveTo>
                        <a:pt x="203" y="0"/>
                      </a:moveTo>
                      <a:lnTo>
                        <a:pt x="203" y="0"/>
                      </a:lnTo>
                      <a:lnTo>
                        <a:pt x="201" y="0"/>
                      </a:lnTo>
                      <a:lnTo>
                        <a:pt x="201" y="5"/>
                      </a:lnTo>
                      <a:lnTo>
                        <a:pt x="199" y="7"/>
                      </a:lnTo>
                      <a:lnTo>
                        <a:pt x="198" y="11"/>
                      </a:lnTo>
                      <a:lnTo>
                        <a:pt x="198" y="11"/>
                      </a:lnTo>
                      <a:lnTo>
                        <a:pt x="196" y="12"/>
                      </a:lnTo>
                      <a:lnTo>
                        <a:pt x="194" y="16"/>
                      </a:lnTo>
                      <a:lnTo>
                        <a:pt x="194" y="16"/>
                      </a:lnTo>
                      <a:lnTo>
                        <a:pt x="190" y="18"/>
                      </a:lnTo>
                      <a:lnTo>
                        <a:pt x="187" y="24"/>
                      </a:lnTo>
                      <a:lnTo>
                        <a:pt x="181" y="27"/>
                      </a:lnTo>
                      <a:lnTo>
                        <a:pt x="181" y="27"/>
                      </a:lnTo>
                      <a:lnTo>
                        <a:pt x="187" y="24"/>
                      </a:lnTo>
                      <a:lnTo>
                        <a:pt x="190" y="18"/>
                      </a:lnTo>
                      <a:lnTo>
                        <a:pt x="194" y="16"/>
                      </a:lnTo>
                      <a:lnTo>
                        <a:pt x="194" y="16"/>
                      </a:lnTo>
                      <a:lnTo>
                        <a:pt x="196" y="12"/>
                      </a:lnTo>
                      <a:lnTo>
                        <a:pt x="198" y="11"/>
                      </a:lnTo>
                      <a:lnTo>
                        <a:pt x="198" y="11"/>
                      </a:lnTo>
                      <a:lnTo>
                        <a:pt x="199" y="7"/>
                      </a:lnTo>
                      <a:lnTo>
                        <a:pt x="201" y="5"/>
                      </a:lnTo>
                      <a:lnTo>
                        <a:pt x="201" y="0"/>
                      </a:lnTo>
                      <a:lnTo>
                        <a:pt x="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2" name="Freeform 2966"/>
                <p:cNvSpPr>
                  <a:spLocks/>
                </p:cNvSpPr>
                <p:nvPr/>
              </p:nvSpPr>
              <p:spPr bwMode="auto">
                <a:xfrm>
                  <a:off x="4743" y="2842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0 w 2"/>
                    <a:gd name="T5" fmla="*/ 2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3" name="Freeform 2967"/>
                <p:cNvSpPr>
                  <a:spLocks/>
                </p:cNvSpPr>
                <p:nvPr/>
              </p:nvSpPr>
              <p:spPr bwMode="auto">
                <a:xfrm>
                  <a:off x="4924" y="2800"/>
                  <a:ext cx="22" cy="27"/>
                </a:xfrm>
                <a:custGeom>
                  <a:avLst/>
                  <a:gdLst>
                    <a:gd name="T0" fmla="*/ 22 w 22"/>
                    <a:gd name="T1" fmla="*/ 0 h 27"/>
                    <a:gd name="T2" fmla="*/ 22 w 22"/>
                    <a:gd name="T3" fmla="*/ 0 h 27"/>
                    <a:gd name="T4" fmla="*/ 20 w 22"/>
                    <a:gd name="T5" fmla="*/ 0 h 27"/>
                    <a:gd name="T6" fmla="*/ 20 w 22"/>
                    <a:gd name="T7" fmla="*/ 5 h 27"/>
                    <a:gd name="T8" fmla="*/ 18 w 22"/>
                    <a:gd name="T9" fmla="*/ 7 h 27"/>
                    <a:gd name="T10" fmla="*/ 17 w 22"/>
                    <a:gd name="T11" fmla="*/ 11 h 27"/>
                    <a:gd name="T12" fmla="*/ 17 w 22"/>
                    <a:gd name="T13" fmla="*/ 11 h 27"/>
                    <a:gd name="T14" fmla="*/ 15 w 22"/>
                    <a:gd name="T15" fmla="*/ 12 h 27"/>
                    <a:gd name="T16" fmla="*/ 13 w 22"/>
                    <a:gd name="T17" fmla="*/ 16 h 27"/>
                    <a:gd name="T18" fmla="*/ 13 w 22"/>
                    <a:gd name="T19" fmla="*/ 16 h 27"/>
                    <a:gd name="T20" fmla="*/ 9 w 22"/>
                    <a:gd name="T21" fmla="*/ 18 h 27"/>
                    <a:gd name="T22" fmla="*/ 6 w 22"/>
                    <a:gd name="T23" fmla="*/ 24 h 27"/>
                    <a:gd name="T24" fmla="*/ 0 w 22"/>
                    <a:gd name="T25" fmla="*/ 27 h 27"/>
                    <a:gd name="T26" fmla="*/ 0 w 22"/>
                    <a:gd name="T27" fmla="*/ 27 h 27"/>
                    <a:gd name="T28" fmla="*/ 6 w 22"/>
                    <a:gd name="T29" fmla="*/ 24 h 27"/>
                    <a:gd name="T30" fmla="*/ 9 w 22"/>
                    <a:gd name="T31" fmla="*/ 18 h 27"/>
                    <a:gd name="T32" fmla="*/ 13 w 22"/>
                    <a:gd name="T33" fmla="*/ 16 h 27"/>
                    <a:gd name="T34" fmla="*/ 13 w 22"/>
                    <a:gd name="T35" fmla="*/ 16 h 27"/>
                    <a:gd name="T36" fmla="*/ 15 w 22"/>
                    <a:gd name="T37" fmla="*/ 12 h 27"/>
                    <a:gd name="T38" fmla="*/ 17 w 22"/>
                    <a:gd name="T39" fmla="*/ 11 h 27"/>
                    <a:gd name="T40" fmla="*/ 17 w 22"/>
                    <a:gd name="T41" fmla="*/ 11 h 27"/>
                    <a:gd name="T42" fmla="*/ 18 w 22"/>
                    <a:gd name="T43" fmla="*/ 7 h 27"/>
                    <a:gd name="T44" fmla="*/ 20 w 22"/>
                    <a:gd name="T45" fmla="*/ 5 h 27"/>
                    <a:gd name="T46" fmla="*/ 20 w 22"/>
                    <a:gd name="T47" fmla="*/ 0 h 27"/>
                    <a:gd name="T48" fmla="*/ 22 w 22"/>
                    <a:gd name="T49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2" h="27"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20" y="5"/>
                      </a:lnTo>
                      <a:lnTo>
                        <a:pt x="18" y="7"/>
                      </a:lnTo>
                      <a:lnTo>
                        <a:pt x="17" y="11"/>
                      </a:lnTo>
                      <a:lnTo>
                        <a:pt x="17" y="11"/>
                      </a:lnTo>
                      <a:lnTo>
                        <a:pt x="15" y="12"/>
                      </a:lnTo>
                      <a:lnTo>
                        <a:pt x="13" y="16"/>
                      </a:lnTo>
                      <a:lnTo>
                        <a:pt x="13" y="16"/>
                      </a:lnTo>
                      <a:lnTo>
                        <a:pt x="9" y="18"/>
                      </a:lnTo>
                      <a:lnTo>
                        <a:pt x="6" y="24"/>
                      </a:lnTo>
                      <a:lnTo>
                        <a:pt x="0" y="27"/>
                      </a:lnTo>
                      <a:lnTo>
                        <a:pt x="0" y="27"/>
                      </a:lnTo>
                      <a:lnTo>
                        <a:pt x="6" y="24"/>
                      </a:lnTo>
                      <a:lnTo>
                        <a:pt x="9" y="18"/>
                      </a:lnTo>
                      <a:lnTo>
                        <a:pt x="13" y="16"/>
                      </a:lnTo>
                      <a:lnTo>
                        <a:pt x="13" y="16"/>
                      </a:lnTo>
                      <a:lnTo>
                        <a:pt x="15" y="12"/>
                      </a:lnTo>
                      <a:lnTo>
                        <a:pt x="17" y="11"/>
                      </a:lnTo>
                      <a:lnTo>
                        <a:pt x="17" y="11"/>
                      </a:lnTo>
                      <a:lnTo>
                        <a:pt x="18" y="7"/>
                      </a:lnTo>
                      <a:lnTo>
                        <a:pt x="20" y="5"/>
                      </a:lnTo>
                      <a:lnTo>
                        <a:pt x="20" y="0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4" name="Freeform 2968"/>
                <p:cNvSpPr>
                  <a:spLocks/>
                </p:cNvSpPr>
                <p:nvPr/>
              </p:nvSpPr>
              <p:spPr bwMode="auto">
                <a:xfrm>
                  <a:off x="4677" y="2752"/>
                  <a:ext cx="5" cy="11"/>
                </a:xfrm>
                <a:custGeom>
                  <a:avLst/>
                  <a:gdLst>
                    <a:gd name="T0" fmla="*/ 5 w 5"/>
                    <a:gd name="T1" fmla="*/ 0 h 11"/>
                    <a:gd name="T2" fmla="*/ 5 w 5"/>
                    <a:gd name="T3" fmla="*/ 0 h 11"/>
                    <a:gd name="T4" fmla="*/ 5 w 5"/>
                    <a:gd name="T5" fmla="*/ 0 h 11"/>
                    <a:gd name="T6" fmla="*/ 3 w 5"/>
                    <a:gd name="T7" fmla="*/ 3 h 11"/>
                    <a:gd name="T8" fmla="*/ 2 w 5"/>
                    <a:gd name="T9" fmla="*/ 5 h 11"/>
                    <a:gd name="T10" fmla="*/ 2 w 5"/>
                    <a:gd name="T11" fmla="*/ 9 h 11"/>
                    <a:gd name="T12" fmla="*/ 2 w 5"/>
                    <a:gd name="T13" fmla="*/ 9 h 11"/>
                    <a:gd name="T14" fmla="*/ 0 w 5"/>
                    <a:gd name="T15" fmla="*/ 11 h 11"/>
                    <a:gd name="T16" fmla="*/ 2 w 5"/>
                    <a:gd name="T17" fmla="*/ 9 h 11"/>
                    <a:gd name="T18" fmla="*/ 2 w 5"/>
                    <a:gd name="T19" fmla="*/ 9 h 11"/>
                    <a:gd name="T20" fmla="*/ 2 w 5"/>
                    <a:gd name="T21" fmla="*/ 5 h 11"/>
                    <a:gd name="T22" fmla="*/ 3 w 5"/>
                    <a:gd name="T23" fmla="*/ 3 h 11"/>
                    <a:gd name="T24" fmla="*/ 5 w 5"/>
                    <a:gd name="T25" fmla="*/ 0 h 11"/>
                    <a:gd name="T26" fmla="*/ 5 w 5"/>
                    <a:gd name="T2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11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2" y="5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0" y="11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5" name="Freeform 2969"/>
                <p:cNvSpPr>
                  <a:spLocks/>
                </p:cNvSpPr>
                <p:nvPr/>
              </p:nvSpPr>
              <p:spPr bwMode="auto">
                <a:xfrm>
                  <a:off x="4677" y="2752"/>
                  <a:ext cx="5" cy="11"/>
                </a:xfrm>
                <a:custGeom>
                  <a:avLst/>
                  <a:gdLst>
                    <a:gd name="T0" fmla="*/ 5 w 5"/>
                    <a:gd name="T1" fmla="*/ 0 h 11"/>
                    <a:gd name="T2" fmla="*/ 5 w 5"/>
                    <a:gd name="T3" fmla="*/ 0 h 11"/>
                    <a:gd name="T4" fmla="*/ 5 w 5"/>
                    <a:gd name="T5" fmla="*/ 0 h 11"/>
                    <a:gd name="T6" fmla="*/ 3 w 5"/>
                    <a:gd name="T7" fmla="*/ 3 h 11"/>
                    <a:gd name="T8" fmla="*/ 2 w 5"/>
                    <a:gd name="T9" fmla="*/ 5 h 11"/>
                    <a:gd name="T10" fmla="*/ 2 w 5"/>
                    <a:gd name="T11" fmla="*/ 9 h 11"/>
                    <a:gd name="T12" fmla="*/ 2 w 5"/>
                    <a:gd name="T13" fmla="*/ 9 h 11"/>
                    <a:gd name="T14" fmla="*/ 0 w 5"/>
                    <a:gd name="T15" fmla="*/ 11 h 11"/>
                    <a:gd name="T16" fmla="*/ 2 w 5"/>
                    <a:gd name="T17" fmla="*/ 9 h 11"/>
                    <a:gd name="T18" fmla="*/ 2 w 5"/>
                    <a:gd name="T19" fmla="*/ 9 h 11"/>
                    <a:gd name="T20" fmla="*/ 2 w 5"/>
                    <a:gd name="T21" fmla="*/ 5 h 11"/>
                    <a:gd name="T22" fmla="*/ 3 w 5"/>
                    <a:gd name="T23" fmla="*/ 3 h 11"/>
                    <a:gd name="T24" fmla="*/ 5 w 5"/>
                    <a:gd name="T25" fmla="*/ 0 h 11"/>
                    <a:gd name="T26" fmla="*/ 5 w 5"/>
                    <a:gd name="T2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11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2" y="5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0" y="11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6" name="Freeform 2970"/>
                <p:cNvSpPr>
                  <a:spLocks noEditPoints="1"/>
                </p:cNvSpPr>
                <p:nvPr/>
              </p:nvSpPr>
              <p:spPr bwMode="auto">
                <a:xfrm>
                  <a:off x="4555" y="1698"/>
                  <a:ext cx="144" cy="35"/>
                </a:xfrm>
                <a:custGeom>
                  <a:avLst/>
                  <a:gdLst>
                    <a:gd name="T0" fmla="*/ 9 w 144"/>
                    <a:gd name="T1" fmla="*/ 24 h 35"/>
                    <a:gd name="T2" fmla="*/ 2 w 144"/>
                    <a:gd name="T3" fmla="*/ 24 h 35"/>
                    <a:gd name="T4" fmla="*/ 0 w 144"/>
                    <a:gd name="T5" fmla="*/ 33 h 35"/>
                    <a:gd name="T6" fmla="*/ 2 w 144"/>
                    <a:gd name="T7" fmla="*/ 24 h 35"/>
                    <a:gd name="T8" fmla="*/ 9 w 144"/>
                    <a:gd name="T9" fmla="*/ 24 h 35"/>
                    <a:gd name="T10" fmla="*/ 16 w 144"/>
                    <a:gd name="T11" fmla="*/ 26 h 35"/>
                    <a:gd name="T12" fmla="*/ 24 w 144"/>
                    <a:gd name="T13" fmla="*/ 26 h 35"/>
                    <a:gd name="T14" fmla="*/ 31 w 144"/>
                    <a:gd name="T15" fmla="*/ 28 h 35"/>
                    <a:gd name="T16" fmla="*/ 39 w 144"/>
                    <a:gd name="T17" fmla="*/ 29 h 35"/>
                    <a:gd name="T18" fmla="*/ 44 w 144"/>
                    <a:gd name="T19" fmla="*/ 31 h 35"/>
                    <a:gd name="T20" fmla="*/ 53 w 144"/>
                    <a:gd name="T21" fmla="*/ 33 h 35"/>
                    <a:gd name="T22" fmla="*/ 61 w 144"/>
                    <a:gd name="T23" fmla="*/ 35 h 35"/>
                    <a:gd name="T24" fmla="*/ 64 w 144"/>
                    <a:gd name="T25" fmla="*/ 29 h 35"/>
                    <a:gd name="T26" fmla="*/ 64 w 144"/>
                    <a:gd name="T27" fmla="*/ 26 h 35"/>
                    <a:gd name="T28" fmla="*/ 68 w 144"/>
                    <a:gd name="T29" fmla="*/ 26 h 35"/>
                    <a:gd name="T30" fmla="*/ 74 w 144"/>
                    <a:gd name="T31" fmla="*/ 28 h 35"/>
                    <a:gd name="T32" fmla="*/ 77 w 144"/>
                    <a:gd name="T33" fmla="*/ 29 h 35"/>
                    <a:gd name="T34" fmla="*/ 83 w 144"/>
                    <a:gd name="T35" fmla="*/ 31 h 35"/>
                    <a:gd name="T36" fmla="*/ 83 w 144"/>
                    <a:gd name="T37" fmla="*/ 31 h 35"/>
                    <a:gd name="T38" fmla="*/ 83 w 144"/>
                    <a:gd name="T39" fmla="*/ 31 h 35"/>
                    <a:gd name="T40" fmla="*/ 77 w 144"/>
                    <a:gd name="T41" fmla="*/ 29 h 35"/>
                    <a:gd name="T42" fmla="*/ 74 w 144"/>
                    <a:gd name="T43" fmla="*/ 28 h 35"/>
                    <a:gd name="T44" fmla="*/ 68 w 144"/>
                    <a:gd name="T45" fmla="*/ 26 h 35"/>
                    <a:gd name="T46" fmla="*/ 64 w 144"/>
                    <a:gd name="T47" fmla="*/ 26 h 35"/>
                    <a:gd name="T48" fmla="*/ 64 w 144"/>
                    <a:gd name="T49" fmla="*/ 29 h 35"/>
                    <a:gd name="T50" fmla="*/ 61 w 144"/>
                    <a:gd name="T51" fmla="*/ 35 h 35"/>
                    <a:gd name="T52" fmla="*/ 53 w 144"/>
                    <a:gd name="T53" fmla="*/ 33 h 35"/>
                    <a:gd name="T54" fmla="*/ 44 w 144"/>
                    <a:gd name="T55" fmla="*/ 31 h 35"/>
                    <a:gd name="T56" fmla="*/ 39 w 144"/>
                    <a:gd name="T57" fmla="*/ 29 h 35"/>
                    <a:gd name="T58" fmla="*/ 31 w 144"/>
                    <a:gd name="T59" fmla="*/ 28 h 35"/>
                    <a:gd name="T60" fmla="*/ 24 w 144"/>
                    <a:gd name="T61" fmla="*/ 26 h 35"/>
                    <a:gd name="T62" fmla="*/ 16 w 144"/>
                    <a:gd name="T63" fmla="*/ 26 h 35"/>
                    <a:gd name="T64" fmla="*/ 9 w 144"/>
                    <a:gd name="T65" fmla="*/ 24 h 35"/>
                    <a:gd name="T66" fmla="*/ 118 w 144"/>
                    <a:gd name="T67" fmla="*/ 0 h 35"/>
                    <a:gd name="T68" fmla="*/ 109 w 144"/>
                    <a:gd name="T69" fmla="*/ 2 h 35"/>
                    <a:gd name="T70" fmla="*/ 94 w 144"/>
                    <a:gd name="T71" fmla="*/ 4 h 35"/>
                    <a:gd name="T72" fmla="*/ 109 w 144"/>
                    <a:gd name="T73" fmla="*/ 2 h 35"/>
                    <a:gd name="T74" fmla="*/ 118 w 144"/>
                    <a:gd name="T75" fmla="*/ 0 h 35"/>
                    <a:gd name="T76" fmla="*/ 129 w 144"/>
                    <a:gd name="T77" fmla="*/ 2 h 35"/>
                    <a:gd name="T78" fmla="*/ 144 w 144"/>
                    <a:gd name="T79" fmla="*/ 4 h 35"/>
                    <a:gd name="T80" fmla="*/ 129 w 144"/>
                    <a:gd name="T81" fmla="*/ 2 h 35"/>
                    <a:gd name="T82" fmla="*/ 118 w 144"/>
                    <a:gd name="T8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4" h="35">
                      <a:moveTo>
                        <a:pt x="9" y="24"/>
                      </a:moveTo>
                      <a:lnTo>
                        <a:pt x="2" y="24"/>
                      </a:lnTo>
                      <a:lnTo>
                        <a:pt x="0" y="33"/>
                      </a:lnTo>
                      <a:lnTo>
                        <a:pt x="2" y="24"/>
                      </a:lnTo>
                      <a:lnTo>
                        <a:pt x="9" y="24"/>
                      </a:lnTo>
                      <a:lnTo>
                        <a:pt x="16" y="26"/>
                      </a:lnTo>
                      <a:lnTo>
                        <a:pt x="24" y="26"/>
                      </a:lnTo>
                      <a:lnTo>
                        <a:pt x="31" y="28"/>
                      </a:lnTo>
                      <a:lnTo>
                        <a:pt x="39" y="29"/>
                      </a:lnTo>
                      <a:lnTo>
                        <a:pt x="44" y="31"/>
                      </a:lnTo>
                      <a:lnTo>
                        <a:pt x="53" y="33"/>
                      </a:lnTo>
                      <a:lnTo>
                        <a:pt x="61" y="35"/>
                      </a:lnTo>
                      <a:lnTo>
                        <a:pt x="64" y="29"/>
                      </a:lnTo>
                      <a:lnTo>
                        <a:pt x="64" y="26"/>
                      </a:lnTo>
                      <a:lnTo>
                        <a:pt x="68" y="26"/>
                      </a:lnTo>
                      <a:lnTo>
                        <a:pt x="74" y="28"/>
                      </a:lnTo>
                      <a:lnTo>
                        <a:pt x="77" y="29"/>
                      </a:lnTo>
                      <a:lnTo>
                        <a:pt x="83" y="31"/>
                      </a:lnTo>
                      <a:lnTo>
                        <a:pt x="83" y="31"/>
                      </a:lnTo>
                      <a:lnTo>
                        <a:pt x="83" y="31"/>
                      </a:lnTo>
                      <a:lnTo>
                        <a:pt x="77" y="29"/>
                      </a:lnTo>
                      <a:lnTo>
                        <a:pt x="74" y="28"/>
                      </a:lnTo>
                      <a:lnTo>
                        <a:pt x="68" y="26"/>
                      </a:lnTo>
                      <a:lnTo>
                        <a:pt x="64" y="26"/>
                      </a:lnTo>
                      <a:lnTo>
                        <a:pt x="64" y="29"/>
                      </a:lnTo>
                      <a:lnTo>
                        <a:pt x="61" y="35"/>
                      </a:lnTo>
                      <a:lnTo>
                        <a:pt x="53" y="33"/>
                      </a:lnTo>
                      <a:lnTo>
                        <a:pt x="44" y="31"/>
                      </a:lnTo>
                      <a:lnTo>
                        <a:pt x="39" y="29"/>
                      </a:lnTo>
                      <a:lnTo>
                        <a:pt x="31" y="28"/>
                      </a:lnTo>
                      <a:lnTo>
                        <a:pt x="24" y="26"/>
                      </a:lnTo>
                      <a:lnTo>
                        <a:pt x="16" y="26"/>
                      </a:lnTo>
                      <a:lnTo>
                        <a:pt x="9" y="24"/>
                      </a:lnTo>
                      <a:close/>
                      <a:moveTo>
                        <a:pt x="118" y="0"/>
                      </a:moveTo>
                      <a:lnTo>
                        <a:pt x="109" y="2"/>
                      </a:lnTo>
                      <a:lnTo>
                        <a:pt x="94" y="4"/>
                      </a:lnTo>
                      <a:lnTo>
                        <a:pt x="109" y="2"/>
                      </a:lnTo>
                      <a:lnTo>
                        <a:pt x="118" y="0"/>
                      </a:lnTo>
                      <a:lnTo>
                        <a:pt x="129" y="2"/>
                      </a:lnTo>
                      <a:lnTo>
                        <a:pt x="144" y="4"/>
                      </a:lnTo>
                      <a:lnTo>
                        <a:pt x="129" y="2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7" name="Freeform 2971"/>
                <p:cNvSpPr>
                  <a:spLocks/>
                </p:cNvSpPr>
                <p:nvPr/>
              </p:nvSpPr>
              <p:spPr bwMode="auto">
                <a:xfrm>
                  <a:off x="4555" y="1722"/>
                  <a:ext cx="83" cy="11"/>
                </a:xfrm>
                <a:custGeom>
                  <a:avLst/>
                  <a:gdLst>
                    <a:gd name="T0" fmla="*/ 9 w 83"/>
                    <a:gd name="T1" fmla="*/ 0 h 11"/>
                    <a:gd name="T2" fmla="*/ 2 w 83"/>
                    <a:gd name="T3" fmla="*/ 0 h 11"/>
                    <a:gd name="T4" fmla="*/ 0 w 83"/>
                    <a:gd name="T5" fmla="*/ 9 h 11"/>
                    <a:gd name="T6" fmla="*/ 2 w 83"/>
                    <a:gd name="T7" fmla="*/ 0 h 11"/>
                    <a:gd name="T8" fmla="*/ 9 w 83"/>
                    <a:gd name="T9" fmla="*/ 0 h 11"/>
                    <a:gd name="T10" fmla="*/ 16 w 83"/>
                    <a:gd name="T11" fmla="*/ 2 h 11"/>
                    <a:gd name="T12" fmla="*/ 24 w 83"/>
                    <a:gd name="T13" fmla="*/ 2 h 11"/>
                    <a:gd name="T14" fmla="*/ 31 w 83"/>
                    <a:gd name="T15" fmla="*/ 4 h 11"/>
                    <a:gd name="T16" fmla="*/ 39 w 83"/>
                    <a:gd name="T17" fmla="*/ 5 h 11"/>
                    <a:gd name="T18" fmla="*/ 44 w 83"/>
                    <a:gd name="T19" fmla="*/ 7 h 11"/>
                    <a:gd name="T20" fmla="*/ 53 w 83"/>
                    <a:gd name="T21" fmla="*/ 9 h 11"/>
                    <a:gd name="T22" fmla="*/ 61 w 83"/>
                    <a:gd name="T23" fmla="*/ 11 h 11"/>
                    <a:gd name="T24" fmla="*/ 64 w 83"/>
                    <a:gd name="T25" fmla="*/ 5 h 11"/>
                    <a:gd name="T26" fmla="*/ 64 w 83"/>
                    <a:gd name="T27" fmla="*/ 2 h 11"/>
                    <a:gd name="T28" fmla="*/ 68 w 83"/>
                    <a:gd name="T29" fmla="*/ 2 h 11"/>
                    <a:gd name="T30" fmla="*/ 74 w 83"/>
                    <a:gd name="T31" fmla="*/ 4 h 11"/>
                    <a:gd name="T32" fmla="*/ 77 w 83"/>
                    <a:gd name="T33" fmla="*/ 5 h 11"/>
                    <a:gd name="T34" fmla="*/ 83 w 83"/>
                    <a:gd name="T35" fmla="*/ 7 h 11"/>
                    <a:gd name="T36" fmla="*/ 83 w 83"/>
                    <a:gd name="T37" fmla="*/ 7 h 11"/>
                    <a:gd name="T38" fmla="*/ 83 w 83"/>
                    <a:gd name="T39" fmla="*/ 7 h 11"/>
                    <a:gd name="T40" fmla="*/ 77 w 83"/>
                    <a:gd name="T41" fmla="*/ 5 h 11"/>
                    <a:gd name="T42" fmla="*/ 74 w 83"/>
                    <a:gd name="T43" fmla="*/ 4 h 11"/>
                    <a:gd name="T44" fmla="*/ 68 w 83"/>
                    <a:gd name="T45" fmla="*/ 2 h 11"/>
                    <a:gd name="T46" fmla="*/ 64 w 83"/>
                    <a:gd name="T47" fmla="*/ 2 h 11"/>
                    <a:gd name="T48" fmla="*/ 64 w 83"/>
                    <a:gd name="T49" fmla="*/ 5 h 11"/>
                    <a:gd name="T50" fmla="*/ 61 w 83"/>
                    <a:gd name="T51" fmla="*/ 11 h 11"/>
                    <a:gd name="T52" fmla="*/ 53 w 83"/>
                    <a:gd name="T53" fmla="*/ 9 h 11"/>
                    <a:gd name="T54" fmla="*/ 44 w 83"/>
                    <a:gd name="T55" fmla="*/ 7 h 11"/>
                    <a:gd name="T56" fmla="*/ 39 w 83"/>
                    <a:gd name="T57" fmla="*/ 5 h 11"/>
                    <a:gd name="T58" fmla="*/ 31 w 83"/>
                    <a:gd name="T59" fmla="*/ 4 h 11"/>
                    <a:gd name="T60" fmla="*/ 24 w 83"/>
                    <a:gd name="T61" fmla="*/ 2 h 11"/>
                    <a:gd name="T62" fmla="*/ 16 w 83"/>
                    <a:gd name="T63" fmla="*/ 2 h 11"/>
                    <a:gd name="T64" fmla="*/ 9 w 83"/>
                    <a:gd name="T6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3" h="11">
                      <a:moveTo>
                        <a:pt x="9" y="0"/>
                      </a:moveTo>
                      <a:lnTo>
                        <a:pt x="2" y="0"/>
                      </a:lnTo>
                      <a:lnTo>
                        <a:pt x="0" y="9"/>
                      </a:lnTo>
                      <a:lnTo>
                        <a:pt x="2" y="0"/>
                      </a:lnTo>
                      <a:lnTo>
                        <a:pt x="9" y="0"/>
                      </a:lnTo>
                      <a:lnTo>
                        <a:pt x="16" y="2"/>
                      </a:lnTo>
                      <a:lnTo>
                        <a:pt x="24" y="2"/>
                      </a:lnTo>
                      <a:lnTo>
                        <a:pt x="31" y="4"/>
                      </a:lnTo>
                      <a:lnTo>
                        <a:pt x="39" y="5"/>
                      </a:lnTo>
                      <a:lnTo>
                        <a:pt x="44" y="7"/>
                      </a:lnTo>
                      <a:lnTo>
                        <a:pt x="53" y="9"/>
                      </a:lnTo>
                      <a:lnTo>
                        <a:pt x="61" y="11"/>
                      </a:lnTo>
                      <a:lnTo>
                        <a:pt x="64" y="5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74" y="4"/>
                      </a:lnTo>
                      <a:lnTo>
                        <a:pt x="77" y="5"/>
                      </a:lnTo>
                      <a:lnTo>
                        <a:pt x="83" y="7"/>
                      </a:lnTo>
                      <a:lnTo>
                        <a:pt x="83" y="7"/>
                      </a:lnTo>
                      <a:lnTo>
                        <a:pt x="83" y="7"/>
                      </a:lnTo>
                      <a:lnTo>
                        <a:pt x="77" y="5"/>
                      </a:lnTo>
                      <a:lnTo>
                        <a:pt x="74" y="4"/>
                      </a:lnTo>
                      <a:lnTo>
                        <a:pt x="68" y="2"/>
                      </a:lnTo>
                      <a:lnTo>
                        <a:pt x="64" y="2"/>
                      </a:lnTo>
                      <a:lnTo>
                        <a:pt x="64" y="5"/>
                      </a:lnTo>
                      <a:lnTo>
                        <a:pt x="61" y="11"/>
                      </a:lnTo>
                      <a:lnTo>
                        <a:pt x="53" y="9"/>
                      </a:lnTo>
                      <a:lnTo>
                        <a:pt x="44" y="7"/>
                      </a:lnTo>
                      <a:lnTo>
                        <a:pt x="39" y="5"/>
                      </a:lnTo>
                      <a:lnTo>
                        <a:pt x="31" y="4"/>
                      </a:lnTo>
                      <a:lnTo>
                        <a:pt x="24" y="2"/>
                      </a:lnTo>
                      <a:lnTo>
                        <a:pt x="16" y="2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8" name="Freeform 2972"/>
                <p:cNvSpPr>
                  <a:spLocks/>
                </p:cNvSpPr>
                <p:nvPr/>
              </p:nvSpPr>
              <p:spPr bwMode="auto">
                <a:xfrm>
                  <a:off x="4649" y="1698"/>
                  <a:ext cx="50" cy="4"/>
                </a:xfrm>
                <a:custGeom>
                  <a:avLst/>
                  <a:gdLst>
                    <a:gd name="T0" fmla="*/ 24 w 50"/>
                    <a:gd name="T1" fmla="*/ 0 h 4"/>
                    <a:gd name="T2" fmla="*/ 15 w 50"/>
                    <a:gd name="T3" fmla="*/ 2 h 4"/>
                    <a:gd name="T4" fmla="*/ 0 w 50"/>
                    <a:gd name="T5" fmla="*/ 4 h 4"/>
                    <a:gd name="T6" fmla="*/ 15 w 50"/>
                    <a:gd name="T7" fmla="*/ 2 h 4"/>
                    <a:gd name="T8" fmla="*/ 24 w 50"/>
                    <a:gd name="T9" fmla="*/ 0 h 4"/>
                    <a:gd name="T10" fmla="*/ 35 w 50"/>
                    <a:gd name="T11" fmla="*/ 2 h 4"/>
                    <a:gd name="T12" fmla="*/ 50 w 50"/>
                    <a:gd name="T13" fmla="*/ 4 h 4"/>
                    <a:gd name="T14" fmla="*/ 35 w 50"/>
                    <a:gd name="T15" fmla="*/ 2 h 4"/>
                    <a:gd name="T16" fmla="*/ 24 w 50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0" h="4">
                      <a:moveTo>
                        <a:pt x="24" y="0"/>
                      </a:moveTo>
                      <a:lnTo>
                        <a:pt x="15" y="2"/>
                      </a:lnTo>
                      <a:lnTo>
                        <a:pt x="0" y="4"/>
                      </a:lnTo>
                      <a:lnTo>
                        <a:pt x="15" y="2"/>
                      </a:lnTo>
                      <a:lnTo>
                        <a:pt x="24" y="0"/>
                      </a:lnTo>
                      <a:lnTo>
                        <a:pt x="35" y="2"/>
                      </a:lnTo>
                      <a:lnTo>
                        <a:pt x="50" y="4"/>
                      </a:lnTo>
                      <a:lnTo>
                        <a:pt x="35" y="2"/>
                      </a:lnTo>
                      <a:lnTo>
                        <a:pt x="2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59" name="Freeform 2973"/>
                <p:cNvSpPr>
                  <a:spLocks/>
                </p:cNvSpPr>
                <p:nvPr/>
              </p:nvSpPr>
              <p:spPr bwMode="auto">
                <a:xfrm>
                  <a:off x="4697" y="1663"/>
                  <a:ext cx="4" cy="3"/>
                </a:xfrm>
                <a:custGeom>
                  <a:avLst/>
                  <a:gdLst>
                    <a:gd name="T0" fmla="*/ 2 w 4"/>
                    <a:gd name="T1" fmla="*/ 0 h 3"/>
                    <a:gd name="T2" fmla="*/ 0 w 4"/>
                    <a:gd name="T3" fmla="*/ 0 h 3"/>
                    <a:gd name="T4" fmla="*/ 0 w 4"/>
                    <a:gd name="T5" fmla="*/ 2 h 3"/>
                    <a:gd name="T6" fmla="*/ 0 w 4"/>
                    <a:gd name="T7" fmla="*/ 3 h 3"/>
                    <a:gd name="T8" fmla="*/ 2 w 4"/>
                    <a:gd name="T9" fmla="*/ 3 h 3"/>
                    <a:gd name="T10" fmla="*/ 2 w 4"/>
                    <a:gd name="T11" fmla="*/ 2 h 3"/>
                    <a:gd name="T12" fmla="*/ 2 w 4"/>
                    <a:gd name="T13" fmla="*/ 0 h 3"/>
                    <a:gd name="T14" fmla="*/ 4 w 4"/>
                    <a:gd name="T15" fmla="*/ 0 h 3"/>
                    <a:gd name="T16" fmla="*/ 2 w 4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0" name="Freeform 2974"/>
                <p:cNvSpPr>
                  <a:spLocks/>
                </p:cNvSpPr>
                <p:nvPr/>
              </p:nvSpPr>
              <p:spPr bwMode="auto">
                <a:xfrm>
                  <a:off x="4697" y="1663"/>
                  <a:ext cx="4" cy="3"/>
                </a:xfrm>
                <a:custGeom>
                  <a:avLst/>
                  <a:gdLst>
                    <a:gd name="T0" fmla="*/ 2 w 4"/>
                    <a:gd name="T1" fmla="*/ 0 h 3"/>
                    <a:gd name="T2" fmla="*/ 0 w 4"/>
                    <a:gd name="T3" fmla="*/ 0 h 3"/>
                    <a:gd name="T4" fmla="*/ 0 w 4"/>
                    <a:gd name="T5" fmla="*/ 2 h 3"/>
                    <a:gd name="T6" fmla="*/ 0 w 4"/>
                    <a:gd name="T7" fmla="*/ 3 h 3"/>
                    <a:gd name="T8" fmla="*/ 2 w 4"/>
                    <a:gd name="T9" fmla="*/ 3 h 3"/>
                    <a:gd name="T10" fmla="*/ 2 w 4"/>
                    <a:gd name="T11" fmla="*/ 2 h 3"/>
                    <a:gd name="T12" fmla="*/ 2 w 4"/>
                    <a:gd name="T13" fmla="*/ 0 h 3"/>
                    <a:gd name="T14" fmla="*/ 4 w 4"/>
                    <a:gd name="T15" fmla="*/ 0 h 3"/>
                    <a:gd name="T16" fmla="*/ 2 w 4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1" name="Freeform 2975"/>
                <p:cNvSpPr>
                  <a:spLocks noEditPoints="1"/>
                </p:cNvSpPr>
                <p:nvPr/>
              </p:nvSpPr>
              <p:spPr bwMode="auto">
                <a:xfrm>
                  <a:off x="4715" y="2183"/>
                  <a:ext cx="373" cy="720"/>
                </a:xfrm>
                <a:custGeom>
                  <a:avLst/>
                  <a:gdLst>
                    <a:gd name="T0" fmla="*/ 373 w 373"/>
                    <a:gd name="T1" fmla="*/ 666 h 720"/>
                    <a:gd name="T2" fmla="*/ 371 w 373"/>
                    <a:gd name="T3" fmla="*/ 677 h 720"/>
                    <a:gd name="T4" fmla="*/ 368 w 373"/>
                    <a:gd name="T5" fmla="*/ 687 h 720"/>
                    <a:gd name="T6" fmla="*/ 362 w 373"/>
                    <a:gd name="T7" fmla="*/ 694 h 720"/>
                    <a:gd name="T8" fmla="*/ 357 w 373"/>
                    <a:gd name="T9" fmla="*/ 700 h 720"/>
                    <a:gd name="T10" fmla="*/ 347 w 373"/>
                    <a:gd name="T11" fmla="*/ 703 h 720"/>
                    <a:gd name="T12" fmla="*/ 336 w 373"/>
                    <a:gd name="T13" fmla="*/ 703 h 720"/>
                    <a:gd name="T14" fmla="*/ 322 w 373"/>
                    <a:gd name="T15" fmla="*/ 703 h 720"/>
                    <a:gd name="T16" fmla="*/ 316 w 373"/>
                    <a:gd name="T17" fmla="*/ 709 h 720"/>
                    <a:gd name="T18" fmla="*/ 309 w 373"/>
                    <a:gd name="T19" fmla="*/ 712 h 720"/>
                    <a:gd name="T20" fmla="*/ 298 w 373"/>
                    <a:gd name="T21" fmla="*/ 707 h 720"/>
                    <a:gd name="T22" fmla="*/ 292 w 373"/>
                    <a:gd name="T23" fmla="*/ 705 h 720"/>
                    <a:gd name="T24" fmla="*/ 277 w 373"/>
                    <a:gd name="T25" fmla="*/ 712 h 720"/>
                    <a:gd name="T26" fmla="*/ 263 w 373"/>
                    <a:gd name="T27" fmla="*/ 720 h 720"/>
                    <a:gd name="T28" fmla="*/ 277 w 373"/>
                    <a:gd name="T29" fmla="*/ 712 h 720"/>
                    <a:gd name="T30" fmla="*/ 292 w 373"/>
                    <a:gd name="T31" fmla="*/ 705 h 720"/>
                    <a:gd name="T32" fmla="*/ 298 w 373"/>
                    <a:gd name="T33" fmla="*/ 707 h 720"/>
                    <a:gd name="T34" fmla="*/ 309 w 373"/>
                    <a:gd name="T35" fmla="*/ 712 h 720"/>
                    <a:gd name="T36" fmla="*/ 316 w 373"/>
                    <a:gd name="T37" fmla="*/ 709 h 720"/>
                    <a:gd name="T38" fmla="*/ 322 w 373"/>
                    <a:gd name="T39" fmla="*/ 703 h 720"/>
                    <a:gd name="T40" fmla="*/ 336 w 373"/>
                    <a:gd name="T41" fmla="*/ 703 h 720"/>
                    <a:gd name="T42" fmla="*/ 347 w 373"/>
                    <a:gd name="T43" fmla="*/ 703 h 720"/>
                    <a:gd name="T44" fmla="*/ 357 w 373"/>
                    <a:gd name="T45" fmla="*/ 700 h 720"/>
                    <a:gd name="T46" fmla="*/ 362 w 373"/>
                    <a:gd name="T47" fmla="*/ 694 h 720"/>
                    <a:gd name="T48" fmla="*/ 368 w 373"/>
                    <a:gd name="T49" fmla="*/ 687 h 720"/>
                    <a:gd name="T50" fmla="*/ 371 w 373"/>
                    <a:gd name="T51" fmla="*/ 677 h 720"/>
                    <a:gd name="T52" fmla="*/ 373 w 373"/>
                    <a:gd name="T53" fmla="*/ 666 h 720"/>
                    <a:gd name="T54" fmla="*/ 176 w 373"/>
                    <a:gd name="T55" fmla="*/ 629 h 720"/>
                    <a:gd name="T56" fmla="*/ 176 w 373"/>
                    <a:gd name="T57" fmla="*/ 633 h 720"/>
                    <a:gd name="T58" fmla="*/ 176 w 373"/>
                    <a:gd name="T59" fmla="*/ 633 h 720"/>
                    <a:gd name="T60" fmla="*/ 227 w 373"/>
                    <a:gd name="T61" fmla="*/ 618 h 720"/>
                    <a:gd name="T62" fmla="*/ 227 w 373"/>
                    <a:gd name="T63" fmla="*/ 620 h 720"/>
                    <a:gd name="T64" fmla="*/ 224 w 373"/>
                    <a:gd name="T65" fmla="*/ 626 h 720"/>
                    <a:gd name="T66" fmla="*/ 220 w 373"/>
                    <a:gd name="T67" fmla="*/ 631 h 720"/>
                    <a:gd name="T68" fmla="*/ 213 w 373"/>
                    <a:gd name="T69" fmla="*/ 639 h 720"/>
                    <a:gd name="T70" fmla="*/ 213 w 373"/>
                    <a:gd name="T71" fmla="*/ 639 h 720"/>
                    <a:gd name="T72" fmla="*/ 220 w 373"/>
                    <a:gd name="T73" fmla="*/ 631 h 720"/>
                    <a:gd name="T74" fmla="*/ 224 w 373"/>
                    <a:gd name="T75" fmla="*/ 626 h 720"/>
                    <a:gd name="T76" fmla="*/ 227 w 373"/>
                    <a:gd name="T77" fmla="*/ 620 h 720"/>
                    <a:gd name="T78" fmla="*/ 26 w 373"/>
                    <a:gd name="T79" fmla="*/ 0 h 720"/>
                    <a:gd name="T80" fmla="*/ 19 w 373"/>
                    <a:gd name="T81" fmla="*/ 35 h 720"/>
                    <a:gd name="T82" fmla="*/ 10 w 373"/>
                    <a:gd name="T83" fmla="*/ 70 h 720"/>
                    <a:gd name="T84" fmla="*/ 6 w 373"/>
                    <a:gd name="T85" fmla="*/ 87 h 720"/>
                    <a:gd name="T86" fmla="*/ 2 w 373"/>
                    <a:gd name="T87" fmla="*/ 104 h 720"/>
                    <a:gd name="T88" fmla="*/ 0 w 373"/>
                    <a:gd name="T89" fmla="*/ 120 h 720"/>
                    <a:gd name="T90" fmla="*/ 0 w 373"/>
                    <a:gd name="T91" fmla="*/ 120 h 720"/>
                    <a:gd name="T92" fmla="*/ 2 w 373"/>
                    <a:gd name="T93" fmla="*/ 104 h 720"/>
                    <a:gd name="T94" fmla="*/ 6 w 373"/>
                    <a:gd name="T95" fmla="*/ 87 h 720"/>
                    <a:gd name="T96" fmla="*/ 10 w 373"/>
                    <a:gd name="T97" fmla="*/ 70 h 720"/>
                    <a:gd name="T98" fmla="*/ 19 w 373"/>
                    <a:gd name="T99" fmla="*/ 35 h 720"/>
                    <a:gd name="T100" fmla="*/ 26 w 373"/>
                    <a:gd name="T101" fmla="*/ 0 h 7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73" h="720">
                      <a:moveTo>
                        <a:pt x="373" y="661"/>
                      </a:moveTo>
                      <a:lnTo>
                        <a:pt x="373" y="666"/>
                      </a:lnTo>
                      <a:lnTo>
                        <a:pt x="371" y="672"/>
                      </a:lnTo>
                      <a:lnTo>
                        <a:pt x="371" y="677"/>
                      </a:lnTo>
                      <a:lnTo>
                        <a:pt x="370" y="683"/>
                      </a:lnTo>
                      <a:lnTo>
                        <a:pt x="368" y="687"/>
                      </a:lnTo>
                      <a:lnTo>
                        <a:pt x="366" y="690"/>
                      </a:lnTo>
                      <a:lnTo>
                        <a:pt x="362" y="694"/>
                      </a:lnTo>
                      <a:lnTo>
                        <a:pt x="360" y="696"/>
                      </a:lnTo>
                      <a:lnTo>
                        <a:pt x="357" y="700"/>
                      </a:lnTo>
                      <a:lnTo>
                        <a:pt x="351" y="701"/>
                      </a:lnTo>
                      <a:lnTo>
                        <a:pt x="347" y="703"/>
                      </a:lnTo>
                      <a:lnTo>
                        <a:pt x="342" y="703"/>
                      </a:lnTo>
                      <a:lnTo>
                        <a:pt x="336" y="703"/>
                      </a:lnTo>
                      <a:lnTo>
                        <a:pt x="329" y="703"/>
                      </a:lnTo>
                      <a:lnTo>
                        <a:pt x="322" y="703"/>
                      </a:lnTo>
                      <a:lnTo>
                        <a:pt x="322" y="703"/>
                      </a:lnTo>
                      <a:lnTo>
                        <a:pt x="316" y="709"/>
                      </a:lnTo>
                      <a:lnTo>
                        <a:pt x="312" y="714"/>
                      </a:lnTo>
                      <a:lnTo>
                        <a:pt x="309" y="712"/>
                      </a:lnTo>
                      <a:lnTo>
                        <a:pt x="303" y="711"/>
                      </a:lnTo>
                      <a:lnTo>
                        <a:pt x="298" y="707"/>
                      </a:lnTo>
                      <a:lnTo>
                        <a:pt x="294" y="705"/>
                      </a:lnTo>
                      <a:lnTo>
                        <a:pt x="292" y="705"/>
                      </a:lnTo>
                      <a:lnTo>
                        <a:pt x="285" y="709"/>
                      </a:lnTo>
                      <a:lnTo>
                        <a:pt x="277" y="712"/>
                      </a:lnTo>
                      <a:lnTo>
                        <a:pt x="270" y="716"/>
                      </a:lnTo>
                      <a:lnTo>
                        <a:pt x="263" y="720"/>
                      </a:lnTo>
                      <a:lnTo>
                        <a:pt x="270" y="716"/>
                      </a:lnTo>
                      <a:lnTo>
                        <a:pt x="277" y="712"/>
                      </a:lnTo>
                      <a:lnTo>
                        <a:pt x="285" y="709"/>
                      </a:lnTo>
                      <a:lnTo>
                        <a:pt x="292" y="705"/>
                      </a:lnTo>
                      <a:lnTo>
                        <a:pt x="294" y="705"/>
                      </a:lnTo>
                      <a:lnTo>
                        <a:pt x="298" y="707"/>
                      </a:lnTo>
                      <a:lnTo>
                        <a:pt x="303" y="711"/>
                      </a:lnTo>
                      <a:lnTo>
                        <a:pt x="309" y="712"/>
                      </a:lnTo>
                      <a:lnTo>
                        <a:pt x="312" y="714"/>
                      </a:lnTo>
                      <a:lnTo>
                        <a:pt x="316" y="709"/>
                      </a:lnTo>
                      <a:lnTo>
                        <a:pt x="322" y="703"/>
                      </a:lnTo>
                      <a:lnTo>
                        <a:pt x="322" y="703"/>
                      </a:lnTo>
                      <a:lnTo>
                        <a:pt x="329" y="703"/>
                      </a:lnTo>
                      <a:lnTo>
                        <a:pt x="336" y="703"/>
                      </a:lnTo>
                      <a:lnTo>
                        <a:pt x="342" y="703"/>
                      </a:lnTo>
                      <a:lnTo>
                        <a:pt x="347" y="703"/>
                      </a:lnTo>
                      <a:lnTo>
                        <a:pt x="351" y="701"/>
                      </a:lnTo>
                      <a:lnTo>
                        <a:pt x="357" y="700"/>
                      </a:lnTo>
                      <a:lnTo>
                        <a:pt x="360" y="696"/>
                      </a:lnTo>
                      <a:lnTo>
                        <a:pt x="362" y="694"/>
                      </a:lnTo>
                      <a:lnTo>
                        <a:pt x="366" y="690"/>
                      </a:lnTo>
                      <a:lnTo>
                        <a:pt x="368" y="687"/>
                      </a:lnTo>
                      <a:lnTo>
                        <a:pt x="370" y="683"/>
                      </a:lnTo>
                      <a:lnTo>
                        <a:pt x="371" y="677"/>
                      </a:lnTo>
                      <a:lnTo>
                        <a:pt x="371" y="672"/>
                      </a:lnTo>
                      <a:lnTo>
                        <a:pt x="373" y="666"/>
                      </a:lnTo>
                      <a:lnTo>
                        <a:pt x="373" y="661"/>
                      </a:lnTo>
                      <a:close/>
                      <a:moveTo>
                        <a:pt x="176" y="629"/>
                      </a:moveTo>
                      <a:lnTo>
                        <a:pt x="176" y="629"/>
                      </a:lnTo>
                      <a:lnTo>
                        <a:pt x="176" y="633"/>
                      </a:lnTo>
                      <a:lnTo>
                        <a:pt x="176" y="639"/>
                      </a:lnTo>
                      <a:lnTo>
                        <a:pt x="176" y="633"/>
                      </a:lnTo>
                      <a:lnTo>
                        <a:pt x="176" y="629"/>
                      </a:lnTo>
                      <a:close/>
                      <a:moveTo>
                        <a:pt x="227" y="618"/>
                      </a:moveTo>
                      <a:lnTo>
                        <a:pt x="227" y="618"/>
                      </a:lnTo>
                      <a:lnTo>
                        <a:pt x="227" y="620"/>
                      </a:lnTo>
                      <a:lnTo>
                        <a:pt x="226" y="624"/>
                      </a:lnTo>
                      <a:lnTo>
                        <a:pt x="224" y="626"/>
                      </a:lnTo>
                      <a:lnTo>
                        <a:pt x="222" y="629"/>
                      </a:lnTo>
                      <a:lnTo>
                        <a:pt x="220" y="631"/>
                      </a:lnTo>
                      <a:lnTo>
                        <a:pt x="216" y="635"/>
                      </a:lnTo>
                      <a:lnTo>
                        <a:pt x="213" y="639"/>
                      </a:lnTo>
                      <a:lnTo>
                        <a:pt x="207" y="644"/>
                      </a:lnTo>
                      <a:lnTo>
                        <a:pt x="213" y="639"/>
                      </a:lnTo>
                      <a:lnTo>
                        <a:pt x="216" y="635"/>
                      </a:lnTo>
                      <a:lnTo>
                        <a:pt x="220" y="631"/>
                      </a:lnTo>
                      <a:lnTo>
                        <a:pt x="222" y="629"/>
                      </a:lnTo>
                      <a:lnTo>
                        <a:pt x="224" y="626"/>
                      </a:lnTo>
                      <a:lnTo>
                        <a:pt x="226" y="624"/>
                      </a:lnTo>
                      <a:lnTo>
                        <a:pt x="227" y="620"/>
                      </a:lnTo>
                      <a:lnTo>
                        <a:pt x="227" y="618"/>
                      </a:lnTo>
                      <a:close/>
                      <a:moveTo>
                        <a:pt x="26" y="0"/>
                      </a:moveTo>
                      <a:lnTo>
                        <a:pt x="23" y="17"/>
                      </a:lnTo>
                      <a:lnTo>
                        <a:pt x="19" y="35"/>
                      </a:lnTo>
                      <a:lnTo>
                        <a:pt x="13" y="52"/>
                      </a:lnTo>
                      <a:lnTo>
                        <a:pt x="10" y="70"/>
                      </a:lnTo>
                      <a:lnTo>
                        <a:pt x="8" y="78"/>
                      </a:lnTo>
                      <a:lnTo>
                        <a:pt x="6" y="87"/>
                      </a:lnTo>
                      <a:lnTo>
                        <a:pt x="4" y="96"/>
                      </a:lnTo>
                      <a:lnTo>
                        <a:pt x="2" y="104"/>
                      </a:lnTo>
                      <a:lnTo>
                        <a:pt x="2" y="113"/>
                      </a:lnTo>
                      <a:lnTo>
                        <a:pt x="0" y="120"/>
                      </a:lnTo>
                      <a:lnTo>
                        <a:pt x="0" y="129"/>
                      </a:lnTo>
                      <a:lnTo>
                        <a:pt x="0" y="120"/>
                      </a:lnTo>
                      <a:lnTo>
                        <a:pt x="2" y="113"/>
                      </a:lnTo>
                      <a:lnTo>
                        <a:pt x="2" y="104"/>
                      </a:lnTo>
                      <a:lnTo>
                        <a:pt x="4" y="96"/>
                      </a:lnTo>
                      <a:lnTo>
                        <a:pt x="6" y="87"/>
                      </a:lnTo>
                      <a:lnTo>
                        <a:pt x="8" y="78"/>
                      </a:lnTo>
                      <a:lnTo>
                        <a:pt x="10" y="70"/>
                      </a:lnTo>
                      <a:lnTo>
                        <a:pt x="13" y="52"/>
                      </a:lnTo>
                      <a:lnTo>
                        <a:pt x="19" y="35"/>
                      </a:lnTo>
                      <a:lnTo>
                        <a:pt x="23" y="17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2" name="Freeform 2976"/>
                <p:cNvSpPr>
                  <a:spLocks/>
                </p:cNvSpPr>
                <p:nvPr/>
              </p:nvSpPr>
              <p:spPr bwMode="auto">
                <a:xfrm>
                  <a:off x="4978" y="2844"/>
                  <a:ext cx="110" cy="59"/>
                </a:xfrm>
                <a:custGeom>
                  <a:avLst/>
                  <a:gdLst>
                    <a:gd name="T0" fmla="*/ 110 w 110"/>
                    <a:gd name="T1" fmla="*/ 0 h 59"/>
                    <a:gd name="T2" fmla="*/ 110 w 110"/>
                    <a:gd name="T3" fmla="*/ 5 h 59"/>
                    <a:gd name="T4" fmla="*/ 108 w 110"/>
                    <a:gd name="T5" fmla="*/ 11 h 59"/>
                    <a:gd name="T6" fmla="*/ 108 w 110"/>
                    <a:gd name="T7" fmla="*/ 16 h 59"/>
                    <a:gd name="T8" fmla="*/ 107 w 110"/>
                    <a:gd name="T9" fmla="*/ 22 h 59"/>
                    <a:gd name="T10" fmla="*/ 105 w 110"/>
                    <a:gd name="T11" fmla="*/ 26 h 59"/>
                    <a:gd name="T12" fmla="*/ 103 w 110"/>
                    <a:gd name="T13" fmla="*/ 29 h 59"/>
                    <a:gd name="T14" fmla="*/ 99 w 110"/>
                    <a:gd name="T15" fmla="*/ 33 h 59"/>
                    <a:gd name="T16" fmla="*/ 97 w 110"/>
                    <a:gd name="T17" fmla="*/ 35 h 59"/>
                    <a:gd name="T18" fmla="*/ 94 w 110"/>
                    <a:gd name="T19" fmla="*/ 39 h 59"/>
                    <a:gd name="T20" fmla="*/ 88 w 110"/>
                    <a:gd name="T21" fmla="*/ 40 h 59"/>
                    <a:gd name="T22" fmla="*/ 84 w 110"/>
                    <a:gd name="T23" fmla="*/ 42 h 59"/>
                    <a:gd name="T24" fmla="*/ 79 w 110"/>
                    <a:gd name="T25" fmla="*/ 42 h 59"/>
                    <a:gd name="T26" fmla="*/ 73 w 110"/>
                    <a:gd name="T27" fmla="*/ 42 h 59"/>
                    <a:gd name="T28" fmla="*/ 66 w 110"/>
                    <a:gd name="T29" fmla="*/ 42 h 59"/>
                    <a:gd name="T30" fmla="*/ 59 w 110"/>
                    <a:gd name="T31" fmla="*/ 42 h 59"/>
                    <a:gd name="T32" fmla="*/ 59 w 110"/>
                    <a:gd name="T33" fmla="*/ 42 h 59"/>
                    <a:gd name="T34" fmla="*/ 53 w 110"/>
                    <a:gd name="T35" fmla="*/ 48 h 59"/>
                    <a:gd name="T36" fmla="*/ 49 w 110"/>
                    <a:gd name="T37" fmla="*/ 53 h 59"/>
                    <a:gd name="T38" fmla="*/ 46 w 110"/>
                    <a:gd name="T39" fmla="*/ 51 h 59"/>
                    <a:gd name="T40" fmla="*/ 40 w 110"/>
                    <a:gd name="T41" fmla="*/ 50 h 59"/>
                    <a:gd name="T42" fmla="*/ 35 w 110"/>
                    <a:gd name="T43" fmla="*/ 46 h 59"/>
                    <a:gd name="T44" fmla="*/ 31 w 110"/>
                    <a:gd name="T45" fmla="*/ 44 h 59"/>
                    <a:gd name="T46" fmla="*/ 29 w 110"/>
                    <a:gd name="T47" fmla="*/ 44 h 59"/>
                    <a:gd name="T48" fmla="*/ 22 w 110"/>
                    <a:gd name="T49" fmla="*/ 48 h 59"/>
                    <a:gd name="T50" fmla="*/ 14 w 110"/>
                    <a:gd name="T51" fmla="*/ 51 h 59"/>
                    <a:gd name="T52" fmla="*/ 7 w 110"/>
                    <a:gd name="T53" fmla="*/ 55 h 59"/>
                    <a:gd name="T54" fmla="*/ 0 w 110"/>
                    <a:gd name="T55" fmla="*/ 59 h 59"/>
                    <a:gd name="T56" fmla="*/ 7 w 110"/>
                    <a:gd name="T57" fmla="*/ 55 h 59"/>
                    <a:gd name="T58" fmla="*/ 14 w 110"/>
                    <a:gd name="T59" fmla="*/ 51 h 59"/>
                    <a:gd name="T60" fmla="*/ 22 w 110"/>
                    <a:gd name="T61" fmla="*/ 48 h 59"/>
                    <a:gd name="T62" fmla="*/ 29 w 110"/>
                    <a:gd name="T63" fmla="*/ 44 h 59"/>
                    <a:gd name="T64" fmla="*/ 31 w 110"/>
                    <a:gd name="T65" fmla="*/ 44 h 59"/>
                    <a:gd name="T66" fmla="*/ 35 w 110"/>
                    <a:gd name="T67" fmla="*/ 46 h 59"/>
                    <a:gd name="T68" fmla="*/ 40 w 110"/>
                    <a:gd name="T69" fmla="*/ 50 h 59"/>
                    <a:gd name="T70" fmla="*/ 46 w 110"/>
                    <a:gd name="T71" fmla="*/ 51 h 59"/>
                    <a:gd name="T72" fmla="*/ 49 w 110"/>
                    <a:gd name="T73" fmla="*/ 53 h 59"/>
                    <a:gd name="T74" fmla="*/ 53 w 110"/>
                    <a:gd name="T75" fmla="*/ 48 h 59"/>
                    <a:gd name="T76" fmla="*/ 59 w 110"/>
                    <a:gd name="T77" fmla="*/ 42 h 59"/>
                    <a:gd name="T78" fmla="*/ 59 w 110"/>
                    <a:gd name="T79" fmla="*/ 42 h 59"/>
                    <a:gd name="T80" fmla="*/ 66 w 110"/>
                    <a:gd name="T81" fmla="*/ 42 h 59"/>
                    <a:gd name="T82" fmla="*/ 73 w 110"/>
                    <a:gd name="T83" fmla="*/ 42 h 59"/>
                    <a:gd name="T84" fmla="*/ 79 w 110"/>
                    <a:gd name="T85" fmla="*/ 42 h 59"/>
                    <a:gd name="T86" fmla="*/ 84 w 110"/>
                    <a:gd name="T87" fmla="*/ 42 h 59"/>
                    <a:gd name="T88" fmla="*/ 88 w 110"/>
                    <a:gd name="T89" fmla="*/ 40 h 59"/>
                    <a:gd name="T90" fmla="*/ 94 w 110"/>
                    <a:gd name="T91" fmla="*/ 39 h 59"/>
                    <a:gd name="T92" fmla="*/ 97 w 110"/>
                    <a:gd name="T93" fmla="*/ 35 h 59"/>
                    <a:gd name="T94" fmla="*/ 99 w 110"/>
                    <a:gd name="T95" fmla="*/ 33 h 59"/>
                    <a:gd name="T96" fmla="*/ 103 w 110"/>
                    <a:gd name="T97" fmla="*/ 29 h 59"/>
                    <a:gd name="T98" fmla="*/ 105 w 110"/>
                    <a:gd name="T99" fmla="*/ 26 h 59"/>
                    <a:gd name="T100" fmla="*/ 107 w 110"/>
                    <a:gd name="T101" fmla="*/ 22 h 59"/>
                    <a:gd name="T102" fmla="*/ 108 w 110"/>
                    <a:gd name="T103" fmla="*/ 16 h 59"/>
                    <a:gd name="T104" fmla="*/ 108 w 110"/>
                    <a:gd name="T105" fmla="*/ 11 h 59"/>
                    <a:gd name="T106" fmla="*/ 110 w 110"/>
                    <a:gd name="T107" fmla="*/ 5 h 59"/>
                    <a:gd name="T108" fmla="*/ 110 w 110"/>
                    <a:gd name="T10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10" h="59">
                      <a:moveTo>
                        <a:pt x="110" y="0"/>
                      </a:moveTo>
                      <a:lnTo>
                        <a:pt x="110" y="5"/>
                      </a:lnTo>
                      <a:lnTo>
                        <a:pt x="108" y="11"/>
                      </a:lnTo>
                      <a:lnTo>
                        <a:pt x="108" y="16"/>
                      </a:lnTo>
                      <a:lnTo>
                        <a:pt x="107" y="22"/>
                      </a:lnTo>
                      <a:lnTo>
                        <a:pt x="105" y="26"/>
                      </a:lnTo>
                      <a:lnTo>
                        <a:pt x="103" y="29"/>
                      </a:lnTo>
                      <a:lnTo>
                        <a:pt x="99" y="33"/>
                      </a:lnTo>
                      <a:lnTo>
                        <a:pt x="97" y="35"/>
                      </a:lnTo>
                      <a:lnTo>
                        <a:pt x="94" y="39"/>
                      </a:lnTo>
                      <a:lnTo>
                        <a:pt x="88" y="40"/>
                      </a:lnTo>
                      <a:lnTo>
                        <a:pt x="84" y="42"/>
                      </a:lnTo>
                      <a:lnTo>
                        <a:pt x="79" y="42"/>
                      </a:lnTo>
                      <a:lnTo>
                        <a:pt x="73" y="42"/>
                      </a:lnTo>
                      <a:lnTo>
                        <a:pt x="66" y="42"/>
                      </a:lnTo>
                      <a:lnTo>
                        <a:pt x="59" y="42"/>
                      </a:lnTo>
                      <a:lnTo>
                        <a:pt x="59" y="42"/>
                      </a:lnTo>
                      <a:lnTo>
                        <a:pt x="53" y="48"/>
                      </a:lnTo>
                      <a:lnTo>
                        <a:pt x="49" y="53"/>
                      </a:lnTo>
                      <a:lnTo>
                        <a:pt x="46" y="51"/>
                      </a:lnTo>
                      <a:lnTo>
                        <a:pt x="40" y="50"/>
                      </a:lnTo>
                      <a:lnTo>
                        <a:pt x="35" y="46"/>
                      </a:lnTo>
                      <a:lnTo>
                        <a:pt x="31" y="44"/>
                      </a:lnTo>
                      <a:lnTo>
                        <a:pt x="29" y="44"/>
                      </a:lnTo>
                      <a:lnTo>
                        <a:pt x="22" y="48"/>
                      </a:lnTo>
                      <a:lnTo>
                        <a:pt x="14" y="51"/>
                      </a:lnTo>
                      <a:lnTo>
                        <a:pt x="7" y="55"/>
                      </a:lnTo>
                      <a:lnTo>
                        <a:pt x="0" y="59"/>
                      </a:lnTo>
                      <a:lnTo>
                        <a:pt x="7" y="55"/>
                      </a:lnTo>
                      <a:lnTo>
                        <a:pt x="14" y="51"/>
                      </a:lnTo>
                      <a:lnTo>
                        <a:pt x="22" y="48"/>
                      </a:lnTo>
                      <a:lnTo>
                        <a:pt x="29" y="44"/>
                      </a:lnTo>
                      <a:lnTo>
                        <a:pt x="31" y="44"/>
                      </a:lnTo>
                      <a:lnTo>
                        <a:pt x="35" y="46"/>
                      </a:lnTo>
                      <a:lnTo>
                        <a:pt x="40" y="50"/>
                      </a:lnTo>
                      <a:lnTo>
                        <a:pt x="46" y="51"/>
                      </a:lnTo>
                      <a:lnTo>
                        <a:pt x="49" y="53"/>
                      </a:lnTo>
                      <a:lnTo>
                        <a:pt x="53" y="48"/>
                      </a:lnTo>
                      <a:lnTo>
                        <a:pt x="59" y="42"/>
                      </a:lnTo>
                      <a:lnTo>
                        <a:pt x="59" y="42"/>
                      </a:lnTo>
                      <a:lnTo>
                        <a:pt x="66" y="42"/>
                      </a:lnTo>
                      <a:lnTo>
                        <a:pt x="73" y="42"/>
                      </a:lnTo>
                      <a:lnTo>
                        <a:pt x="79" y="42"/>
                      </a:lnTo>
                      <a:lnTo>
                        <a:pt x="84" y="42"/>
                      </a:lnTo>
                      <a:lnTo>
                        <a:pt x="88" y="40"/>
                      </a:lnTo>
                      <a:lnTo>
                        <a:pt x="94" y="39"/>
                      </a:lnTo>
                      <a:lnTo>
                        <a:pt x="97" y="35"/>
                      </a:lnTo>
                      <a:lnTo>
                        <a:pt x="99" y="33"/>
                      </a:lnTo>
                      <a:lnTo>
                        <a:pt x="103" y="29"/>
                      </a:lnTo>
                      <a:lnTo>
                        <a:pt x="105" y="26"/>
                      </a:lnTo>
                      <a:lnTo>
                        <a:pt x="107" y="22"/>
                      </a:lnTo>
                      <a:lnTo>
                        <a:pt x="108" y="16"/>
                      </a:lnTo>
                      <a:lnTo>
                        <a:pt x="108" y="11"/>
                      </a:lnTo>
                      <a:lnTo>
                        <a:pt x="110" y="5"/>
                      </a:lnTo>
                      <a:lnTo>
                        <a:pt x="11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3" name="Freeform 2977"/>
                <p:cNvSpPr>
                  <a:spLocks/>
                </p:cNvSpPr>
                <p:nvPr/>
              </p:nvSpPr>
              <p:spPr bwMode="auto">
                <a:xfrm>
                  <a:off x="4891" y="2812"/>
                  <a:ext cx="1" cy="10"/>
                </a:xfrm>
                <a:custGeom>
                  <a:avLst/>
                  <a:gdLst>
                    <a:gd name="T0" fmla="*/ 0 h 10"/>
                    <a:gd name="T1" fmla="*/ 0 h 10"/>
                    <a:gd name="T2" fmla="*/ 4 h 10"/>
                    <a:gd name="T3" fmla="*/ 10 h 10"/>
                    <a:gd name="T4" fmla="*/ 4 h 10"/>
                    <a:gd name="T5" fmla="*/ 0 h 10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4" name="Freeform 2978"/>
                <p:cNvSpPr>
                  <a:spLocks/>
                </p:cNvSpPr>
                <p:nvPr/>
              </p:nvSpPr>
              <p:spPr bwMode="auto">
                <a:xfrm>
                  <a:off x="4922" y="2801"/>
                  <a:ext cx="20" cy="26"/>
                </a:xfrm>
                <a:custGeom>
                  <a:avLst/>
                  <a:gdLst>
                    <a:gd name="T0" fmla="*/ 20 w 20"/>
                    <a:gd name="T1" fmla="*/ 0 h 26"/>
                    <a:gd name="T2" fmla="*/ 20 w 20"/>
                    <a:gd name="T3" fmla="*/ 0 h 26"/>
                    <a:gd name="T4" fmla="*/ 20 w 20"/>
                    <a:gd name="T5" fmla="*/ 2 h 26"/>
                    <a:gd name="T6" fmla="*/ 19 w 20"/>
                    <a:gd name="T7" fmla="*/ 6 h 26"/>
                    <a:gd name="T8" fmla="*/ 17 w 20"/>
                    <a:gd name="T9" fmla="*/ 8 h 26"/>
                    <a:gd name="T10" fmla="*/ 15 w 20"/>
                    <a:gd name="T11" fmla="*/ 11 h 26"/>
                    <a:gd name="T12" fmla="*/ 13 w 20"/>
                    <a:gd name="T13" fmla="*/ 13 h 26"/>
                    <a:gd name="T14" fmla="*/ 9 w 20"/>
                    <a:gd name="T15" fmla="*/ 17 h 26"/>
                    <a:gd name="T16" fmla="*/ 6 w 20"/>
                    <a:gd name="T17" fmla="*/ 21 h 26"/>
                    <a:gd name="T18" fmla="*/ 0 w 20"/>
                    <a:gd name="T19" fmla="*/ 26 h 26"/>
                    <a:gd name="T20" fmla="*/ 6 w 20"/>
                    <a:gd name="T21" fmla="*/ 21 h 26"/>
                    <a:gd name="T22" fmla="*/ 9 w 20"/>
                    <a:gd name="T23" fmla="*/ 17 h 26"/>
                    <a:gd name="T24" fmla="*/ 13 w 20"/>
                    <a:gd name="T25" fmla="*/ 13 h 26"/>
                    <a:gd name="T26" fmla="*/ 15 w 20"/>
                    <a:gd name="T27" fmla="*/ 11 h 26"/>
                    <a:gd name="T28" fmla="*/ 17 w 20"/>
                    <a:gd name="T29" fmla="*/ 8 h 26"/>
                    <a:gd name="T30" fmla="*/ 19 w 20"/>
                    <a:gd name="T31" fmla="*/ 6 h 26"/>
                    <a:gd name="T32" fmla="*/ 20 w 20"/>
                    <a:gd name="T33" fmla="*/ 2 h 26"/>
                    <a:gd name="T34" fmla="*/ 20 w 20"/>
                    <a:gd name="T35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0" h="26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20" y="2"/>
                      </a:lnTo>
                      <a:lnTo>
                        <a:pt x="19" y="6"/>
                      </a:lnTo>
                      <a:lnTo>
                        <a:pt x="17" y="8"/>
                      </a:lnTo>
                      <a:lnTo>
                        <a:pt x="15" y="11"/>
                      </a:lnTo>
                      <a:lnTo>
                        <a:pt x="13" y="13"/>
                      </a:lnTo>
                      <a:lnTo>
                        <a:pt x="9" y="17"/>
                      </a:lnTo>
                      <a:lnTo>
                        <a:pt x="6" y="21"/>
                      </a:lnTo>
                      <a:lnTo>
                        <a:pt x="0" y="26"/>
                      </a:lnTo>
                      <a:lnTo>
                        <a:pt x="6" y="21"/>
                      </a:lnTo>
                      <a:lnTo>
                        <a:pt x="9" y="17"/>
                      </a:lnTo>
                      <a:lnTo>
                        <a:pt x="13" y="13"/>
                      </a:lnTo>
                      <a:lnTo>
                        <a:pt x="15" y="11"/>
                      </a:lnTo>
                      <a:lnTo>
                        <a:pt x="17" y="8"/>
                      </a:lnTo>
                      <a:lnTo>
                        <a:pt x="19" y="6"/>
                      </a:lnTo>
                      <a:lnTo>
                        <a:pt x="20" y="2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5" name="Freeform 2979"/>
                <p:cNvSpPr>
                  <a:spLocks/>
                </p:cNvSpPr>
                <p:nvPr/>
              </p:nvSpPr>
              <p:spPr bwMode="auto">
                <a:xfrm>
                  <a:off x="4715" y="2183"/>
                  <a:ext cx="26" cy="129"/>
                </a:xfrm>
                <a:custGeom>
                  <a:avLst/>
                  <a:gdLst>
                    <a:gd name="T0" fmla="*/ 26 w 26"/>
                    <a:gd name="T1" fmla="*/ 0 h 129"/>
                    <a:gd name="T2" fmla="*/ 23 w 26"/>
                    <a:gd name="T3" fmla="*/ 17 h 129"/>
                    <a:gd name="T4" fmla="*/ 19 w 26"/>
                    <a:gd name="T5" fmla="*/ 35 h 129"/>
                    <a:gd name="T6" fmla="*/ 13 w 26"/>
                    <a:gd name="T7" fmla="*/ 52 h 129"/>
                    <a:gd name="T8" fmla="*/ 10 w 26"/>
                    <a:gd name="T9" fmla="*/ 70 h 129"/>
                    <a:gd name="T10" fmla="*/ 8 w 26"/>
                    <a:gd name="T11" fmla="*/ 78 h 129"/>
                    <a:gd name="T12" fmla="*/ 6 w 26"/>
                    <a:gd name="T13" fmla="*/ 87 h 129"/>
                    <a:gd name="T14" fmla="*/ 4 w 26"/>
                    <a:gd name="T15" fmla="*/ 96 h 129"/>
                    <a:gd name="T16" fmla="*/ 2 w 26"/>
                    <a:gd name="T17" fmla="*/ 104 h 129"/>
                    <a:gd name="T18" fmla="*/ 2 w 26"/>
                    <a:gd name="T19" fmla="*/ 113 h 129"/>
                    <a:gd name="T20" fmla="*/ 0 w 26"/>
                    <a:gd name="T21" fmla="*/ 120 h 129"/>
                    <a:gd name="T22" fmla="*/ 0 w 26"/>
                    <a:gd name="T23" fmla="*/ 129 h 129"/>
                    <a:gd name="T24" fmla="*/ 0 w 26"/>
                    <a:gd name="T25" fmla="*/ 120 h 129"/>
                    <a:gd name="T26" fmla="*/ 2 w 26"/>
                    <a:gd name="T27" fmla="*/ 113 h 129"/>
                    <a:gd name="T28" fmla="*/ 2 w 26"/>
                    <a:gd name="T29" fmla="*/ 104 h 129"/>
                    <a:gd name="T30" fmla="*/ 4 w 26"/>
                    <a:gd name="T31" fmla="*/ 96 h 129"/>
                    <a:gd name="T32" fmla="*/ 6 w 26"/>
                    <a:gd name="T33" fmla="*/ 87 h 129"/>
                    <a:gd name="T34" fmla="*/ 8 w 26"/>
                    <a:gd name="T35" fmla="*/ 78 h 129"/>
                    <a:gd name="T36" fmla="*/ 10 w 26"/>
                    <a:gd name="T37" fmla="*/ 70 h 129"/>
                    <a:gd name="T38" fmla="*/ 13 w 26"/>
                    <a:gd name="T39" fmla="*/ 52 h 129"/>
                    <a:gd name="T40" fmla="*/ 19 w 26"/>
                    <a:gd name="T41" fmla="*/ 35 h 129"/>
                    <a:gd name="T42" fmla="*/ 23 w 26"/>
                    <a:gd name="T43" fmla="*/ 17 h 129"/>
                    <a:gd name="T44" fmla="*/ 26 w 26"/>
                    <a:gd name="T45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6" h="129">
                      <a:moveTo>
                        <a:pt x="26" y="0"/>
                      </a:moveTo>
                      <a:lnTo>
                        <a:pt x="23" y="17"/>
                      </a:lnTo>
                      <a:lnTo>
                        <a:pt x="19" y="35"/>
                      </a:lnTo>
                      <a:lnTo>
                        <a:pt x="13" y="52"/>
                      </a:lnTo>
                      <a:lnTo>
                        <a:pt x="10" y="70"/>
                      </a:lnTo>
                      <a:lnTo>
                        <a:pt x="8" y="78"/>
                      </a:lnTo>
                      <a:lnTo>
                        <a:pt x="6" y="87"/>
                      </a:lnTo>
                      <a:lnTo>
                        <a:pt x="4" y="96"/>
                      </a:lnTo>
                      <a:lnTo>
                        <a:pt x="2" y="104"/>
                      </a:lnTo>
                      <a:lnTo>
                        <a:pt x="2" y="113"/>
                      </a:lnTo>
                      <a:lnTo>
                        <a:pt x="0" y="120"/>
                      </a:lnTo>
                      <a:lnTo>
                        <a:pt x="0" y="129"/>
                      </a:lnTo>
                      <a:lnTo>
                        <a:pt x="0" y="120"/>
                      </a:lnTo>
                      <a:lnTo>
                        <a:pt x="2" y="113"/>
                      </a:lnTo>
                      <a:lnTo>
                        <a:pt x="2" y="104"/>
                      </a:lnTo>
                      <a:lnTo>
                        <a:pt x="4" y="96"/>
                      </a:lnTo>
                      <a:lnTo>
                        <a:pt x="6" y="87"/>
                      </a:lnTo>
                      <a:lnTo>
                        <a:pt x="8" y="78"/>
                      </a:lnTo>
                      <a:lnTo>
                        <a:pt x="10" y="70"/>
                      </a:lnTo>
                      <a:lnTo>
                        <a:pt x="13" y="52"/>
                      </a:lnTo>
                      <a:lnTo>
                        <a:pt x="19" y="35"/>
                      </a:lnTo>
                      <a:lnTo>
                        <a:pt x="23" y="17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6" name="Freeform 2980"/>
                <p:cNvSpPr>
                  <a:spLocks/>
                </p:cNvSpPr>
                <p:nvPr/>
              </p:nvSpPr>
              <p:spPr bwMode="auto">
                <a:xfrm>
                  <a:off x="5181" y="2764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7" name="Freeform 2981"/>
                <p:cNvSpPr>
                  <a:spLocks/>
                </p:cNvSpPr>
                <p:nvPr/>
              </p:nvSpPr>
              <p:spPr bwMode="auto">
                <a:xfrm>
                  <a:off x="5181" y="2764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8" name="Freeform 2982"/>
                <p:cNvSpPr>
                  <a:spLocks noEditPoints="1"/>
                </p:cNvSpPr>
                <p:nvPr/>
              </p:nvSpPr>
              <p:spPr bwMode="auto">
                <a:xfrm>
                  <a:off x="4743" y="2807"/>
                  <a:ext cx="26" cy="37"/>
                </a:xfrm>
                <a:custGeom>
                  <a:avLst/>
                  <a:gdLst>
                    <a:gd name="T0" fmla="*/ 2 w 26"/>
                    <a:gd name="T1" fmla="*/ 35 h 37"/>
                    <a:gd name="T2" fmla="*/ 2 w 26"/>
                    <a:gd name="T3" fmla="*/ 35 h 37"/>
                    <a:gd name="T4" fmla="*/ 0 w 26"/>
                    <a:gd name="T5" fmla="*/ 37 h 37"/>
                    <a:gd name="T6" fmla="*/ 0 w 26"/>
                    <a:gd name="T7" fmla="*/ 37 h 37"/>
                    <a:gd name="T8" fmla="*/ 0 w 26"/>
                    <a:gd name="T9" fmla="*/ 37 h 37"/>
                    <a:gd name="T10" fmla="*/ 2 w 26"/>
                    <a:gd name="T11" fmla="*/ 35 h 37"/>
                    <a:gd name="T12" fmla="*/ 26 w 26"/>
                    <a:gd name="T13" fmla="*/ 0 h 37"/>
                    <a:gd name="T14" fmla="*/ 26 w 26"/>
                    <a:gd name="T1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37">
                      <a:moveTo>
                        <a:pt x="2" y="35"/>
                      </a:moveTo>
                      <a:lnTo>
                        <a:pt x="2" y="35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2" y="35"/>
                      </a:lnTo>
                      <a:close/>
                      <a:moveTo>
                        <a:pt x="26" y="0"/>
                      </a:move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69" name="Freeform 2983"/>
                <p:cNvSpPr>
                  <a:spLocks/>
                </p:cNvSpPr>
                <p:nvPr/>
              </p:nvSpPr>
              <p:spPr bwMode="auto">
                <a:xfrm>
                  <a:off x="4743" y="2842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2 w 2"/>
                    <a:gd name="T3" fmla="*/ 0 h 2"/>
                    <a:gd name="T4" fmla="*/ 0 w 2"/>
                    <a:gd name="T5" fmla="*/ 2 h 2"/>
                    <a:gd name="T6" fmla="*/ 0 w 2"/>
                    <a:gd name="T7" fmla="*/ 2 h 2"/>
                    <a:gd name="T8" fmla="*/ 0 w 2"/>
                    <a:gd name="T9" fmla="*/ 2 h 2"/>
                    <a:gd name="T10" fmla="*/ 2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0" name="Line 2984"/>
                <p:cNvSpPr>
                  <a:spLocks noChangeShapeType="1"/>
                </p:cNvSpPr>
                <p:nvPr/>
              </p:nvSpPr>
              <p:spPr bwMode="auto">
                <a:xfrm>
                  <a:off x="4769" y="2807"/>
                  <a:ext cx="1" cy="1"/>
                </a:xfrm>
                <a:prstGeom prst="lin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1" name="Freeform 2985"/>
                <p:cNvSpPr>
                  <a:spLocks/>
                </p:cNvSpPr>
                <p:nvPr/>
              </p:nvSpPr>
              <p:spPr bwMode="auto">
                <a:xfrm>
                  <a:off x="4695" y="1775"/>
                  <a:ext cx="486" cy="1183"/>
                </a:xfrm>
                <a:custGeom>
                  <a:avLst/>
                  <a:gdLst>
                    <a:gd name="T0" fmla="*/ 179 w 486"/>
                    <a:gd name="T1" fmla="*/ 30 h 1183"/>
                    <a:gd name="T2" fmla="*/ 133 w 486"/>
                    <a:gd name="T3" fmla="*/ 61 h 1183"/>
                    <a:gd name="T4" fmla="*/ 81 w 486"/>
                    <a:gd name="T5" fmla="*/ 113 h 1183"/>
                    <a:gd name="T6" fmla="*/ 61 w 486"/>
                    <a:gd name="T7" fmla="*/ 222 h 1183"/>
                    <a:gd name="T8" fmla="*/ 26 w 486"/>
                    <a:gd name="T9" fmla="*/ 495 h 1183"/>
                    <a:gd name="T10" fmla="*/ 22 w 486"/>
                    <a:gd name="T11" fmla="*/ 591 h 1183"/>
                    <a:gd name="T12" fmla="*/ 105 w 486"/>
                    <a:gd name="T13" fmla="*/ 620 h 1183"/>
                    <a:gd name="T14" fmla="*/ 109 w 486"/>
                    <a:gd name="T15" fmla="*/ 587 h 1183"/>
                    <a:gd name="T16" fmla="*/ 137 w 486"/>
                    <a:gd name="T17" fmla="*/ 589 h 1183"/>
                    <a:gd name="T18" fmla="*/ 150 w 486"/>
                    <a:gd name="T19" fmla="*/ 622 h 1183"/>
                    <a:gd name="T20" fmla="*/ 174 w 486"/>
                    <a:gd name="T21" fmla="*/ 569 h 1183"/>
                    <a:gd name="T22" fmla="*/ 185 w 486"/>
                    <a:gd name="T23" fmla="*/ 596 h 1183"/>
                    <a:gd name="T24" fmla="*/ 203 w 486"/>
                    <a:gd name="T25" fmla="*/ 513 h 1183"/>
                    <a:gd name="T26" fmla="*/ 318 w 486"/>
                    <a:gd name="T27" fmla="*/ 550 h 1183"/>
                    <a:gd name="T28" fmla="*/ 329 w 486"/>
                    <a:gd name="T29" fmla="*/ 572 h 1183"/>
                    <a:gd name="T30" fmla="*/ 377 w 486"/>
                    <a:gd name="T31" fmla="*/ 692 h 1183"/>
                    <a:gd name="T32" fmla="*/ 415 w 486"/>
                    <a:gd name="T33" fmla="*/ 751 h 1183"/>
                    <a:gd name="T34" fmla="*/ 450 w 486"/>
                    <a:gd name="T35" fmla="*/ 807 h 1183"/>
                    <a:gd name="T36" fmla="*/ 476 w 486"/>
                    <a:gd name="T37" fmla="*/ 941 h 1183"/>
                    <a:gd name="T38" fmla="*/ 443 w 486"/>
                    <a:gd name="T39" fmla="*/ 960 h 1183"/>
                    <a:gd name="T40" fmla="*/ 397 w 486"/>
                    <a:gd name="T41" fmla="*/ 947 h 1183"/>
                    <a:gd name="T42" fmla="*/ 378 w 486"/>
                    <a:gd name="T43" fmla="*/ 1001 h 1183"/>
                    <a:gd name="T44" fmla="*/ 414 w 486"/>
                    <a:gd name="T45" fmla="*/ 1043 h 1183"/>
                    <a:gd name="T46" fmla="*/ 371 w 486"/>
                    <a:gd name="T47" fmla="*/ 1109 h 1183"/>
                    <a:gd name="T48" fmla="*/ 283 w 486"/>
                    <a:gd name="T49" fmla="*/ 1141 h 1183"/>
                    <a:gd name="T50" fmla="*/ 262 w 486"/>
                    <a:gd name="T51" fmla="*/ 1130 h 1183"/>
                    <a:gd name="T52" fmla="*/ 260 w 486"/>
                    <a:gd name="T53" fmla="*/ 1084 h 1183"/>
                    <a:gd name="T54" fmla="*/ 229 w 486"/>
                    <a:gd name="T55" fmla="*/ 1052 h 1183"/>
                    <a:gd name="T56" fmla="*/ 199 w 486"/>
                    <a:gd name="T57" fmla="*/ 1036 h 1183"/>
                    <a:gd name="T58" fmla="*/ 81 w 486"/>
                    <a:gd name="T59" fmla="*/ 1032 h 1183"/>
                    <a:gd name="T60" fmla="*/ 48 w 486"/>
                    <a:gd name="T61" fmla="*/ 1069 h 1183"/>
                    <a:gd name="T62" fmla="*/ 74 w 486"/>
                    <a:gd name="T63" fmla="*/ 1047 h 1183"/>
                    <a:gd name="T64" fmla="*/ 196 w 486"/>
                    <a:gd name="T65" fmla="*/ 1041 h 1183"/>
                    <a:gd name="T66" fmla="*/ 227 w 486"/>
                    <a:gd name="T67" fmla="*/ 1052 h 1183"/>
                    <a:gd name="T68" fmla="*/ 264 w 486"/>
                    <a:gd name="T69" fmla="*/ 1089 h 1183"/>
                    <a:gd name="T70" fmla="*/ 271 w 486"/>
                    <a:gd name="T71" fmla="*/ 1183 h 1183"/>
                    <a:gd name="T72" fmla="*/ 327 w 486"/>
                    <a:gd name="T73" fmla="*/ 1122 h 1183"/>
                    <a:gd name="T74" fmla="*/ 391 w 486"/>
                    <a:gd name="T75" fmla="*/ 1091 h 1183"/>
                    <a:gd name="T76" fmla="*/ 415 w 486"/>
                    <a:gd name="T77" fmla="*/ 1039 h 1183"/>
                    <a:gd name="T78" fmla="*/ 371 w 486"/>
                    <a:gd name="T79" fmla="*/ 991 h 1183"/>
                    <a:gd name="T80" fmla="*/ 391 w 486"/>
                    <a:gd name="T81" fmla="*/ 962 h 1183"/>
                    <a:gd name="T82" fmla="*/ 443 w 486"/>
                    <a:gd name="T83" fmla="*/ 962 h 1183"/>
                    <a:gd name="T84" fmla="*/ 480 w 486"/>
                    <a:gd name="T85" fmla="*/ 969 h 1183"/>
                    <a:gd name="T86" fmla="*/ 476 w 486"/>
                    <a:gd name="T87" fmla="*/ 855 h 1183"/>
                    <a:gd name="T88" fmla="*/ 430 w 486"/>
                    <a:gd name="T89" fmla="*/ 759 h 1183"/>
                    <a:gd name="T90" fmla="*/ 377 w 486"/>
                    <a:gd name="T91" fmla="*/ 691 h 1183"/>
                    <a:gd name="T92" fmla="*/ 332 w 486"/>
                    <a:gd name="T93" fmla="*/ 572 h 1183"/>
                    <a:gd name="T94" fmla="*/ 316 w 486"/>
                    <a:gd name="T95" fmla="*/ 543 h 1183"/>
                    <a:gd name="T96" fmla="*/ 212 w 486"/>
                    <a:gd name="T97" fmla="*/ 513 h 1183"/>
                    <a:gd name="T98" fmla="*/ 183 w 486"/>
                    <a:gd name="T99" fmla="*/ 585 h 1183"/>
                    <a:gd name="T100" fmla="*/ 170 w 486"/>
                    <a:gd name="T101" fmla="*/ 572 h 1183"/>
                    <a:gd name="T102" fmla="*/ 139 w 486"/>
                    <a:gd name="T103" fmla="*/ 622 h 1183"/>
                    <a:gd name="T104" fmla="*/ 116 w 486"/>
                    <a:gd name="T105" fmla="*/ 580 h 1183"/>
                    <a:gd name="T106" fmla="*/ 120 w 486"/>
                    <a:gd name="T107" fmla="*/ 600 h 1183"/>
                    <a:gd name="T108" fmla="*/ 67 w 486"/>
                    <a:gd name="T109" fmla="*/ 567 h 1183"/>
                    <a:gd name="T110" fmla="*/ 22 w 486"/>
                    <a:gd name="T111" fmla="*/ 547 h 1183"/>
                    <a:gd name="T112" fmla="*/ 44 w 486"/>
                    <a:gd name="T113" fmla="*/ 366 h 1183"/>
                    <a:gd name="T114" fmla="*/ 63 w 486"/>
                    <a:gd name="T115" fmla="*/ 178 h 1183"/>
                    <a:gd name="T116" fmla="*/ 126 w 486"/>
                    <a:gd name="T117" fmla="*/ 78 h 1183"/>
                    <a:gd name="T118" fmla="*/ 168 w 486"/>
                    <a:gd name="T119" fmla="*/ 28 h 1183"/>
                    <a:gd name="T120" fmla="*/ 192 w 486"/>
                    <a:gd name="T121" fmla="*/ 30 h 1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86" h="1183">
                      <a:moveTo>
                        <a:pt x="205" y="0"/>
                      </a:moveTo>
                      <a:lnTo>
                        <a:pt x="201" y="2"/>
                      </a:lnTo>
                      <a:lnTo>
                        <a:pt x="198" y="4"/>
                      </a:lnTo>
                      <a:lnTo>
                        <a:pt x="192" y="6"/>
                      </a:lnTo>
                      <a:lnTo>
                        <a:pt x="188" y="8"/>
                      </a:lnTo>
                      <a:lnTo>
                        <a:pt x="187" y="10"/>
                      </a:lnTo>
                      <a:lnTo>
                        <a:pt x="190" y="22"/>
                      </a:lnTo>
                      <a:lnTo>
                        <a:pt x="190" y="30"/>
                      </a:lnTo>
                      <a:lnTo>
                        <a:pt x="190" y="32"/>
                      </a:lnTo>
                      <a:lnTo>
                        <a:pt x="190" y="35"/>
                      </a:lnTo>
                      <a:lnTo>
                        <a:pt x="190" y="39"/>
                      </a:lnTo>
                      <a:lnTo>
                        <a:pt x="190" y="43"/>
                      </a:lnTo>
                      <a:lnTo>
                        <a:pt x="187" y="43"/>
                      </a:lnTo>
                      <a:lnTo>
                        <a:pt x="183" y="41"/>
                      </a:lnTo>
                      <a:lnTo>
                        <a:pt x="179" y="39"/>
                      </a:lnTo>
                      <a:lnTo>
                        <a:pt x="177" y="37"/>
                      </a:lnTo>
                      <a:lnTo>
                        <a:pt x="179" y="34"/>
                      </a:lnTo>
                      <a:lnTo>
                        <a:pt x="179" y="30"/>
                      </a:lnTo>
                      <a:lnTo>
                        <a:pt x="179" y="30"/>
                      </a:lnTo>
                      <a:lnTo>
                        <a:pt x="174" y="28"/>
                      </a:lnTo>
                      <a:lnTo>
                        <a:pt x="168" y="26"/>
                      </a:lnTo>
                      <a:lnTo>
                        <a:pt x="166" y="26"/>
                      </a:lnTo>
                      <a:lnTo>
                        <a:pt x="168" y="34"/>
                      </a:lnTo>
                      <a:lnTo>
                        <a:pt x="168" y="37"/>
                      </a:lnTo>
                      <a:lnTo>
                        <a:pt x="161" y="41"/>
                      </a:lnTo>
                      <a:lnTo>
                        <a:pt x="153" y="43"/>
                      </a:lnTo>
                      <a:lnTo>
                        <a:pt x="148" y="46"/>
                      </a:lnTo>
                      <a:lnTo>
                        <a:pt x="140" y="48"/>
                      </a:lnTo>
                      <a:lnTo>
                        <a:pt x="140" y="48"/>
                      </a:lnTo>
                      <a:lnTo>
                        <a:pt x="139" y="52"/>
                      </a:lnTo>
                      <a:lnTo>
                        <a:pt x="139" y="56"/>
                      </a:lnTo>
                      <a:lnTo>
                        <a:pt x="137" y="58"/>
                      </a:lnTo>
                      <a:lnTo>
                        <a:pt x="137" y="58"/>
                      </a:lnTo>
                      <a:lnTo>
                        <a:pt x="137" y="61"/>
                      </a:lnTo>
                      <a:lnTo>
                        <a:pt x="133" y="61"/>
                      </a:lnTo>
                      <a:lnTo>
                        <a:pt x="133" y="61"/>
                      </a:lnTo>
                      <a:lnTo>
                        <a:pt x="129" y="63"/>
                      </a:lnTo>
                      <a:lnTo>
                        <a:pt x="129" y="63"/>
                      </a:lnTo>
                      <a:lnTo>
                        <a:pt x="127" y="63"/>
                      </a:lnTo>
                      <a:lnTo>
                        <a:pt x="124" y="65"/>
                      </a:lnTo>
                      <a:lnTo>
                        <a:pt x="124" y="65"/>
                      </a:lnTo>
                      <a:lnTo>
                        <a:pt x="124" y="70"/>
                      </a:lnTo>
                      <a:lnTo>
                        <a:pt x="124" y="76"/>
                      </a:lnTo>
                      <a:lnTo>
                        <a:pt x="116" y="80"/>
                      </a:lnTo>
                      <a:lnTo>
                        <a:pt x="111" y="83"/>
                      </a:lnTo>
                      <a:lnTo>
                        <a:pt x="105" y="87"/>
                      </a:lnTo>
                      <a:lnTo>
                        <a:pt x="100" y="93"/>
                      </a:lnTo>
                      <a:lnTo>
                        <a:pt x="100" y="93"/>
                      </a:lnTo>
                      <a:lnTo>
                        <a:pt x="94" y="96"/>
                      </a:lnTo>
                      <a:lnTo>
                        <a:pt x="89" y="102"/>
                      </a:lnTo>
                      <a:lnTo>
                        <a:pt x="85" y="107"/>
                      </a:lnTo>
                      <a:lnTo>
                        <a:pt x="85" y="107"/>
                      </a:lnTo>
                      <a:lnTo>
                        <a:pt x="81" y="113"/>
                      </a:lnTo>
                      <a:lnTo>
                        <a:pt x="81" y="113"/>
                      </a:lnTo>
                      <a:lnTo>
                        <a:pt x="78" y="118"/>
                      </a:lnTo>
                      <a:lnTo>
                        <a:pt x="76" y="124"/>
                      </a:lnTo>
                      <a:lnTo>
                        <a:pt x="76" y="124"/>
                      </a:lnTo>
                      <a:lnTo>
                        <a:pt x="72" y="131"/>
                      </a:lnTo>
                      <a:lnTo>
                        <a:pt x="70" y="137"/>
                      </a:lnTo>
                      <a:lnTo>
                        <a:pt x="68" y="144"/>
                      </a:lnTo>
                      <a:lnTo>
                        <a:pt x="68" y="144"/>
                      </a:lnTo>
                      <a:lnTo>
                        <a:pt x="67" y="150"/>
                      </a:lnTo>
                      <a:lnTo>
                        <a:pt x="65" y="157"/>
                      </a:lnTo>
                      <a:lnTo>
                        <a:pt x="63" y="165"/>
                      </a:lnTo>
                      <a:lnTo>
                        <a:pt x="63" y="165"/>
                      </a:lnTo>
                      <a:lnTo>
                        <a:pt x="63" y="170"/>
                      </a:lnTo>
                      <a:lnTo>
                        <a:pt x="61" y="178"/>
                      </a:lnTo>
                      <a:lnTo>
                        <a:pt x="61" y="178"/>
                      </a:lnTo>
                      <a:lnTo>
                        <a:pt x="61" y="185"/>
                      </a:lnTo>
                      <a:lnTo>
                        <a:pt x="61" y="192"/>
                      </a:lnTo>
                      <a:lnTo>
                        <a:pt x="61" y="207"/>
                      </a:lnTo>
                      <a:lnTo>
                        <a:pt x="61" y="222"/>
                      </a:lnTo>
                      <a:lnTo>
                        <a:pt x="61" y="251"/>
                      </a:lnTo>
                      <a:lnTo>
                        <a:pt x="61" y="279"/>
                      </a:lnTo>
                      <a:lnTo>
                        <a:pt x="54" y="310"/>
                      </a:lnTo>
                      <a:lnTo>
                        <a:pt x="48" y="334"/>
                      </a:lnTo>
                      <a:lnTo>
                        <a:pt x="44" y="353"/>
                      </a:lnTo>
                      <a:lnTo>
                        <a:pt x="43" y="366"/>
                      </a:lnTo>
                      <a:lnTo>
                        <a:pt x="41" y="377"/>
                      </a:lnTo>
                      <a:lnTo>
                        <a:pt x="39" y="386"/>
                      </a:lnTo>
                      <a:lnTo>
                        <a:pt x="39" y="393"/>
                      </a:lnTo>
                      <a:lnTo>
                        <a:pt x="37" y="404"/>
                      </a:lnTo>
                      <a:lnTo>
                        <a:pt x="43" y="406"/>
                      </a:lnTo>
                      <a:lnTo>
                        <a:pt x="46" y="408"/>
                      </a:lnTo>
                      <a:lnTo>
                        <a:pt x="43" y="425"/>
                      </a:lnTo>
                      <a:lnTo>
                        <a:pt x="39" y="443"/>
                      </a:lnTo>
                      <a:lnTo>
                        <a:pt x="33" y="460"/>
                      </a:lnTo>
                      <a:lnTo>
                        <a:pt x="30" y="478"/>
                      </a:lnTo>
                      <a:lnTo>
                        <a:pt x="28" y="486"/>
                      </a:lnTo>
                      <a:lnTo>
                        <a:pt x="26" y="495"/>
                      </a:lnTo>
                      <a:lnTo>
                        <a:pt x="24" y="504"/>
                      </a:lnTo>
                      <a:lnTo>
                        <a:pt x="22" y="512"/>
                      </a:lnTo>
                      <a:lnTo>
                        <a:pt x="22" y="521"/>
                      </a:lnTo>
                      <a:lnTo>
                        <a:pt x="20" y="528"/>
                      </a:lnTo>
                      <a:lnTo>
                        <a:pt x="20" y="537"/>
                      </a:lnTo>
                      <a:lnTo>
                        <a:pt x="22" y="547"/>
                      </a:lnTo>
                      <a:lnTo>
                        <a:pt x="19" y="547"/>
                      </a:lnTo>
                      <a:lnTo>
                        <a:pt x="15" y="547"/>
                      </a:lnTo>
                      <a:lnTo>
                        <a:pt x="13" y="548"/>
                      </a:lnTo>
                      <a:lnTo>
                        <a:pt x="13" y="548"/>
                      </a:lnTo>
                      <a:lnTo>
                        <a:pt x="9" y="548"/>
                      </a:lnTo>
                      <a:lnTo>
                        <a:pt x="9" y="548"/>
                      </a:lnTo>
                      <a:lnTo>
                        <a:pt x="6" y="559"/>
                      </a:lnTo>
                      <a:lnTo>
                        <a:pt x="4" y="569"/>
                      </a:lnTo>
                      <a:lnTo>
                        <a:pt x="2" y="580"/>
                      </a:lnTo>
                      <a:lnTo>
                        <a:pt x="0" y="591"/>
                      </a:lnTo>
                      <a:lnTo>
                        <a:pt x="11" y="591"/>
                      </a:lnTo>
                      <a:lnTo>
                        <a:pt x="22" y="591"/>
                      </a:lnTo>
                      <a:lnTo>
                        <a:pt x="33" y="591"/>
                      </a:lnTo>
                      <a:lnTo>
                        <a:pt x="46" y="591"/>
                      </a:lnTo>
                      <a:lnTo>
                        <a:pt x="46" y="583"/>
                      </a:lnTo>
                      <a:lnTo>
                        <a:pt x="44" y="580"/>
                      </a:lnTo>
                      <a:lnTo>
                        <a:pt x="52" y="576"/>
                      </a:lnTo>
                      <a:lnTo>
                        <a:pt x="59" y="572"/>
                      </a:lnTo>
                      <a:lnTo>
                        <a:pt x="67" y="569"/>
                      </a:lnTo>
                      <a:lnTo>
                        <a:pt x="74" y="565"/>
                      </a:lnTo>
                      <a:lnTo>
                        <a:pt x="78" y="572"/>
                      </a:lnTo>
                      <a:lnTo>
                        <a:pt x="83" y="580"/>
                      </a:lnTo>
                      <a:lnTo>
                        <a:pt x="87" y="585"/>
                      </a:lnTo>
                      <a:lnTo>
                        <a:pt x="91" y="593"/>
                      </a:lnTo>
                      <a:lnTo>
                        <a:pt x="92" y="600"/>
                      </a:lnTo>
                      <a:lnTo>
                        <a:pt x="96" y="606"/>
                      </a:lnTo>
                      <a:lnTo>
                        <a:pt x="98" y="613"/>
                      </a:lnTo>
                      <a:lnTo>
                        <a:pt x="98" y="622"/>
                      </a:lnTo>
                      <a:lnTo>
                        <a:pt x="105" y="620"/>
                      </a:lnTo>
                      <a:lnTo>
                        <a:pt x="105" y="620"/>
                      </a:lnTo>
                      <a:lnTo>
                        <a:pt x="109" y="617"/>
                      </a:lnTo>
                      <a:lnTo>
                        <a:pt x="113" y="615"/>
                      </a:lnTo>
                      <a:lnTo>
                        <a:pt x="113" y="615"/>
                      </a:lnTo>
                      <a:lnTo>
                        <a:pt x="115" y="613"/>
                      </a:lnTo>
                      <a:lnTo>
                        <a:pt x="115" y="611"/>
                      </a:lnTo>
                      <a:lnTo>
                        <a:pt x="116" y="609"/>
                      </a:lnTo>
                      <a:lnTo>
                        <a:pt x="120" y="606"/>
                      </a:lnTo>
                      <a:lnTo>
                        <a:pt x="120" y="606"/>
                      </a:lnTo>
                      <a:lnTo>
                        <a:pt x="120" y="600"/>
                      </a:lnTo>
                      <a:lnTo>
                        <a:pt x="122" y="595"/>
                      </a:lnTo>
                      <a:lnTo>
                        <a:pt x="122" y="595"/>
                      </a:lnTo>
                      <a:lnTo>
                        <a:pt x="116" y="595"/>
                      </a:lnTo>
                      <a:lnTo>
                        <a:pt x="113" y="595"/>
                      </a:lnTo>
                      <a:lnTo>
                        <a:pt x="109" y="595"/>
                      </a:lnTo>
                      <a:lnTo>
                        <a:pt x="105" y="595"/>
                      </a:lnTo>
                      <a:lnTo>
                        <a:pt x="109" y="587"/>
                      </a:lnTo>
                      <a:lnTo>
                        <a:pt x="107" y="587"/>
                      </a:lnTo>
                      <a:lnTo>
                        <a:pt x="109" y="587"/>
                      </a:lnTo>
                      <a:lnTo>
                        <a:pt x="107" y="587"/>
                      </a:lnTo>
                      <a:lnTo>
                        <a:pt x="109" y="587"/>
                      </a:lnTo>
                      <a:lnTo>
                        <a:pt x="113" y="578"/>
                      </a:lnTo>
                      <a:lnTo>
                        <a:pt x="115" y="571"/>
                      </a:lnTo>
                      <a:lnTo>
                        <a:pt x="118" y="563"/>
                      </a:lnTo>
                      <a:lnTo>
                        <a:pt x="120" y="567"/>
                      </a:lnTo>
                      <a:lnTo>
                        <a:pt x="122" y="571"/>
                      </a:lnTo>
                      <a:lnTo>
                        <a:pt x="124" y="574"/>
                      </a:lnTo>
                      <a:lnTo>
                        <a:pt x="126" y="578"/>
                      </a:lnTo>
                      <a:lnTo>
                        <a:pt x="122" y="578"/>
                      </a:lnTo>
                      <a:lnTo>
                        <a:pt x="116" y="578"/>
                      </a:lnTo>
                      <a:lnTo>
                        <a:pt x="115" y="578"/>
                      </a:lnTo>
                      <a:lnTo>
                        <a:pt x="115" y="583"/>
                      </a:lnTo>
                      <a:lnTo>
                        <a:pt x="115" y="589"/>
                      </a:lnTo>
                      <a:lnTo>
                        <a:pt x="115" y="589"/>
                      </a:lnTo>
                      <a:lnTo>
                        <a:pt x="122" y="589"/>
                      </a:lnTo>
                      <a:lnTo>
                        <a:pt x="129" y="589"/>
                      </a:lnTo>
                      <a:lnTo>
                        <a:pt x="137" y="589"/>
                      </a:lnTo>
                      <a:lnTo>
                        <a:pt x="142" y="589"/>
                      </a:lnTo>
                      <a:lnTo>
                        <a:pt x="140" y="602"/>
                      </a:lnTo>
                      <a:lnTo>
                        <a:pt x="139" y="609"/>
                      </a:lnTo>
                      <a:lnTo>
                        <a:pt x="139" y="613"/>
                      </a:lnTo>
                      <a:lnTo>
                        <a:pt x="137" y="615"/>
                      </a:lnTo>
                      <a:lnTo>
                        <a:pt x="135" y="619"/>
                      </a:lnTo>
                      <a:lnTo>
                        <a:pt x="133" y="622"/>
                      </a:lnTo>
                      <a:lnTo>
                        <a:pt x="131" y="624"/>
                      </a:lnTo>
                      <a:lnTo>
                        <a:pt x="137" y="624"/>
                      </a:lnTo>
                      <a:lnTo>
                        <a:pt x="137" y="624"/>
                      </a:lnTo>
                      <a:lnTo>
                        <a:pt x="139" y="624"/>
                      </a:lnTo>
                      <a:lnTo>
                        <a:pt x="142" y="624"/>
                      </a:lnTo>
                      <a:lnTo>
                        <a:pt x="142" y="624"/>
                      </a:lnTo>
                      <a:lnTo>
                        <a:pt x="144" y="624"/>
                      </a:lnTo>
                      <a:lnTo>
                        <a:pt x="144" y="624"/>
                      </a:lnTo>
                      <a:lnTo>
                        <a:pt x="148" y="622"/>
                      </a:lnTo>
                      <a:lnTo>
                        <a:pt x="150" y="622"/>
                      </a:lnTo>
                      <a:lnTo>
                        <a:pt x="150" y="622"/>
                      </a:lnTo>
                      <a:lnTo>
                        <a:pt x="151" y="620"/>
                      </a:lnTo>
                      <a:lnTo>
                        <a:pt x="151" y="620"/>
                      </a:lnTo>
                      <a:lnTo>
                        <a:pt x="153" y="619"/>
                      </a:lnTo>
                      <a:lnTo>
                        <a:pt x="155" y="619"/>
                      </a:lnTo>
                      <a:lnTo>
                        <a:pt x="155" y="619"/>
                      </a:lnTo>
                      <a:lnTo>
                        <a:pt x="157" y="617"/>
                      </a:lnTo>
                      <a:lnTo>
                        <a:pt x="157" y="617"/>
                      </a:lnTo>
                      <a:lnTo>
                        <a:pt x="159" y="615"/>
                      </a:lnTo>
                      <a:lnTo>
                        <a:pt x="161" y="613"/>
                      </a:lnTo>
                      <a:lnTo>
                        <a:pt x="161" y="613"/>
                      </a:lnTo>
                      <a:lnTo>
                        <a:pt x="163" y="607"/>
                      </a:lnTo>
                      <a:lnTo>
                        <a:pt x="164" y="602"/>
                      </a:lnTo>
                      <a:lnTo>
                        <a:pt x="164" y="602"/>
                      </a:lnTo>
                      <a:lnTo>
                        <a:pt x="166" y="593"/>
                      </a:lnTo>
                      <a:lnTo>
                        <a:pt x="170" y="582"/>
                      </a:lnTo>
                      <a:lnTo>
                        <a:pt x="170" y="578"/>
                      </a:lnTo>
                      <a:lnTo>
                        <a:pt x="172" y="572"/>
                      </a:lnTo>
                      <a:lnTo>
                        <a:pt x="174" y="569"/>
                      </a:lnTo>
                      <a:lnTo>
                        <a:pt x="175" y="565"/>
                      </a:lnTo>
                      <a:lnTo>
                        <a:pt x="175" y="567"/>
                      </a:lnTo>
                      <a:lnTo>
                        <a:pt x="175" y="567"/>
                      </a:lnTo>
                      <a:lnTo>
                        <a:pt x="179" y="569"/>
                      </a:lnTo>
                      <a:lnTo>
                        <a:pt x="179" y="569"/>
                      </a:lnTo>
                      <a:lnTo>
                        <a:pt x="181" y="571"/>
                      </a:lnTo>
                      <a:lnTo>
                        <a:pt x="179" y="578"/>
                      </a:lnTo>
                      <a:lnTo>
                        <a:pt x="179" y="587"/>
                      </a:lnTo>
                      <a:lnTo>
                        <a:pt x="179" y="596"/>
                      </a:lnTo>
                      <a:lnTo>
                        <a:pt x="179" y="596"/>
                      </a:lnTo>
                      <a:lnTo>
                        <a:pt x="179" y="606"/>
                      </a:lnTo>
                      <a:lnTo>
                        <a:pt x="177" y="607"/>
                      </a:lnTo>
                      <a:lnTo>
                        <a:pt x="181" y="604"/>
                      </a:lnTo>
                      <a:lnTo>
                        <a:pt x="183" y="602"/>
                      </a:lnTo>
                      <a:lnTo>
                        <a:pt x="183" y="602"/>
                      </a:lnTo>
                      <a:lnTo>
                        <a:pt x="183" y="600"/>
                      </a:lnTo>
                      <a:lnTo>
                        <a:pt x="183" y="600"/>
                      </a:lnTo>
                      <a:lnTo>
                        <a:pt x="185" y="596"/>
                      </a:lnTo>
                      <a:lnTo>
                        <a:pt x="185" y="596"/>
                      </a:lnTo>
                      <a:lnTo>
                        <a:pt x="185" y="585"/>
                      </a:lnTo>
                      <a:lnTo>
                        <a:pt x="185" y="567"/>
                      </a:lnTo>
                      <a:lnTo>
                        <a:pt x="183" y="565"/>
                      </a:lnTo>
                      <a:lnTo>
                        <a:pt x="183" y="565"/>
                      </a:lnTo>
                      <a:lnTo>
                        <a:pt x="175" y="558"/>
                      </a:lnTo>
                      <a:lnTo>
                        <a:pt x="172" y="550"/>
                      </a:lnTo>
                      <a:lnTo>
                        <a:pt x="166" y="545"/>
                      </a:lnTo>
                      <a:lnTo>
                        <a:pt x="161" y="539"/>
                      </a:lnTo>
                      <a:lnTo>
                        <a:pt x="168" y="537"/>
                      </a:lnTo>
                      <a:lnTo>
                        <a:pt x="175" y="536"/>
                      </a:lnTo>
                      <a:lnTo>
                        <a:pt x="185" y="534"/>
                      </a:lnTo>
                      <a:lnTo>
                        <a:pt x="192" y="532"/>
                      </a:lnTo>
                      <a:lnTo>
                        <a:pt x="192" y="532"/>
                      </a:lnTo>
                      <a:lnTo>
                        <a:pt x="196" y="528"/>
                      </a:lnTo>
                      <a:lnTo>
                        <a:pt x="198" y="523"/>
                      </a:lnTo>
                      <a:lnTo>
                        <a:pt x="201" y="517"/>
                      </a:lnTo>
                      <a:lnTo>
                        <a:pt x="203" y="513"/>
                      </a:lnTo>
                      <a:lnTo>
                        <a:pt x="212" y="515"/>
                      </a:lnTo>
                      <a:lnTo>
                        <a:pt x="222" y="515"/>
                      </a:lnTo>
                      <a:lnTo>
                        <a:pt x="233" y="517"/>
                      </a:lnTo>
                      <a:lnTo>
                        <a:pt x="240" y="519"/>
                      </a:lnTo>
                      <a:lnTo>
                        <a:pt x="240" y="523"/>
                      </a:lnTo>
                      <a:lnTo>
                        <a:pt x="240" y="528"/>
                      </a:lnTo>
                      <a:lnTo>
                        <a:pt x="240" y="530"/>
                      </a:lnTo>
                      <a:lnTo>
                        <a:pt x="257" y="530"/>
                      </a:lnTo>
                      <a:lnTo>
                        <a:pt x="268" y="532"/>
                      </a:lnTo>
                      <a:lnTo>
                        <a:pt x="277" y="532"/>
                      </a:lnTo>
                      <a:lnTo>
                        <a:pt x="284" y="532"/>
                      </a:lnTo>
                      <a:lnTo>
                        <a:pt x="290" y="534"/>
                      </a:lnTo>
                      <a:lnTo>
                        <a:pt x="297" y="536"/>
                      </a:lnTo>
                      <a:lnTo>
                        <a:pt x="305" y="537"/>
                      </a:lnTo>
                      <a:lnTo>
                        <a:pt x="314" y="539"/>
                      </a:lnTo>
                      <a:lnTo>
                        <a:pt x="314" y="543"/>
                      </a:lnTo>
                      <a:lnTo>
                        <a:pt x="316" y="547"/>
                      </a:lnTo>
                      <a:lnTo>
                        <a:pt x="318" y="550"/>
                      </a:lnTo>
                      <a:lnTo>
                        <a:pt x="318" y="556"/>
                      </a:lnTo>
                      <a:lnTo>
                        <a:pt x="306" y="556"/>
                      </a:lnTo>
                      <a:lnTo>
                        <a:pt x="299" y="556"/>
                      </a:lnTo>
                      <a:lnTo>
                        <a:pt x="299" y="556"/>
                      </a:lnTo>
                      <a:lnTo>
                        <a:pt x="297" y="556"/>
                      </a:lnTo>
                      <a:lnTo>
                        <a:pt x="297" y="556"/>
                      </a:lnTo>
                      <a:lnTo>
                        <a:pt x="297" y="558"/>
                      </a:lnTo>
                      <a:lnTo>
                        <a:pt x="295" y="558"/>
                      </a:lnTo>
                      <a:lnTo>
                        <a:pt x="295" y="559"/>
                      </a:lnTo>
                      <a:lnTo>
                        <a:pt x="295" y="559"/>
                      </a:lnTo>
                      <a:lnTo>
                        <a:pt x="295" y="561"/>
                      </a:lnTo>
                      <a:lnTo>
                        <a:pt x="295" y="561"/>
                      </a:lnTo>
                      <a:lnTo>
                        <a:pt x="308" y="565"/>
                      </a:lnTo>
                      <a:lnTo>
                        <a:pt x="318" y="567"/>
                      </a:lnTo>
                      <a:lnTo>
                        <a:pt x="321" y="567"/>
                      </a:lnTo>
                      <a:lnTo>
                        <a:pt x="323" y="569"/>
                      </a:lnTo>
                      <a:lnTo>
                        <a:pt x="327" y="571"/>
                      </a:lnTo>
                      <a:lnTo>
                        <a:pt x="329" y="572"/>
                      </a:lnTo>
                      <a:lnTo>
                        <a:pt x="330" y="574"/>
                      </a:lnTo>
                      <a:lnTo>
                        <a:pt x="332" y="576"/>
                      </a:lnTo>
                      <a:lnTo>
                        <a:pt x="334" y="578"/>
                      </a:lnTo>
                      <a:lnTo>
                        <a:pt x="336" y="582"/>
                      </a:lnTo>
                      <a:lnTo>
                        <a:pt x="338" y="589"/>
                      </a:lnTo>
                      <a:lnTo>
                        <a:pt x="340" y="600"/>
                      </a:lnTo>
                      <a:lnTo>
                        <a:pt x="345" y="598"/>
                      </a:lnTo>
                      <a:lnTo>
                        <a:pt x="353" y="598"/>
                      </a:lnTo>
                      <a:lnTo>
                        <a:pt x="358" y="596"/>
                      </a:lnTo>
                      <a:lnTo>
                        <a:pt x="364" y="596"/>
                      </a:lnTo>
                      <a:lnTo>
                        <a:pt x="366" y="606"/>
                      </a:lnTo>
                      <a:lnTo>
                        <a:pt x="367" y="617"/>
                      </a:lnTo>
                      <a:lnTo>
                        <a:pt x="369" y="630"/>
                      </a:lnTo>
                      <a:lnTo>
                        <a:pt x="371" y="643"/>
                      </a:lnTo>
                      <a:lnTo>
                        <a:pt x="373" y="655"/>
                      </a:lnTo>
                      <a:lnTo>
                        <a:pt x="375" y="668"/>
                      </a:lnTo>
                      <a:lnTo>
                        <a:pt x="375" y="681"/>
                      </a:lnTo>
                      <a:lnTo>
                        <a:pt x="377" y="692"/>
                      </a:lnTo>
                      <a:lnTo>
                        <a:pt x="380" y="694"/>
                      </a:lnTo>
                      <a:lnTo>
                        <a:pt x="382" y="694"/>
                      </a:lnTo>
                      <a:lnTo>
                        <a:pt x="386" y="696"/>
                      </a:lnTo>
                      <a:lnTo>
                        <a:pt x="390" y="698"/>
                      </a:lnTo>
                      <a:lnTo>
                        <a:pt x="391" y="707"/>
                      </a:lnTo>
                      <a:lnTo>
                        <a:pt x="395" y="716"/>
                      </a:lnTo>
                      <a:lnTo>
                        <a:pt x="397" y="722"/>
                      </a:lnTo>
                      <a:lnTo>
                        <a:pt x="397" y="722"/>
                      </a:lnTo>
                      <a:lnTo>
                        <a:pt x="399" y="727"/>
                      </a:lnTo>
                      <a:lnTo>
                        <a:pt x="401" y="731"/>
                      </a:lnTo>
                      <a:lnTo>
                        <a:pt x="401" y="731"/>
                      </a:lnTo>
                      <a:lnTo>
                        <a:pt x="402" y="737"/>
                      </a:lnTo>
                      <a:lnTo>
                        <a:pt x="404" y="740"/>
                      </a:lnTo>
                      <a:lnTo>
                        <a:pt x="408" y="744"/>
                      </a:lnTo>
                      <a:lnTo>
                        <a:pt x="408" y="744"/>
                      </a:lnTo>
                      <a:lnTo>
                        <a:pt x="412" y="748"/>
                      </a:lnTo>
                      <a:lnTo>
                        <a:pt x="412" y="748"/>
                      </a:lnTo>
                      <a:lnTo>
                        <a:pt x="415" y="751"/>
                      </a:lnTo>
                      <a:lnTo>
                        <a:pt x="419" y="755"/>
                      </a:lnTo>
                      <a:lnTo>
                        <a:pt x="419" y="755"/>
                      </a:lnTo>
                      <a:lnTo>
                        <a:pt x="423" y="759"/>
                      </a:lnTo>
                      <a:lnTo>
                        <a:pt x="423" y="759"/>
                      </a:lnTo>
                      <a:lnTo>
                        <a:pt x="428" y="761"/>
                      </a:lnTo>
                      <a:lnTo>
                        <a:pt x="434" y="762"/>
                      </a:lnTo>
                      <a:lnTo>
                        <a:pt x="432" y="770"/>
                      </a:lnTo>
                      <a:lnTo>
                        <a:pt x="432" y="770"/>
                      </a:lnTo>
                      <a:lnTo>
                        <a:pt x="430" y="775"/>
                      </a:lnTo>
                      <a:lnTo>
                        <a:pt x="430" y="783"/>
                      </a:lnTo>
                      <a:lnTo>
                        <a:pt x="428" y="790"/>
                      </a:lnTo>
                      <a:lnTo>
                        <a:pt x="428" y="790"/>
                      </a:lnTo>
                      <a:lnTo>
                        <a:pt x="434" y="790"/>
                      </a:lnTo>
                      <a:lnTo>
                        <a:pt x="438" y="792"/>
                      </a:lnTo>
                      <a:lnTo>
                        <a:pt x="438" y="792"/>
                      </a:lnTo>
                      <a:lnTo>
                        <a:pt x="441" y="792"/>
                      </a:lnTo>
                      <a:lnTo>
                        <a:pt x="445" y="794"/>
                      </a:lnTo>
                      <a:lnTo>
                        <a:pt x="450" y="807"/>
                      </a:lnTo>
                      <a:lnTo>
                        <a:pt x="454" y="822"/>
                      </a:lnTo>
                      <a:lnTo>
                        <a:pt x="458" y="834"/>
                      </a:lnTo>
                      <a:lnTo>
                        <a:pt x="462" y="851"/>
                      </a:lnTo>
                      <a:lnTo>
                        <a:pt x="469" y="846"/>
                      </a:lnTo>
                      <a:lnTo>
                        <a:pt x="473" y="840"/>
                      </a:lnTo>
                      <a:lnTo>
                        <a:pt x="474" y="855"/>
                      </a:lnTo>
                      <a:lnTo>
                        <a:pt x="476" y="864"/>
                      </a:lnTo>
                      <a:lnTo>
                        <a:pt x="476" y="868"/>
                      </a:lnTo>
                      <a:lnTo>
                        <a:pt x="476" y="868"/>
                      </a:lnTo>
                      <a:lnTo>
                        <a:pt x="478" y="870"/>
                      </a:lnTo>
                      <a:lnTo>
                        <a:pt x="478" y="870"/>
                      </a:lnTo>
                      <a:lnTo>
                        <a:pt x="480" y="873"/>
                      </a:lnTo>
                      <a:lnTo>
                        <a:pt x="482" y="877"/>
                      </a:lnTo>
                      <a:lnTo>
                        <a:pt x="480" y="892"/>
                      </a:lnTo>
                      <a:lnTo>
                        <a:pt x="478" y="906"/>
                      </a:lnTo>
                      <a:lnTo>
                        <a:pt x="478" y="919"/>
                      </a:lnTo>
                      <a:lnTo>
                        <a:pt x="476" y="934"/>
                      </a:lnTo>
                      <a:lnTo>
                        <a:pt x="476" y="941"/>
                      </a:lnTo>
                      <a:lnTo>
                        <a:pt x="476" y="949"/>
                      </a:lnTo>
                      <a:lnTo>
                        <a:pt x="478" y="954"/>
                      </a:lnTo>
                      <a:lnTo>
                        <a:pt x="478" y="956"/>
                      </a:lnTo>
                      <a:lnTo>
                        <a:pt x="478" y="962"/>
                      </a:lnTo>
                      <a:lnTo>
                        <a:pt x="478" y="969"/>
                      </a:lnTo>
                      <a:lnTo>
                        <a:pt x="480" y="977"/>
                      </a:lnTo>
                      <a:lnTo>
                        <a:pt x="482" y="984"/>
                      </a:lnTo>
                      <a:lnTo>
                        <a:pt x="482" y="984"/>
                      </a:lnTo>
                      <a:lnTo>
                        <a:pt x="484" y="989"/>
                      </a:lnTo>
                      <a:lnTo>
                        <a:pt x="476" y="991"/>
                      </a:lnTo>
                      <a:lnTo>
                        <a:pt x="469" y="993"/>
                      </a:lnTo>
                      <a:lnTo>
                        <a:pt x="460" y="995"/>
                      </a:lnTo>
                      <a:lnTo>
                        <a:pt x="452" y="995"/>
                      </a:lnTo>
                      <a:lnTo>
                        <a:pt x="452" y="988"/>
                      </a:lnTo>
                      <a:lnTo>
                        <a:pt x="450" y="980"/>
                      </a:lnTo>
                      <a:lnTo>
                        <a:pt x="449" y="971"/>
                      </a:lnTo>
                      <a:lnTo>
                        <a:pt x="449" y="962"/>
                      </a:lnTo>
                      <a:lnTo>
                        <a:pt x="443" y="960"/>
                      </a:lnTo>
                      <a:lnTo>
                        <a:pt x="439" y="960"/>
                      </a:lnTo>
                      <a:lnTo>
                        <a:pt x="434" y="958"/>
                      </a:lnTo>
                      <a:lnTo>
                        <a:pt x="434" y="958"/>
                      </a:lnTo>
                      <a:lnTo>
                        <a:pt x="430" y="958"/>
                      </a:lnTo>
                      <a:lnTo>
                        <a:pt x="430" y="953"/>
                      </a:lnTo>
                      <a:lnTo>
                        <a:pt x="430" y="947"/>
                      </a:lnTo>
                      <a:lnTo>
                        <a:pt x="430" y="947"/>
                      </a:lnTo>
                      <a:lnTo>
                        <a:pt x="425" y="945"/>
                      </a:lnTo>
                      <a:lnTo>
                        <a:pt x="419" y="941"/>
                      </a:lnTo>
                      <a:lnTo>
                        <a:pt x="412" y="940"/>
                      </a:lnTo>
                      <a:lnTo>
                        <a:pt x="406" y="938"/>
                      </a:lnTo>
                      <a:lnTo>
                        <a:pt x="406" y="938"/>
                      </a:lnTo>
                      <a:lnTo>
                        <a:pt x="402" y="940"/>
                      </a:lnTo>
                      <a:lnTo>
                        <a:pt x="402" y="940"/>
                      </a:lnTo>
                      <a:lnTo>
                        <a:pt x="401" y="941"/>
                      </a:lnTo>
                      <a:lnTo>
                        <a:pt x="401" y="941"/>
                      </a:lnTo>
                      <a:lnTo>
                        <a:pt x="399" y="943"/>
                      </a:lnTo>
                      <a:lnTo>
                        <a:pt x="397" y="947"/>
                      </a:lnTo>
                      <a:lnTo>
                        <a:pt x="397" y="947"/>
                      </a:lnTo>
                      <a:lnTo>
                        <a:pt x="393" y="953"/>
                      </a:lnTo>
                      <a:lnTo>
                        <a:pt x="391" y="958"/>
                      </a:lnTo>
                      <a:lnTo>
                        <a:pt x="390" y="960"/>
                      </a:lnTo>
                      <a:lnTo>
                        <a:pt x="390" y="964"/>
                      </a:lnTo>
                      <a:lnTo>
                        <a:pt x="388" y="965"/>
                      </a:lnTo>
                      <a:lnTo>
                        <a:pt x="386" y="967"/>
                      </a:lnTo>
                      <a:lnTo>
                        <a:pt x="384" y="969"/>
                      </a:lnTo>
                      <a:lnTo>
                        <a:pt x="382" y="971"/>
                      </a:lnTo>
                      <a:lnTo>
                        <a:pt x="378" y="973"/>
                      </a:lnTo>
                      <a:lnTo>
                        <a:pt x="375" y="975"/>
                      </a:lnTo>
                      <a:lnTo>
                        <a:pt x="375" y="975"/>
                      </a:lnTo>
                      <a:lnTo>
                        <a:pt x="373" y="980"/>
                      </a:lnTo>
                      <a:lnTo>
                        <a:pt x="371" y="986"/>
                      </a:lnTo>
                      <a:lnTo>
                        <a:pt x="369" y="991"/>
                      </a:lnTo>
                      <a:lnTo>
                        <a:pt x="369" y="997"/>
                      </a:lnTo>
                      <a:lnTo>
                        <a:pt x="369" y="997"/>
                      </a:lnTo>
                      <a:lnTo>
                        <a:pt x="378" y="1001"/>
                      </a:lnTo>
                      <a:lnTo>
                        <a:pt x="384" y="1001"/>
                      </a:lnTo>
                      <a:lnTo>
                        <a:pt x="391" y="1002"/>
                      </a:lnTo>
                      <a:lnTo>
                        <a:pt x="391" y="1002"/>
                      </a:lnTo>
                      <a:lnTo>
                        <a:pt x="397" y="1002"/>
                      </a:lnTo>
                      <a:lnTo>
                        <a:pt x="397" y="1002"/>
                      </a:lnTo>
                      <a:lnTo>
                        <a:pt x="404" y="1002"/>
                      </a:lnTo>
                      <a:lnTo>
                        <a:pt x="410" y="1002"/>
                      </a:lnTo>
                      <a:lnTo>
                        <a:pt x="417" y="1002"/>
                      </a:lnTo>
                      <a:lnTo>
                        <a:pt x="425" y="1001"/>
                      </a:lnTo>
                      <a:lnTo>
                        <a:pt x="425" y="1010"/>
                      </a:lnTo>
                      <a:lnTo>
                        <a:pt x="425" y="1017"/>
                      </a:lnTo>
                      <a:lnTo>
                        <a:pt x="425" y="1026"/>
                      </a:lnTo>
                      <a:lnTo>
                        <a:pt x="425" y="1034"/>
                      </a:lnTo>
                      <a:lnTo>
                        <a:pt x="419" y="1034"/>
                      </a:lnTo>
                      <a:lnTo>
                        <a:pt x="414" y="1034"/>
                      </a:lnTo>
                      <a:lnTo>
                        <a:pt x="414" y="1034"/>
                      </a:lnTo>
                      <a:lnTo>
                        <a:pt x="414" y="1039"/>
                      </a:lnTo>
                      <a:lnTo>
                        <a:pt x="414" y="1043"/>
                      </a:lnTo>
                      <a:lnTo>
                        <a:pt x="414" y="1047"/>
                      </a:lnTo>
                      <a:lnTo>
                        <a:pt x="414" y="1050"/>
                      </a:lnTo>
                      <a:lnTo>
                        <a:pt x="408" y="1054"/>
                      </a:lnTo>
                      <a:lnTo>
                        <a:pt x="402" y="1056"/>
                      </a:lnTo>
                      <a:lnTo>
                        <a:pt x="399" y="1058"/>
                      </a:lnTo>
                      <a:lnTo>
                        <a:pt x="393" y="1060"/>
                      </a:lnTo>
                      <a:lnTo>
                        <a:pt x="391" y="1060"/>
                      </a:lnTo>
                      <a:lnTo>
                        <a:pt x="393" y="1069"/>
                      </a:lnTo>
                      <a:lnTo>
                        <a:pt x="393" y="1074"/>
                      </a:lnTo>
                      <a:lnTo>
                        <a:pt x="391" y="1080"/>
                      </a:lnTo>
                      <a:lnTo>
                        <a:pt x="391" y="1085"/>
                      </a:lnTo>
                      <a:lnTo>
                        <a:pt x="390" y="1091"/>
                      </a:lnTo>
                      <a:lnTo>
                        <a:pt x="388" y="1095"/>
                      </a:lnTo>
                      <a:lnTo>
                        <a:pt x="386" y="1098"/>
                      </a:lnTo>
                      <a:lnTo>
                        <a:pt x="382" y="1102"/>
                      </a:lnTo>
                      <a:lnTo>
                        <a:pt x="380" y="1104"/>
                      </a:lnTo>
                      <a:lnTo>
                        <a:pt x="377" y="1108"/>
                      </a:lnTo>
                      <a:lnTo>
                        <a:pt x="371" y="1109"/>
                      </a:lnTo>
                      <a:lnTo>
                        <a:pt x="367" y="1111"/>
                      </a:lnTo>
                      <a:lnTo>
                        <a:pt x="362" y="1111"/>
                      </a:lnTo>
                      <a:lnTo>
                        <a:pt x="356" y="1111"/>
                      </a:lnTo>
                      <a:lnTo>
                        <a:pt x="349" y="1111"/>
                      </a:lnTo>
                      <a:lnTo>
                        <a:pt x="342" y="1111"/>
                      </a:lnTo>
                      <a:lnTo>
                        <a:pt x="342" y="1111"/>
                      </a:lnTo>
                      <a:lnTo>
                        <a:pt x="336" y="1117"/>
                      </a:lnTo>
                      <a:lnTo>
                        <a:pt x="332" y="1122"/>
                      </a:lnTo>
                      <a:lnTo>
                        <a:pt x="329" y="1120"/>
                      </a:lnTo>
                      <a:lnTo>
                        <a:pt x="323" y="1119"/>
                      </a:lnTo>
                      <a:lnTo>
                        <a:pt x="318" y="1115"/>
                      </a:lnTo>
                      <a:lnTo>
                        <a:pt x="314" y="1113"/>
                      </a:lnTo>
                      <a:lnTo>
                        <a:pt x="312" y="1113"/>
                      </a:lnTo>
                      <a:lnTo>
                        <a:pt x="305" y="1117"/>
                      </a:lnTo>
                      <a:lnTo>
                        <a:pt x="297" y="1120"/>
                      </a:lnTo>
                      <a:lnTo>
                        <a:pt x="290" y="1124"/>
                      </a:lnTo>
                      <a:lnTo>
                        <a:pt x="283" y="1128"/>
                      </a:lnTo>
                      <a:lnTo>
                        <a:pt x="283" y="1141"/>
                      </a:lnTo>
                      <a:lnTo>
                        <a:pt x="284" y="1154"/>
                      </a:lnTo>
                      <a:lnTo>
                        <a:pt x="286" y="1165"/>
                      </a:lnTo>
                      <a:lnTo>
                        <a:pt x="288" y="1176"/>
                      </a:lnTo>
                      <a:lnTo>
                        <a:pt x="284" y="1178"/>
                      </a:lnTo>
                      <a:lnTo>
                        <a:pt x="284" y="1178"/>
                      </a:lnTo>
                      <a:lnTo>
                        <a:pt x="281" y="1180"/>
                      </a:lnTo>
                      <a:lnTo>
                        <a:pt x="275" y="1180"/>
                      </a:lnTo>
                      <a:lnTo>
                        <a:pt x="275" y="1180"/>
                      </a:lnTo>
                      <a:lnTo>
                        <a:pt x="273" y="1181"/>
                      </a:lnTo>
                      <a:lnTo>
                        <a:pt x="268" y="1161"/>
                      </a:lnTo>
                      <a:lnTo>
                        <a:pt x="264" y="1148"/>
                      </a:lnTo>
                      <a:lnTo>
                        <a:pt x="264" y="1144"/>
                      </a:lnTo>
                      <a:lnTo>
                        <a:pt x="264" y="1144"/>
                      </a:lnTo>
                      <a:lnTo>
                        <a:pt x="262" y="1143"/>
                      </a:lnTo>
                      <a:lnTo>
                        <a:pt x="262" y="1143"/>
                      </a:lnTo>
                      <a:lnTo>
                        <a:pt x="260" y="1141"/>
                      </a:lnTo>
                      <a:lnTo>
                        <a:pt x="259" y="1139"/>
                      </a:lnTo>
                      <a:lnTo>
                        <a:pt x="262" y="1130"/>
                      </a:lnTo>
                      <a:lnTo>
                        <a:pt x="266" y="1120"/>
                      </a:lnTo>
                      <a:lnTo>
                        <a:pt x="268" y="1117"/>
                      </a:lnTo>
                      <a:lnTo>
                        <a:pt x="268" y="1111"/>
                      </a:lnTo>
                      <a:lnTo>
                        <a:pt x="270" y="1108"/>
                      </a:lnTo>
                      <a:lnTo>
                        <a:pt x="270" y="1104"/>
                      </a:lnTo>
                      <a:lnTo>
                        <a:pt x="270" y="1104"/>
                      </a:lnTo>
                      <a:lnTo>
                        <a:pt x="270" y="1100"/>
                      </a:lnTo>
                      <a:lnTo>
                        <a:pt x="270" y="1100"/>
                      </a:lnTo>
                      <a:lnTo>
                        <a:pt x="270" y="1097"/>
                      </a:lnTo>
                      <a:lnTo>
                        <a:pt x="270" y="1097"/>
                      </a:lnTo>
                      <a:lnTo>
                        <a:pt x="268" y="1093"/>
                      </a:lnTo>
                      <a:lnTo>
                        <a:pt x="268" y="1093"/>
                      </a:lnTo>
                      <a:lnTo>
                        <a:pt x="266" y="1089"/>
                      </a:lnTo>
                      <a:lnTo>
                        <a:pt x="266" y="1089"/>
                      </a:lnTo>
                      <a:lnTo>
                        <a:pt x="264" y="1087"/>
                      </a:lnTo>
                      <a:lnTo>
                        <a:pt x="264" y="1085"/>
                      </a:lnTo>
                      <a:lnTo>
                        <a:pt x="264" y="1085"/>
                      </a:lnTo>
                      <a:lnTo>
                        <a:pt x="260" y="1084"/>
                      </a:lnTo>
                      <a:lnTo>
                        <a:pt x="260" y="1084"/>
                      </a:lnTo>
                      <a:lnTo>
                        <a:pt x="260" y="1084"/>
                      </a:lnTo>
                      <a:lnTo>
                        <a:pt x="255" y="1080"/>
                      </a:lnTo>
                      <a:lnTo>
                        <a:pt x="251" y="1078"/>
                      </a:lnTo>
                      <a:lnTo>
                        <a:pt x="249" y="1073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1"/>
                      </a:lnTo>
                      <a:lnTo>
                        <a:pt x="246" y="1056"/>
                      </a:lnTo>
                      <a:lnTo>
                        <a:pt x="246" y="1056"/>
                      </a:lnTo>
                      <a:lnTo>
                        <a:pt x="240" y="1054"/>
                      </a:lnTo>
                      <a:lnTo>
                        <a:pt x="240" y="1054"/>
                      </a:lnTo>
                      <a:lnTo>
                        <a:pt x="236" y="1054"/>
                      </a:lnTo>
                      <a:lnTo>
                        <a:pt x="231" y="1052"/>
                      </a:lnTo>
                      <a:lnTo>
                        <a:pt x="229" y="1052"/>
                      </a:lnTo>
                      <a:lnTo>
                        <a:pt x="235" y="1049"/>
                      </a:lnTo>
                      <a:lnTo>
                        <a:pt x="238" y="1043"/>
                      </a:lnTo>
                      <a:lnTo>
                        <a:pt x="242" y="1041"/>
                      </a:lnTo>
                      <a:lnTo>
                        <a:pt x="242" y="1041"/>
                      </a:lnTo>
                      <a:lnTo>
                        <a:pt x="244" y="1037"/>
                      </a:lnTo>
                      <a:lnTo>
                        <a:pt x="246" y="1036"/>
                      </a:lnTo>
                      <a:lnTo>
                        <a:pt x="246" y="1036"/>
                      </a:lnTo>
                      <a:lnTo>
                        <a:pt x="247" y="1032"/>
                      </a:lnTo>
                      <a:lnTo>
                        <a:pt x="249" y="1030"/>
                      </a:lnTo>
                      <a:lnTo>
                        <a:pt x="249" y="1025"/>
                      </a:lnTo>
                      <a:lnTo>
                        <a:pt x="251" y="1025"/>
                      </a:lnTo>
                      <a:lnTo>
                        <a:pt x="238" y="1025"/>
                      </a:lnTo>
                      <a:lnTo>
                        <a:pt x="227" y="1025"/>
                      </a:lnTo>
                      <a:lnTo>
                        <a:pt x="216" y="1025"/>
                      </a:lnTo>
                      <a:lnTo>
                        <a:pt x="205" y="1025"/>
                      </a:lnTo>
                      <a:lnTo>
                        <a:pt x="205" y="1030"/>
                      </a:lnTo>
                      <a:lnTo>
                        <a:pt x="205" y="1036"/>
                      </a:lnTo>
                      <a:lnTo>
                        <a:pt x="199" y="1036"/>
                      </a:lnTo>
                      <a:lnTo>
                        <a:pt x="194" y="1036"/>
                      </a:lnTo>
                      <a:lnTo>
                        <a:pt x="194" y="1036"/>
                      </a:lnTo>
                      <a:lnTo>
                        <a:pt x="194" y="1041"/>
                      </a:lnTo>
                      <a:lnTo>
                        <a:pt x="194" y="1045"/>
                      </a:lnTo>
                      <a:lnTo>
                        <a:pt x="183" y="1045"/>
                      </a:lnTo>
                      <a:lnTo>
                        <a:pt x="172" y="1043"/>
                      </a:lnTo>
                      <a:lnTo>
                        <a:pt x="161" y="1041"/>
                      </a:lnTo>
                      <a:lnTo>
                        <a:pt x="151" y="1039"/>
                      </a:lnTo>
                      <a:lnTo>
                        <a:pt x="142" y="1036"/>
                      </a:lnTo>
                      <a:lnTo>
                        <a:pt x="133" y="1032"/>
                      </a:lnTo>
                      <a:lnTo>
                        <a:pt x="122" y="1030"/>
                      </a:lnTo>
                      <a:lnTo>
                        <a:pt x="111" y="1026"/>
                      </a:lnTo>
                      <a:lnTo>
                        <a:pt x="107" y="1032"/>
                      </a:lnTo>
                      <a:lnTo>
                        <a:pt x="107" y="1032"/>
                      </a:lnTo>
                      <a:lnTo>
                        <a:pt x="105" y="1036"/>
                      </a:lnTo>
                      <a:lnTo>
                        <a:pt x="98" y="1034"/>
                      </a:lnTo>
                      <a:lnTo>
                        <a:pt x="91" y="1032"/>
                      </a:lnTo>
                      <a:lnTo>
                        <a:pt x="81" y="1032"/>
                      </a:lnTo>
                      <a:lnTo>
                        <a:pt x="74" y="1030"/>
                      </a:lnTo>
                      <a:lnTo>
                        <a:pt x="74" y="1030"/>
                      </a:lnTo>
                      <a:lnTo>
                        <a:pt x="74" y="1036"/>
                      </a:lnTo>
                      <a:lnTo>
                        <a:pt x="74" y="1041"/>
                      </a:lnTo>
                      <a:lnTo>
                        <a:pt x="74" y="1047"/>
                      </a:lnTo>
                      <a:lnTo>
                        <a:pt x="74" y="1052"/>
                      </a:lnTo>
                      <a:lnTo>
                        <a:pt x="68" y="1052"/>
                      </a:lnTo>
                      <a:lnTo>
                        <a:pt x="63" y="1052"/>
                      </a:lnTo>
                      <a:lnTo>
                        <a:pt x="63" y="1052"/>
                      </a:lnTo>
                      <a:lnTo>
                        <a:pt x="61" y="1056"/>
                      </a:lnTo>
                      <a:lnTo>
                        <a:pt x="59" y="1058"/>
                      </a:lnTo>
                      <a:lnTo>
                        <a:pt x="59" y="1060"/>
                      </a:lnTo>
                      <a:lnTo>
                        <a:pt x="59" y="1061"/>
                      </a:lnTo>
                      <a:lnTo>
                        <a:pt x="57" y="1065"/>
                      </a:lnTo>
                      <a:lnTo>
                        <a:pt x="56" y="1065"/>
                      </a:lnTo>
                      <a:lnTo>
                        <a:pt x="52" y="1067"/>
                      </a:lnTo>
                      <a:lnTo>
                        <a:pt x="50" y="1067"/>
                      </a:lnTo>
                      <a:lnTo>
                        <a:pt x="48" y="1069"/>
                      </a:lnTo>
                      <a:lnTo>
                        <a:pt x="48" y="1069"/>
                      </a:lnTo>
                      <a:lnTo>
                        <a:pt x="48" y="1060"/>
                      </a:lnTo>
                      <a:lnTo>
                        <a:pt x="48" y="1069"/>
                      </a:lnTo>
                      <a:lnTo>
                        <a:pt x="48" y="1071"/>
                      </a:lnTo>
                      <a:lnTo>
                        <a:pt x="50" y="1069"/>
                      </a:lnTo>
                      <a:lnTo>
                        <a:pt x="54" y="1067"/>
                      </a:lnTo>
                      <a:lnTo>
                        <a:pt x="56" y="1067"/>
                      </a:lnTo>
                      <a:lnTo>
                        <a:pt x="59" y="1065"/>
                      </a:lnTo>
                      <a:lnTo>
                        <a:pt x="59" y="1065"/>
                      </a:lnTo>
                      <a:lnTo>
                        <a:pt x="61" y="1061"/>
                      </a:lnTo>
                      <a:lnTo>
                        <a:pt x="61" y="1061"/>
                      </a:lnTo>
                      <a:lnTo>
                        <a:pt x="61" y="1060"/>
                      </a:lnTo>
                      <a:lnTo>
                        <a:pt x="63" y="1056"/>
                      </a:lnTo>
                      <a:lnTo>
                        <a:pt x="63" y="1054"/>
                      </a:lnTo>
                      <a:lnTo>
                        <a:pt x="68" y="1054"/>
                      </a:lnTo>
                      <a:lnTo>
                        <a:pt x="74" y="1054"/>
                      </a:lnTo>
                      <a:lnTo>
                        <a:pt x="74" y="1054"/>
                      </a:lnTo>
                      <a:lnTo>
                        <a:pt x="74" y="1047"/>
                      </a:lnTo>
                      <a:lnTo>
                        <a:pt x="74" y="1041"/>
                      </a:lnTo>
                      <a:lnTo>
                        <a:pt x="74" y="1036"/>
                      </a:lnTo>
                      <a:lnTo>
                        <a:pt x="74" y="1032"/>
                      </a:lnTo>
                      <a:lnTo>
                        <a:pt x="81" y="1032"/>
                      </a:lnTo>
                      <a:lnTo>
                        <a:pt x="91" y="1034"/>
                      </a:lnTo>
                      <a:lnTo>
                        <a:pt x="98" y="1036"/>
                      </a:lnTo>
                      <a:lnTo>
                        <a:pt x="107" y="1037"/>
                      </a:lnTo>
                      <a:lnTo>
                        <a:pt x="109" y="1032"/>
                      </a:lnTo>
                      <a:lnTo>
                        <a:pt x="111" y="1028"/>
                      </a:lnTo>
                      <a:lnTo>
                        <a:pt x="122" y="1030"/>
                      </a:lnTo>
                      <a:lnTo>
                        <a:pt x="133" y="1034"/>
                      </a:lnTo>
                      <a:lnTo>
                        <a:pt x="142" y="1037"/>
                      </a:lnTo>
                      <a:lnTo>
                        <a:pt x="151" y="1039"/>
                      </a:lnTo>
                      <a:lnTo>
                        <a:pt x="161" y="1043"/>
                      </a:lnTo>
                      <a:lnTo>
                        <a:pt x="172" y="1045"/>
                      </a:lnTo>
                      <a:lnTo>
                        <a:pt x="183" y="1047"/>
                      </a:lnTo>
                      <a:lnTo>
                        <a:pt x="196" y="1047"/>
                      </a:lnTo>
                      <a:lnTo>
                        <a:pt x="196" y="1041"/>
                      </a:lnTo>
                      <a:lnTo>
                        <a:pt x="196" y="1037"/>
                      </a:lnTo>
                      <a:lnTo>
                        <a:pt x="199" y="1037"/>
                      </a:lnTo>
                      <a:lnTo>
                        <a:pt x="205" y="1037"/>
                      </a:lnTo>
                      <a:lnTo>
                        <a:pt x="207" y="1037"/>
                      </a:lnTo>
                      <a:lnTo>
                        <a:pt x="207" y="1030"/>
                      </a:lnTo>
                      <a:lnTo>
                        <a:pt x="207" y="1026"/>
                      </a:lnTo>
                      <a:lnTo>
                        <a:pt x="216" y="1026"/>
                      </a:lnTo>
                      <a:lnTo>
                        <a:pt x="227" y="1026"/>
                      </a:lnTo>
                      <a:lnTo>
                        <a:pt x="238" y="1026"/>
                      </a:lnTo>
                      <a:lnTo>
                        <a:pt x="247" y="1026"/>
                      </a:lnTo>
                      <a:lnTo>
                        <a:pt x="247" y="1028"/>
                      </a:lnTo>
                      <a:lnTo>
                        <a:pt x="246" y="1032"/>
                      </a:lnTo>
                      <a:lnTo>
                        <a:pt x="244" y="1034"/>
                      </a:lnTo>
                      <a:lnTo>
                        <a:pt x="242" y="1037"/>
                      </a:lnTo>
                      <a:lnTo>
                        <a:pt x="240" y="1039"/>
                      </a:lnTo>
                      <a:lnTo>
                        <a:pt x="236" y="1043"/>
                      </a:lnTo>
                      <a:lnTo>
                        <a:pt x="233" y="1047"/>
                      </a:lnTo>
                      <a:lnTo>
                        <a:pt x="227" y="1052"/>
                      </a:lnTo>
                      <a:lnTo>
                        <a:pt x="225" y="1052"/>
                      </a:lnTo>
                      <a:lnTo>
                        <a:pt x="231" y="1054"/>
                      </a:lnTo>
                      <a:lnTo>
                        <a:pt x="231" y="1054"/>
                      </a:lnTo>
                      <a:lnTo>
                        <a:pt x="236" y="1054"/>
                      </a:lnTo>
                      <a:lnTo>
                        <a:pt x="240" y="1056"/>
                      </a:lnTo>
                      <a:lnTo>
                        <a:pt x="244" y="1056"/>
                      </a:lnTo>
                      <a:lnTo>
                        <a:pt x="246" y="1061"/>
                      </a:lnTo>
                      <a:lnTo>
                        <a:pt x="246" y="1067"/>
                      </a:lnTo>
                      <a:lnTo>
                        <a:pt x="247" y="1074"/>
                      </a:lnTo>
                      <a:lnTo>
                        <a:pt x="249" y="1080"/>
                      </a:lnTo>
                      <a:lnTo>
                        <a:pt x="249" y="1080"/>
                      </a:lnTo>
                      <a:lnTo>
                        <a:pt x="255" y="1082"/>
                      </a:lnTo>
                      <a:lnTo>
                        <a:pt x="259" y="1084"/>
                      </a:lnTo>
                      <a:lnTo>
                        <a:pt x="260" y="1085"/>
                      </a:lnTo>
                      <a:lnTo>
                        <a:pt x="260" y="1085"/>
                      </a:lnTo>
                      <a:lnTo>
                        <a:pt x="262" y="1087"/>
                      </a:lnTo>
                      <a:lnTo>
                        <a:pt x="264" y="1089"/>
                      </a:lnTo>
                      <a:lnTo>
                        <a:pt x="264" y="1089"/>
                      </a:lnTo>
                      <a:lnTo>
                        <a:pt x="266" y="1093"/>
                      </a:lnTo>
                      <a:lnTo>
                        <a:pt x="268" y="1097"/>
                      </a:lnTo>
                      <a:lnTo>
                        <a:pt x="268" y="1100"/>
                      </a:lnTo>
                      <a:lnTo>
                        <a:pt x="268" y="1104"/>
                      </a:lnTo>
                      <a:lnTo>
                        <a:pt x="268" y="1108"/>
                      </a:lnTo>
                      <a:lnTo>
                        <a:pt x="266" y="1111"/>
                      </a:lnTo>
                      <a:lnTo>
                        <a:pt x="266" y="1117"/>
                      </a:lnTo>
                      <a:lnTo>
                        <a:pt x="264" y="1120"/>
                      </a:lnTo>
                      <a:lnTo>
                        <a:pt x="260" y="1130"/>
                      </a:lnTo>
                      <a:lnTo>
                        <a:pt x="257" y="1139"/>
                      </a:lnTo>
                      <a:lnTo>
                        <a:pt x="259" y="1141"/>
                      </a:lnTo>
                      <a:lnTo>
                        <a:pt x="260" y="1143"/>
                      </a:lnTo>
                      <a:lnTo>
                        <a:pt x="262" y="1146"/>
                      </a:lnTo>
                      <a:lnTo>
                        <a:pt x="262" y="1148"/>
                      </a:lnTo>
                      <a:lnTo>
                        <a:pt x="266" y="1161"/>
                      </a:lnTo>
                      <a:lnTo>
                        <a:pt x="271" y="1183"/>
                      </a:lnTo>
                      <a:lnTo>
                        <a:pt x="271" y="1183"/>
                      </a:lnTo>
                      <a:lnTo>
                        <a:pt x="271" y="1183"/>
                      </a:lnTo>
                      <a:lnTo>
                        <a:pt x="277" y="1181"/>
                      </a:lnTo>
                      <a:lnTo>
                        <a:pt x="281" y="1181"/>
                      </a:lnTo>
                      <a:lnTo>
                        <a:pt x="281" y="1181"/>
                      </a:lnTo>
                      <a:lnTo>
                        <a:pt x="284" y="1180"/>
                      </a:lnTo>
                      <a:lnTo>
                        <a:pt x="288" y="1178"/>
                      </a:lnTo>
                      <a:lnTo>
                        <a:pt x="290" y="1178"/>
                      </a:lnTo>
                      <a:lnTo>
                        <a:pt x="288" y="1165"/>
                      </a:lnTo>
                      <a:lnTo>
                        <a:pt x="286" y="1152"/>
                      </a:lnTo>
                      <a:lnTo>
                        <a:pt x="284" y="1141"/>
                      </a:lnTo>
                      <a:lnTo>
                        <a:pt x="284" y="1128"/>
                      </a:lnTo>
                      <a:lnTo>
                        <a:pt x="290" y="1126"/>
                      </a:lnTo>
                      <a:lnTo>
                        <a:pt x="297" y="1122"/>
                      </a:lnTo>
                      <a:lnTo>
                        <a:pt x="305" y="1119"/>
                      </a:lnTo>
                      <a:lnTo>
                        <a:pt x="312" y="1115"/>
                      </a:lnTo>
                      <a:lnTo>
                        <a:pt x="318" y="1117"/>
                      </a:lnTo>
                      <a:lnTo>
                        <a:pt x="318" y="1117"/>
                      </a:lnTo>
                      <a:lnTo>
                        <a:pt x="321" y="1120"/>
                      </a:lnTo>
                      <a:lnTo>
                        <a:pt x="327" y="1122"/>
                      </a:lnTo>
                      <a:lnTo>
                        <a:pt x="332" y="1124"/>
                      </a:lnTo>
                      <a:lnTo>
                        <a:pt x="332" y="1124"/>
                      </a:lnTo>
                      <a:lnTo>
                        <a:pt x="338" y="1119"/>
                      </a:lnTo>
                      <a:lnTo>
                        <a:pt x="342" y="1113"/>
                      </a:lnTo>
                      <a:lnTo>
                        <a:pt x="349" y="1113"/>
                      </a:lnTo>
                      <a:lnTo>
                        <a:pt x="356" y="1113"/>
                      </a:lnTo>
                      <a:lnTo>
                        <a:pt x="362" y="1113"/>
                      </a:lnTo>
                      <a:lnTo>
                        <a:pt x="367" y="1111"/>
                      </a:lnTo>
                      <a:lnTo>
                        <a:pt x="367" y="1111"/>
                      </a:lnTo>
                      <a:lnTo>
                        <a:pt x="373" y="1109"/>
                      </a:lnTo>
                      <a:lnTo>
                        <a:pt x="377" y="1108"/>
                      </a:lnTo>
                      <a:lnTo>
                        <a:pt x="377" y="1108"/>
                      </a:lnTo>
                      <a:lnTo>
                        <a:pt x="380" y="1106"/>
                      </a:lnTo>
                      <a:lnTo>
                        <a:pt x="380" y="1106"/>
                      </a:lnTo>
                      <a:lnTo>
                        <a:pt x="384" y="1102"/>
                      </a:lnTo>
                      <a:lnTo>
                        <a:pt x="388" y="1098"/>
                      </a:lnTo>
                      <a:lnTo>
                        <a:pt x="390" y="1095"/>
                      </a:lnTo>
                      <a:lnTo>
                        <a:pt x="391" y="1091"/>
                      </a:lnTo>
                      <a:lnTo>
                        <a:pt x="391" y="1091"/>
                      </a:lnTo>
                      <a:lnTo>
                        <a:pt x="393" y="1085"/>
                      </a:lnTo>
                      <a:lnTo>
                        <a:pt x="393" y="1080"/>
                      </a:lnTo>
                      <a:lnTo>
                        <a:pt x="393" y="1080"/>
                      </a:lnTo>
                      <a:lnTo>
                        <a:pt x="393" y="1074"/>
                      </a:lnTo>
                      <a:lnTo>
                        <a:pt x="393" y="1074"/>
                      </a:lnTo>
                      <a:lnTo>
                        <a:pt x="395" y="1069"/>
                      </a:lnTo>
                      <a:lnTo>
                        <a:pt x="395" y="1069"/>
                      </a:lnTo>
                      <a:lnTo>
                        <a:pt x="393" y="1061"/>
                      </a:lnTo>
                      <a:lnTo>
                        <a:pt x="399" y="1060"/>
                      </a:lnTo>
                      <a:lnTo>
                        <a:pt x="404" y="1058"/>
                      </a:lnTo>
                      <a:lnTo>
                        <a:pt x="410" y="1054"/>
                      </a:lnTo>
                      <a:lnTo>
                        <a:pt x="410" y="1054"/>
                      </a:lnTo>
                      <a:lnTo>
                        <a:pt x="414" y="1052"/>
                      </a:lnTo>
                      <a:lnTo>
                        <a:pt x="415" y="1052"/>
                      </a:lnTo>
                      <a:lnTo>
                        <a:pt x="415" y="1047"/>
                      </a:lnTo>
                      <a:lnTo>
                        <a:pt x="415" y="1043"/>
                      </a:lnTo>
                      <a:lnTo>
                        <a:pt x="415" y="1039"/>
                      </a:lnTo>
                      <a:lnTo>
                        <a:pt x="415" y="1036"/>
                      </a:lnTo>
                      <a:lnTo>
                        <a:pt x="419" y="1036"/>
                      </a:lnTo>
                      <a:lnTo>
                        <a:pt x="425" y="1036"/>
                      </a:lnTo>
                      <a:lnTo>
                        <a:pt x="425" y="1036"/>
                      </a:lnTo>
                      <a:lnTo>
                        <a:pt x="426" y="1026"/>
                      </a:lnTo>
                      <a:lnTo>
                        <a:pt x="425" y="1017"/>
                      </a:lnTo>
                      <a:lnTo>
                        <a:pt x="426" y="1010"/>
                      </a:lnTo>
                      <a:lnTo>
                        <a:pt x="426" y="1001"/>
                      </a:lnTo>
                      <a:lnTo>
                        <a:pt x="426" y="1001"/>
                      </a:lnTo>
                      <a:lnTo>
                        <a:pt x="417" y="1001"/>
                      </a:lnTo>
                      <a:lnTo>
                        <a:pt x="410" y="1001"/>
                      </a:lnTo>
                      <a:lnTo>
                        <a:pt x="404" y="1001"/>
                      </a:lnTo>
                      <a:lnTo>
                        <a:pt x="397" y="1001"/>
                      </a:lnTo>
                      <a:lnTo>
                        <a:pt x="391" y="1001"/>
                      </a:lnTo>
                      <a:lnTo>
                        <a:pt x="384" y="1001"/>
                      </a:lnTo>
                      <a:lnTo>
                        <a:pt x="378" y="999"/>
                      </a:lnTo>
                      <a:lnTo>
                        <a:pt x="371" y="997"/>
                      </a:lnTo>
                      <a:lnTo>
                        <a:pt x="371" y="991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5" y="980"/>
                      </a:lnTo>
                      <a:lnTo>
                        <a:pt x="377" y="977"/>
                      </a:lnTo>
                      <a:lnTo>
                        <a:pt x="378" y="975"/>
                      </a:lnTo>
                      <a:lnTo>
                        <a:pt x="382" y="973"/>
                      </a:lnTo>
                      <a:lnTo>
                        <a:pt x="382" y="973"/>
                      </a:lnTo>
                      <a:lnTo>
                        <a:pt x="386" y="971"/>
                      </a:lnTo>
                      <a:lnTo>
                        <a:pt x="386" y="971"/>
                      </a:lnTo>
                      <a:lnTo>
                        <a:pt x="388" y="969"/>
                      </a:lnTo>
                      <a:lnTo>
                        <a:pt x="388" y="969"/>
                      </a:lnTo>
                      <a:lnTo>
                        <a:pt x="390" y="967"/>
                      </a:lnTo>
                      <a:lnTo>
                        <a:pt x="391" y="964"/>
                      </a:lnTo>
                      <a:lnTo>
                        <a:pt x="391" y="964"/>
                      </a:lnTo>
                      <a:lnTo>
                        <a:pt x="391" y="962"/>
                      </a:lnTo>
                      <a:lnTo>
                        <a:pt x="393" y="958"/>
                      </a:lnTo>
                      <a:lnTo>
                        <a:pt x="395" y="953"/>
                      </a:lnTo>
                      <a:lnTo>
                        <a:pt x="397" y="947"/>
                      </a:lnTo>
                      <a:lnTo>
                        <a:pt x="399" y="945"/>
                      </a:lnTo>
                      <a:lnTo>
                        <a:pt x="401" y="943"/>
                      </a:lnTo>
                      <a:lnTo>
                        <a:pt x="404" y="940"/>
                      </a:lnTo>
                      <a:lnTo>
                        <a:pt x="406" y="940"/>
                      </a:lnTo>
                      <a:lnTo>
                        <a:pt x="412" y="941"/>
                      </a:lnTo>
                      <a:lnTo>
                        <a:pt x="417" y="943"/>
                      </a:lnTo>
                      <a:lnTo>
                        <a:pt x="425" y="945"/>
                      </a:lnTo>
                      <a:lnTo>
                        <a:pt x="428" y="949"/>
                      </a:lnTo>
                      <a:lnTo>
                        <a:pt x="428" y="953"/>
                      </a:lnTo>
                      <a:lnTo>
                        <a:pt x="428" y="958"/>
                      </a:lnTo>
                      <a:lnTo>
                        <a:pt x="428" y="960"/>
                      </a:lnTo>
                      <a:lnTo>
                        <a:pt x="434" y="960"/>
                      </a:lnTo>
                      <a:lnTo>
                        <a:pt x="439" y="962"/>
                      </a:lnTo>
                      <a:lnTo>
                        <a:pt x="439" y="962"/>
                      </a:lnTo>
                      <a:lnTo>
                        <a:pt x="443" y="962"/>
                      </a:lnTo>
                      <a:lnTo>
                        <a:pt x="447" y="964"/>
                      </a:lnTo>
                      <a:lnTo>
                        <a:pt x="449" y="971"/>
                      </a:lnTo>
                      <a:lnTo>
                        <a:pt x="449" y="980"/>
                      </a:lnTo>
                      <a:lnTo>
                        <a:pt x="450" y="988"/>
                      </a:lnTo>
                      <a:lnTo>
                        <a:pt x="452" y="997"/>
                      </a:lnTo>
                      <a:lnTo>
                        <a:pt x="452" y="997"/>
                      </a:lnTo>
                      <a:lnTo>
                        <a:pt x="460" y="995"/>
                      </a:lnTo>
                      <a:lnTo>
                        <a:pt x="469" y="995"/>
                      </a:lnTo>
                      <a:lnTo>
                        <a:pt x="476" y="993"/>
                      </a:lnTo>
                      <a:lnTo>
                        <a:pt x="484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89"/>
                      </a:lnTo>
                      <a:lnTo>
                        <a:pt x="484" y="984"/>
                      </a:lnTo>
                      <a:lnTo>
                        <a:pt x="482" y="977"/>
                      </a:lnTo>
                      <a:lnTo>
                        <a:pt x="480" y="969"/>
                      </a:lnTo>
                      <a:lnTo>
                        <a:pt x="480" y="962"/>
                      </a:lnTo>
                      <a:lnTo>
                        <a:pt x="478" y="954"/>
                      </a:lnTo>
                      <a:lnTo>
                        <a:pt x="478" y="949"/>
                      </a:lnTo>
                      <a:lnTo>
                        <a:pt x="478" y="941"/>
                      </a:lnTo>
                      <a:lnTo>
                        <a:pt x="478" y="934"/>
                      </a:lnTo>
                      <a:lnTo>
                        <a:pt x="480" y="919"/>
                      </a:lnTo>
                      <a:lnTo>
                        <a:pt x="478" y="919"/>
                      </a:lnTo>
                      <a:lnTo>
                        <a:pt x="480" y="919"/>
                      </a:lnTo>
                      <a:lnTo>
                        <a:pt x="478" y="919"/>
                      </a:lnTo>
                      <a:lnTo>
                        <a:pt x="480" y="919"/>
                      </a:lnTo>
                      <a:lnTo>
                        <a:pt x="480" y="906"/>
                      </a:lnTo>
                      <a:lnTo>
                        <a:pt x="482" y="892"/>
                      </a:lnTo>
                      <a:lnTo>
                        <a:pt x="482" y="875"/>
                      </a:lnTo>
                      <a:lnTo>
                        <a:pt x="480" y="873"/>
                      </a:lnTo>
                      <a:lnTo>
                        <a:pt x="478" y="870"/>
                      </a:lnTo>
                      <a:lnTo>
                        <a:pt x="478" y="866"/>
                      </a:lnTo>
                      <a:lnTo>
                        <a:pt x="476" y="864"/>
                      </a:lnTo>
                      <a:lnTo>
                        <a:pt x="476" y="855"/>
                      </a:lnTo>
                      <a:lnTo>
                        <a:pt x="474" y="836"/>
                      </a:lnTo>
                      <a:lnTo>
                        <a:pt x="467" y="844"/>
                      </a:lnTo>
                      <a:lnTo>
                        <a:pt x="463" y="847"/>
                      </a:lnTo>
                      <a:lnTo>
                        <a:pt x="460" y="834"/>
                      </a:lnTo>
                      <a:lnTo>
                        <a:pt x="454" y="822"/>
                      </a:lnTo>
                      <a:lnTo>
                        <a:pt x="450" y="807"/>
                      </a:lnTo>
                      <a:lnTo>
                        <a:pt x="447" y="792"/>
                      </a:lnTo>
                      <a:lnTo>
                        <a:pt x="443" y="792"/>
                      </a:lnTo>
                      <a:lnTo>
                        <a:pt x="443" y="792"/>
                      </a:lnTo>
                      <a:lnTo>
                        <a:pt x="438" y="790"/>
                      </a:lnTo>
                      <a:lnTo>
                        <a:pt x="434" y="790"/>
                      </a:lnTo>
                      <a:lnTo>
                        <a:pt x="430" y="788"/>
                      </a:lnTo>
                      <a:lnTo>
                        <a:pt x="430" y="783"/>
                      </a:lnTo>
                      <a:lnTo>
                        <a:pt x="432" y="775"/>
                      </a:lnTo>
                      <a:lnTo>
                        <a:pt x="434" y="770"/>
                      </a:lnTo>
                      <a:lnTo>
                        <a:pt x="436" y="762"/>
                      </a:lnTo>
                      <a:lnTo>
                        <a:pt x="436" y="762"/>
                      </a:lnTo>
                      <a:lnTo>
                        <a:pt x="430" y="759"/>
                      </a:lnTo>
                      <a:lnTo>
                        <a:pt x="425" y="757"/>
                      </a:lnTo>
                      <a:lnTo>
                        <a:pt x="419" y="755"/>
                      </a:lnTo>
                      <a:lnTo>
                        <a:pt x="415" y="751"/>
                      </a:lnTo>
                      <a:lnTo>
                        <a:pt x="412" y="748"/>
                      </a:lnTo>
                      <a:lnTo>
                        <a:pt x="410" y="744"/>
                      </a:lnTo>
                      <a:lnTo>
                        <a:pt x="406" y="740"/>
                      </a:lnTo>
                      <a:lnTo>
                        <a:pt x="404" y="735"/>
                      </a:lnTo>
                      <a:lnTo>
                        <a:pt x="402" y="731"/>
                      </a:lnTo>
                      <a:lnTo>
                        <a:pt x="401" y="726"/>
                      </a:lnTo>
                      <a:lnTo>
                        <a:pt x="399" y="722"/>
                      </a:lnTo>
                      <a:lnTo>
                        <a:pt x="397" y="716"/>
                      </a:lnTo>
                      <a:lnTo>
                        <a:pt x="397" y="716"/>
                      </a:lnTo>
                      <a:lnTo>
                        <a:pt x="393" y="707"/>
                      </a:lnTo>
                      <a:lnTo>
                        <a:pt x="391" y="696"/>
                      </a:lnTo>
                      <a:lnTo>
                        <a:pt x="388" y="694"/>
                      </a:lnTo>
                      <a:lnTo>
                        <a:pt x="384" y="694"/>
                      </a:lnTo>
                      <a:lnTo>
                        <a:pt x="380" y="692"/>
                      </a:lnTo>
                      <a:lnTo>
                        <a:pt x="377" y="691"/>
                      </a:lnTo>
                      <a:lnTo>
                        <a:pt x="377" y="681"/>
                      </a:lnTo>
                      <a:lnTo>
                        <a:pt x="377" y="668"/>
                      </a:lnTo>
                      <a:lnTo>
                        <a:pt x="375" y="655"/>
                      </a:lnTo>
                      <a:lnTo>
                        <a:pt x="373" y="643"/>
                      </a:lnTo>
                      <a:lnTo>
                        <a:pt x="371" y="630"/>
                      </a:lnTo>
                      <a:lnTo>
                        <a:pt x="369" y="617"/>
                      </a:lnTo>
                      <a:lnTo>
                        <a:pt x="367" y="606"/>
                      </a:lnTo>
                      <a:lnTo>
                        <a:pt x="364" y="595"/>
                      </a:lnTo>
                      <a:lnTo>
                        <a:pt x="358" y="595"/>
                      </a:lnTo>
                      <a:lnTo>
                        <a:pt x="351" y="596"/>
                      </a:lnTo>
                      <a:lnTo>
                        <a:pt x="345" y="596"/>
                      </a:lnTo>
                      <a:lnTo>
                        <a:pt x="342" y="598"/>
                      </a:lnTo>
                      <a:lnTo>
                        <a:pt x="340" y="589"/>
                      </a:lnTo>
                      <a:lnTo>
                        <a:pt x="336" y="582"/>
                      </a:lnTo>
                      <a:lnTo>
                        <a:pt x="334" y="578"/>
                      </a:lnTo>
                      <a:lnTo>
                        <a:pt x="334" y="574"/>
                      </a:lnTo>
                      <a:lnTo>
                        <a:pt x="332" y="572"/>
                      </a:lnTo>
                      <a:lnTo>
                        <a:pt x="332" y="572"/>
                      </a:lnTo>
                      <a:lnTo>
                        <a:pt x="329" y="571"/>
                      </a:lnTo>
                      <a:lnTo>
                        <a:pt x="327" y="569"/>
                      </a:lnTo>
                      <a:lnTo>
                        <a:pt x="327" y="569"/>
                      </a:lnTo>
                      <a:lnTo>
                        <a:pt x="325" y="569"/>
                      </a:lnTo>
                      <a:lnTo>
                        <a:pt x="321" y="567"/>
                      </a:lnTo>
                      <a:lnTo>
                        <a:pt x="321" y="567"/>
                      </a:lnTo>
                      <a:lnTo>
                        <a:pt x="318" y="565"/>
                      </a:lnTo>
                      <a:lnTo>
                        <a:pt x="308" y="563"/>
                      </a:lnTo>
                      <a:lnTo>
                        <a:pt x="297" y="561"/>
                      </a:lnTo>
                      <a:lnTo>
                        <a:pt x="297" y="559"/>
                      </a:lnTo>
                      <a:lnTo>
                        <a:pt x="297" y="558"/>
                      </a:lnTo>
                      <a:lnTo>
                        <a:pt x="297" y="558"/>
                      </a:lnTo>
                      <a:lnTo>
                        <a:pt x="299" y="558"/>
                      </a:lnTo>
                      <a:lnTo>
                        <a:pt x="306" y="558"/>
                      </a:lnTo>
                      <a:lnTo>
                        <a:pt x="319" y="556"/>
                      </a:lnTo>
                      <a:lnTo>
                        <a:pt x="318" y="550"/>
                      </a:lnTo>
                      <a:lnTo>
                        <a:pt x="318" y="547"/>
                      </a:lnTo>
                      <a:lnTo>
                        <a:pt x="316" y="543"/>
                      </a:lnTo>
                      <a:lnTo>
                        <a:pt x="314" y="537"/>
                      </a:lnTo>
                      <a:lnTo>
                        <a:pt x="314" y="537"/>
                      </a:lnTo>
                      <a:lnTo>
                        <a:pt x="305" y="536"/>
                      </a:lnTo>
                      <a:lnTo>
                        <a:pt x="297" y="534"/>
                      </a:lnTo>
                      <a:lnTo>
                        <a:pt x="297" y="534"/>
                      </a:lnTo>
                      <a:lnTo>
                        <a:pt x="290" y="532"/>
                      </a:lnTo>
                      <a:lnTo>
                        <a:pt x="284" y="532"/>
                      </a:lnTo>
                      <a:lnTo>
                        <a:pt x="284" y="532"/>
                      </a:lnTo>
                      <a:lnTo>
                        <a:pt x="277" y="530"/>
                      </a:lnTo>
                      <a:lnTo>
                        <a:pt x="268" y="530"/>
                      </a:lnTo>
                      <a:lnTo>
                        <a:pt x="257" y="528"/>
                      </a:lnTo>
                      <a:lnTo>
                        <a:pt x="242" y="528"/>
                      </a:lnTo>
                      <a:lnTo>
                        <a:pt x="242" y="523"/>
                      </a:lnTo>
                      <a:lnTo>
                        <a:pt x="242" y="517"/>
                      </a:lnTo>
                      <a:lnTo>
                        <a:pt x="242" y="517"/>
                      </a:lnTo>
                      <a:lnTo>
                        <a:pt x="233" y="515"/>
                      </a:lnTo>
                      <a:lnTo>
                        <a:pt x="222" y="515"/>
                      </a:lnTo>
                      <a:lnTo>
                        <a:pt x="212" y="513"/>
                      </a:lnTo>
                      <a:lnTo>
                        <a:pt x="203" y="512"/>
                      </a:lnTo>
                      <a:lnTo>
                        <a:pt x="199" y="517"/>
                      </a:lnTo>
                      <a:lnTo>
                        <a:pt x="198" y="523"/>
                      </a:lnTo>
                      <a:lnTo>
                        <a:pt x="194" y="526"/>
                      </a:lnTo>
                      <a:lnTo>
                        <a:pt x="192" y="532"/>
                      </a:lnTo>
                      <a:lnTo>
                        <a:pt x="185" y="532"/>
                      </a:lnTo>
                      <a:lnTo>
                        <a:pt x="175" y="534"/>
                      </a:lnTo>
                      <a:lnTo>
                        <a:pt x="168" y="536"/>
                      </a:lnTo>
                      <a:lnTo>
                        <a:pt x="161" y="537"/>
                      </a:lnTo>
                      <a:lnTo>
                        <a:pt x="159" y="539"/>
                      </a:lnTo>
                      <a:lnTo>
                        <a:pt x="164" y="545"/>
                      </a:lnTo>
                      <a:lnTo>
                        <a:pt x="170" y="552"/>
                      </a:lnTo>
                      <a:lnTo>
                        <a:pt x="175" y="559"/>
                      </a:lnTo>
                      <a:lnTo>
                        <a:pt x="181" y="565"/>
                      </a:lnTo>
                      <a:lnTo>
                        <a:pt x="181" y="567"/>
                      </a:lnTo>
                      <a:lnTo>
                        <a:pt x="181" y="567"/>
                      </a:lnTo>
                      <a:lnTo>
                        <a:pt x="183" y="567"/>
                      </a:lnTo>
                      <a:lnTo>
                        <a:pt x="183" y="585"/>
                      </a:lnTo>
                      <a:lnTo>
                        <a:pt x="183" y="596"/>
                      </a:lnTo>
                      <a:lnTo>
                        <a:pt x="183" y="600"/>
                      </a:lnTo>
                      <a:lnTo>
                        <a:pt x="181" y="602"/>
                      </a:lnTo>
                      <a:lnTo>
                        <a:pt x="179" y="604"/>
                      </a:lnTo>
                      <a:lnTo>
                        <a:pt x="179" y="604"/>
                      </a:lnTo>
                      <a:lnTo>
                        <a:pt x="179" y="596"/>
                      </a:lnTo>
                      <a:lnTo>
                        <a:pt x="181" y="587"/>
                      </a:lnTo>
                      <a:lnTo>
                        <a:pt x="181" y="578"/>
                      </a:lnTo>
                      <a:lnTo>
                        <a:pt x="183" y="571"/>
                      </a:lnTo>
                      <a:lnTo>
                        <a:pt x="183" y="571"/>
                      </a:lnTo>
                      <a:lnTo>
                        <a:pt x="181" y="569"/>
                      </a:lnTo>
                      <a:lnTo>
                        <a:pt x="179" y="567"/>
                      </a:lnTo>
                      <a:lnTo>
                        <a:pt x="179" y="567"/>
                      </a:lnTo>
                      <a:lnTo>
                        <a:pt x="177" y="565"/>
                      </a:lnTo>
                      <a:lnTo>
                        <a:pt x="175" y="563"/>
                      </a:lnTo>
                      <a:lnTo>
                        <a:pt x="175" y="563"/>
                      </a:lnTo>
                      <a:lnTo>
                        <a:pt x="172" y="567"/>
                      </a:lnTo>
                      <a:lnTo>
                        <a:pt x="170" y="572"/>
                      </a:lnTo>
                      <a:lnTo>
                        <a:pt x="168" y="576"/>
                      </a:lnTo>
                      <a:lnTo>
                        <a:pt x="168" y="576"/>
                      </a:lnTo>
                      <a:lnTo>
                        <a:pt x="168" y="582"/>
                      </a:lnTo>
                      <a:lnTo>
                        <a:pt x="166" y="593"/>
                      </a:lnTo>
                      <a:lnTo>
                        <a:pt x="163" y="602"/>
                      </a:lnTo>
                      <a:lnTo>
                        <a:pt x="161" y="607"/>
                      </a:lnTo>
                      <a:lnTo>
                        <a:pt x="159" y="611"/>
                      </a:lnTo>
                      <a:lnTo>
                        <a:pt x="157" y="613"/>
                      </a:lnTo>
                      <a:lnTo>
                        <a:pt x="157" y="613"/>
                      </a:lnTo>
                      <a:lnTo>
                        <a:pt x="157" y="615"/>
                      </a:lnTo>
                      <a:lnTo>
                        <a:pt x="155" y="617"/>
                      </a:lnTo>
                      <a:lnTo>
                        <a:pt x="153" y="619"/>
                      </a:lnTo>
                      <a:lnTo>
                        <a:pt x="151" y="620"/>
                      </a:lnTo>
                      <a:lnTo>
                        <a:pt x="150" y="620"/>
                      </a:lnTo>
                      <a:lnTo>
                        <a:pt x="148" y="622"/>
                      </a:lnTo>
                      <a:lnTo>
                        <a:pt x="144" y="622"/>
                      </a:lnTo>
                      <a:lnTo>
                        <a:pt x="142" y="622"/>
                      </a:lnTo>
                      <a:lnTo>
                        <a:pt x="139" y="622"/>
                      </a:lnTo>
                      <a:lnTo>
                        <a:pt x="137" y="622"/>
                      </a:lnTo>
                      <a:lnTo>
                        <a:pt x="135" y="622"/>
                      </a:lnTo>
                      <a:lnTo>
                        <a:pt x="137" y="620"/>
                      </a:lnTo>
                      <a:lnTo>
                        <a:pt x="139" y="617"/>
                      </a:lnTo>
                      <a:lnTo>
                        <a:pt x="139" y="617"/>
                      </a:lnTo>
                      <a:lnTo>
                        <a:pt x="140" y="613"/>
                      </a:lnTo>
                      <a:lnTo>
                        <a:pt x="140" y="613"/>
                      </a:lnTo>
                      <a:lnTo>
                        <a:pt x="140" y="609"/>
                      </a:lnTo>
                      <a:lnTo>
                        <a:pt x="140" y="609"/>
                      </a:lnTo>
                      <a:lnTo>
                        <a:pt x="142" y="602"/>
                      </a:lnTo>
                      <a:lnTo>
                        <a:pt x="142" y="602"/>
                      </a:lnTo>
                      <a:lnTo>
                        <a:pt x="144" y="589"/>
                      </a:lnTo>
                      <a:lnTo>
                        <a:pt x="137" y="589"/>
                      </a:lnTo>
                      <a:lnTo>
                        <a:pt x="129" y="589"/>
                      </a:lnTo>
                      <a:lnTo>
                        <a:pt x="122" y="589"/>
                      </a:lnTo>
                      <a:lnTo>
                        <a:pt x="116" y="589"/>
                      </a:lnTo>
                      <a:lnTo>
                        <a:pt x="116" y="583"/>
                      </a:lnTo>
                      <a:lnTo>
                        <a:pt x="116" y="580"/>
                      </a:lnTo>
                      <a:lnTo>
                        <a:pt x="122" y="580"/>
                      </a:lnTo>
                      <a:lnTo>
                        <a:pt x="127" y="580"/>
                      </a:lnTo>
                      <a:lnTo>
                        <a:pt x="127" y="580"/>
                      </a:lnTo>
                      <a:lnTo>
                        <a:pt x="126" y="574"/>
                      </a:lnTo>
                      <a:lnTo>
                        <a:pt x="124" y="569"/>
                      </a:lnTo>
                      <a:lnTo>
                        <a:pt x="120" y="565"/>
                      </a:lnTo>
                      <a:lnTo>
                        <a:pt x="120" y="565"/>
                      </a:lnTo>
                      <a:lnTo>
                        <a:pt x="118" y="561"/>
                      </a:lnTo>
                      <a:lnTo>
                        <a:pt x="118" y="559"/>
                      </a:lnTo>
                      <a:lnTo>
                        <a:pt x="115" y="571"/>
                      </a:lnTo>
                      <a:lnTo>
                        <a:pt x="111" y="578"/>
                      </a:lnTo>
                      <a:lnTo>
                        <a:pt x="107" y="587"/>
                      </a:lnTo>
                      <a:lnTo>
                        <a:pt x="103" y="596"/>
                      </a:lnTo>
                      <a:lnTo>
                        <a:pt x="109" y="596"/>
                      </a:lnTo>
                      <a:lnTo>
                        <a:pt x="113" y="596"/>
                      </a:lnTo>
                      <a:lnTo>
                        <a:pt x="116" y="596"/>
                      </a:lnTo>
                      <a:lnTo>
                        <a:pt x="120" y="596"/>
                      </a:lnTo>
                      <a:lnTo>
                        <a:pt x="120" y="600"/>
                      </a:lnTo>
                      <a:lnTo>
                        <a:pt x="118" y="606"/>
                      </a:lnTo>
                      <a:lnTo>
                        <a:pt x="116" y="607"/>
                      </a:lnTo>
                      <a:lnTo>
                        <a:pt x="115" y="611"/>
                      </a:lnTo>
                      <a:lnTo>
                        <a:pt x="111" y="613"/>
                      </a:lnTo>
                      <a:lnTo>
                        <a:pt x="109" y="617"/>
                      </a:lnTo>
                      <a:lnTo>
                        <a:pt x="105" y="619"/>
                      </a:lnTo>
                      <a:lnTo>
                        <a:pt x="100" y="620"/>
                      </a:lnTo>
                      <a:lnTo>
                        <a:pt x="98" y="613"/>
                      </a:lnTo>
                      <a:lnTo>
                        <a:pt x="98" y="613"/>
                      </a:lnTo>
                      <a:lnTo>
                        <a:pt x="96" y="606"/>
                      </a:lnTo>
                      <a:lnTo>
                        <a:pt x="94" y="598"/>
                      </a:lnTo>
                      <a:lnTo>
                        <a:pt x="91" y="593"/>
                      </a:lnTo>
                      <a:lnTo>
                        <a:pt x="91" y="593"/>
                      </a:lnTo>
                      <a:lnTo>
                        <a:pt x="87" y="585"/>
                      </a:lnTo>
                      <a:lnTo>
                        <a:pt x="83" y="578"/>
                      </a:lnTo>
                      <a:lnTo>
                        <a:pt x="79" y="572"/>
                      </a:lnTo>
                      <a:lnTo>
                        <a:pt x="74" y="563"/>
                      </a:lnTo>
                      <a:lnTo>
                        <a:pt x="67" y="567"/>
                      </a:lnTo>
                      <a:lnTo>
                        <a:pt x="59" y="571"/>
                      </a:lnTo>
                      <a:lnTo>
                        <a:pt x="52" y="574"/>
                      </a:lnTo>
                      <a:lnTo>
                        <a:pt x="44" y="578"/>
                      </a:lnTo>
                      <a:lnTo>
                        <a:pt x="44" y="583"/>
                      </a:lnTo>
                      <a:lnTo>
                        <a:pt x="44" y="589"/>
                      </a:lnTo>
                      <a:lnTo>
                        <a:pt x="33" y="589"/>
                      </a:lnTo>
                      <a:lnTo>
                        <a:pt x="22" y="589"/>
                      </a:lnTo>
                      <a:lnTo>
                        <a:pt x="11" y="589"/>
                      </a:lnTo>
                      <a:lnTo>
                        <a:pt x="2" y="589"/>
                      </a:lnTo>
                      <a:lnTo>
                        <a:pt x="4" y="580"/>
                      </a:lnTo>
                      <a:lnTo>
                        <a:pt x="6" y="571"/>
                      </a:lnTo>
                      <a:lnTo>
                        <a:pt x="8" y="559"/>
                      </a:lnTo>
                      <a:lnTo>
                        <a:pt x="9" y="550"/>
                      </a:lnTo>
                      <a:lnTo>
                        <a:pt x="13" y="548"/>
                      </a:lnTo>
                      <a:lnTo>
                        <a:pt x="17" y="548"/>
                      </a:lnTo>
                      <a:lnTo>
                        <a:pt x="19" y="548"/>
                      </a:lnTo>
                      <a:lnTo>
                        <a:pt x="22" y="547"/>
                      </a:lnTo>
                      <a:lnTo>
                        <a:pt x="22" y="547"/>
                      </a:lnTo>
                      <a:lnTo>
                        <a:pt x="22" y="537"/>
                      </a:lnTo>
                      <a:lnTo>
                        <a:pt x="22" y="530"/>
                      </a:lnTo>
                      <a:lnTo>
                        <a:pt x="22" y="521"/>
                      </a:lnTo>
                      <a:lnTo>
                        <a:pt x="24" y="512"/>
                      </a:lnTo>
                      <a:lnTo>
                        <a:pt x="26" y="504"/>
                      </a:lnTo>
                      <a:lnTo>
                        <a:pt x="26" y="495"/>
                      </a:lnTo>
                      <a:lnTo>
                        <a:pt x="30" y="486"/>
                      </a:lnTo>
                      <a:lnTo>
                        <a:pt x="32" y="478"/>
                      </a:lnTo>
                      <a:lnTo>
                        <a:pt x="35" y="460"/>
                      </a:lnTo>
                      <a:lnTo>
                        <a:pt x="41" y="443"/>
                      </a:lnTo>
                      <a:lnTo>
                        <a:pt x="44" y="427"/>
                      </a:lnTo>
                      <a:lnTo>
                        <a:pt x="48" y="408"/>
                      </a:lnTo>
                      <a:lnTo>
                        <a:pt x="43" y="406"/>
                      </a:lnTo>
                      <a:lnTo>
                        <a:pt x="39" y="404"/>
                      </a:lnTo>
                      <a:lnTo>
                        <a:pt x="39" y="395"/>
                      </a:lnTo>
                      <a:lnTo>
                        <a:pt x="41" y="386"/>
                      </a:lnTo>
                      <a:lnTo>
                        <a:pt x="43" y="377"/>
                      </a:lnTo>
                      <a:lnTo>
                        <a:pt x="44" y="366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50" y="334"/>
                      </a:lnTo>
                      <a:lnTo>
                        <a:pt x="56" y="310"/>
                      </a:lnTo>
                      <a:lnTo>
                        <a:pt x="63" y="279"/>
                      </a:lnTo>
                      <a:lnTo>
                        <a:pt x="63" y="251"/>
                      </a:lnTo>
                      <a:lnTo>
                        <a:pt x="61" y="222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3" y="192"/>
                      </a:lnTo>
                      <a:lnTo>
                        <a:pt x="63" y="185"/>
                      </a:lnTo>
                      <a:lnTo>
                        <a:pt x="63" y="178"/>
                      </a:lnTo>
                      <a:lnTo>
                        <a:pt x="65" y="170"/>
                      </a:lnTo>
                      <a:lnTo>
                        <a:pt x="65" y="165"/>
                      </a:lnTo>
                      <a:lnTo>
                        <a:pt x="67" y="157"/>
                      </a:lnTo>
                      <a:lnTo>
                        <a:pt x="68" y="150"/>
                      </a:lnTo>
                      <a:lnTo>
                        <a:pt x="70" y="144"/>
                      </a:lnTo>
                      <a:lnTo>
                        <a:pt x="72" y="137"/>
                      </a:lnTo>
                      <a:lnTo>
                        <a:pt x="74" y="131"/>
                      </a:lnTo>
                      <a:lnTo>
                        <a:pt x="76" y="126"/>
                      </a:lnTo>
                      <a:lnTo>
                        <a:pt x="79" y="120"/>
                      </a:lnTo>
                      <a:lnTo>
                        <a:pt x="83" y="113"/>
                      </a:lnTo>
                      <a:lnTo>
                        <a:pt x="87" y="107"/>
                      </a:lnTo>
                      <a:lnTo>
                        <a:pt x="91" y="104"/>
                      </a:lnTo>
                      <a:lnTo>
                        <a:pt x="96" y="98"/>
                      </a:lnTo>
                      <a:lnTo>
                        <a:pt x="100" y="93"/>
                      </a:lnTo>
                      <a:lnTo>
                        <a:pt x="105" y="89"/>
                      </a:lnTo>
                      <a:lnTo>
                        <a:pt x="111" y="85"/>
                      </a:lnTo>
                      <a:lnTo>
                        <a:pt x="118" y="82"/>
                      </a:lnTo>
                      <a:lnTo>
                        <a:pt x="126" y="78"/>
                      </a:lnTo>
                      <a:lnTo>
                        <a:pt x="126" y="70"/>
                      </a:lnTo>
                      <a:lnTo>
                        <a:pt x="126" y="67"/>
                      </a:lnTo>
                      <a:lnTo>
                        <a:pt x="127" y="65"/>
                      </a:lnTo>
                      <a:lnTo>
                        <a:pt x="129" y="65"/>
                      </a:lnTo>
                      <a:lnTo>
                        <a:pt x="133" y="63"/>
                      </a:lnTo>
                      <a:lnTo>
                        <a:pt x="137" y="63"/>
                      </a:lnTo>
                      <a:lnTo>
                        <a:pt x="137" y="61"/>
                      </a:lnTo>
                      <a:lnTo>
                        <a:pt x="139" y="59"/>
                      </a:lnTo>
                      <a:lnTo>
                        <a:pt x="139" y="56"/>
                      </a:lnTo>
                      <a:lnTo>
                        <a:pt x="140" y="52"/>
                      </a:lnTo>
                      <a:lnTo>
                        <a:pt x="140" y="50"/>
                      </a:lnTo>
                      <a:lnTo>
                        <a:pt x="148" y="46"/>
                      </a:lnTo>
                      <a:lnTo>
                        <a:pt x="155" y="45"/>
                      </a:lnTo>
                      <a:lnTo>
                        <a:pt x="161" y="41"/>
                      </a:lnTo>
                      <a:lnTo>
                        <a:pt x="168" y="39"/>
                      </a:lnTo>
                      <a:lnTo>
                        <a:pt x="168" y="39"/>
                      </a:lnTo>
                      <a:lnTo>
                        <a:pt x="168" y="34"/>
                      </a:lnTo>
                      <a:lnTo>
                        <a:pt x="168" y="28"/>
                      </a:lnTo>
                      <a:lnTo>
                        <a:pt x="174" y="30"/>
                      </a:lnTo>
                      <a:lnTo>
                        <a:pt x="177" y="30"/>
                      </a:lnTo>
                      <a:lnTo>
                        <a:pt x="177" y="34"/>
                      </a:lnTo>
                      <a:lnTo>
                        <a:pt x="177" y="34"/>
                      </a:lnTo>
                      <a:lnTo>
                        <a:pt x="175" y="39"/>
                      </a:lnTo>
                      <a:lnTo>
                        <a:pt x="175" y="39"/>
                      </a:lnTo>
                      <a:lnTo>
                        <a:pt x="179" y="41"/>
                      </a:lnTo>
                      <a:lnTo>
                        <a:pt x="183" y="41"/>
                      </a:lnTo>
                      <a:lnTo>
                        <a:pt x="187" y="43"/>
                      </a:lnTo>
                      <a:lnTo>
                        <a:pt x="190" y="45"/>
                      </a:lnTo>
                      <a:lnTo>
                        <a:pt x="190" y="45"/>
                      </a:lnTo>
                      <a:lnTo>
                        <a:pt x="192" y="39"/>
                      </a:lnTo>
                      <a:lnTo>
                        <a:pt x="192" y="39"/>
                      </a:lnTo>
                      <a:lnTo>
                        <a:pt x="192" y="35"/>
                      </a:lnTo>
                      <a:lnTo>
                        <a:pt x="192" y="32"/>
                      </a:lnTo>
                      <a:lnTo>
                        <a:pt x="192" y="32"/>
                      </a:lnTo>
                      <a:lnTo>
                        <a:pt x="192" y="30"/>
                      </a:lnTo>
                      <a:lnTo>
                        <a:pt x="192" y="30"/>
                      </a:lnTo>
                      <a:lnTo>
                        <a:pt x="192" y="21"/>
                      </a:lnTo>
                      <a:lnTo>
                        <a:pt x="192" y="21"/>
                      </a:lnTo>
                      <a:lnTo>
                        <a:pt x="188" y="10"/>
                      </a:lnTo>
                      <a:lnTo>
                        <a:pt x="194" y="8"/>
                      </a:lnTo>
                      <a:lnTo>
                        <a:pt x="198" y="6"/>
                      </a:lnTo>
                      <a:lnTo>
                        <a:pt x="201" y="2"/>
                      </a:lnTo>
                      <a:lnTo>
                        <a:pt x="207" y="0"/>
                      </a:lnTo>
                      <a:lnTo>
                        <a:pt x="20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2" name="Freeform 2986"/>
                <p:cNvSpPr>
                  <a:spLocks/>
                </p:cNvSpPr>
                <p:nvPr/>
              </p:nvSpPr>
              <p:spPr bwMode="auto">
                <a:xfrm>
                  <a:off x="4695" y="1775"/>
                  <a:ext cx="486" cy="1183"/>
                </a:xfrm>
                <a:custGeom>
                  <a:avLst/>
                  <a:gdLst>
                    <a:gd name="T0" fmla="*/ 179 w 486"/>
                    <a:gd name="T1" fmla="*/ 30 h 1183"/>
                    <a:gd name="T2" fmla="*/ 133 w 486"/>
                    <a:gd name="T3" fmla="*/ 61 h 1183"/>
                    <a:gd name="T4" fmla="*/ 81 w 486"/>
                    <a:gd name="T5" fmla="*/ 113 h 1183"/>
                    <a:gd name="T6" fmla="*/ 61 w 486"/>
                    <a:gd name="T7" fmla="*/ 222 h 1183"/>
                    <a:gd name="T8" fmla="*/ 26 w 486"/>
                    <a:gd name="T9" fmla="*/ 495 h 1183"/>
                    <a:gd name="T10" fmla="*/ 22 w 486"/>
                    <a:gd name="T11" fmla="*/ 591 h 1183"/>
                    <a:gd name="T12" fmla="*/ 105 w 486"/>
                    <a:gd name="T13" fmla="*/ 620 h 1183"/>
                    <a:gd name="T14" fmla="*/ 109 w 486"/>
                    <a:gd name="T15" fmla="*/ 587 h 1183"/>
                    <a:gd name="T16" fmla="*/ 137 w 486"/>
                    <a:gd name="T17" fmla="*/ 589 h 1183"/>
                    <a:gd name="T18" fmla="*/ 150 w 486"/>
                    <a:gd name="T19" fmla="*/ 622 h 1183"/>
                    <a:gd name="T20" fmla="*/ 174 w 486"/>
                    <a:gd name="T21" fmla="*/ 569 h 1183"/>
                    <a:gd name="T22" fmla="*/ 185 w 486"/>
                    <a:gd name="T23" fmla="*/ 596 h 1183"/>
                    <a:gd name="T24" fmla="*/ 203 w 486"/>
                    <a:gd name="T25" fmla="*/ 513 h 1183"/>
                    <a:gd name="T26" fmla="*/ 318 w 486"/>
                    <a:gd name="T27" fmla="*/ 550 h 1183"/>
                    <a:gd name="T28" fmla="*/ 329 w 486"/>
                    <a:gd name="T29" fmla="*/ 572 h 1183"/>
                    <a:gd name="T30" fmla="*/ 377 w 486"/>
                    <a:gd name="T31" fmla="*/ 692 h 1183"/>
                    <a:gd name="T32" fmla="*/ 415 w 486"/>
                    <a:gd name="T33" fmla="*/ 751 h 1183"/>
                    <a:gd name="T34" fmla="*/ 450 w 486"/>
                    <a:gd name="T35" fmla="*/ 807 h 1183"/>
                    <a:gd name="T36" fmla="*/ 476 w 486"/>
                    <a:gd name="T37" fmla="*/ 941 h 1183"/>
                    <a:gd name="T38" fmla="*/ 443 w 486"/>
                    <a:gd name="T39" fmla="*/ 960 h 1183"/>
                    <a:gd name="T40" fmla="*/ 397 w 486"/>
                    <a:gd name="T41" fmla="*/ 947 h 1183"/>
                    <a:gd name="T42" fmla="*/ 378 w 486"/>
                    <a:gd name="T43" fmla="*/ 1001 h 1183"/>
                    <a:gd name="T44" fmla="*/ 414 w 486"/>
                    <a:gd name="T45" fmla="*/ 1043 h 1183"/>
                    <a:gd name="T46" fmla="*/ 371 w 486"/>
                    <a:gd name="T47" fmla="*/ 1109 h 1183"/>
                    <a:gd name="T48" fmla="*/ 283 w 486"/>
                    <a:gd name="T49" fmla="*/ 1141 h 1183"/>
                    <a:gd name="T50" fmla="*/ 262 w 486"/>
                    <a:gd name="T51" fmla="*/ 1130 h 1183"/>
                    <a:gd name="T52" fmla="*/ 260 w 486"/>
                    <a:gd name="T53" fmla="*/ 1084 h 1183"/>
                    <a:gd name="T54" fmla="*/ 229 w 486"/>
                    <a:gd name="T55" fmla="*/ 1052 h 1183"/>
                    <a:gd name="T56" fmla="*/ 199 w 486"/>
                    <a:gd name="T57" fmla="*/ 1036 h 1183"/>
                    <a:gd name="T58" fmla="*/ 81 w 486"/>
                    <a:gd name="T59" fmla="*/ 1032 h 1183"/>
                    <a:gd name="T60" fmla="*/ 48 w 486"/>
                    <a:gd name="T61" fmla="*/ 1069 h 1183"/>
                    <a:gd name="T62" fmla="*/ 74 w 486"/>
                    <a:gd name="T63" fmla="*/ 1047 h 1183"/>
                    <a:gd name="T64" fmla="*/ 196 w 486"/>
                    <a:gd name="T65" fmla="*/ 1041 h 1183"/>
                    <a:gd name="T66" fmla="*/ 227 w 486"/>
                    <a:gd name="T67" fmla="*/ 1052 h 1183"/>
                    <a:gd name="T68" fmla="*/ 264 w 486"/>
                    <a:gd name="T69" fmla="*/ 1089 h 1183"/>
                    <a:gd name="T70" fmla="*/ 271 w 486"/>
                    <a:gd name="T71" fmla="*/ 1183 h 1183"/>
                    <a:gd name="T72" fmla="*/ 327 w 486"/>
                    <a:gd name="T73" fmla="*/ 1122 h 1183"/>
                    <a:gd name="T74" fmla="*/ 391 w 486"/>
                    <a:gd name="T75" fmla="*/ 1091 h 1183"/>
                    <a:gd name="T76" fmla="*/ 415 w 486"/>
                    <a:gd name="T77" fmla="*/ 1039 h 1183"/>
                    <a:gd name="T78" fmla="*/ 371 w 486"/>
                    <a:gd name="T79" fmla="*/ 991 h 1183"/>
                    <a:gd name="T80" fmla="*/ 391 w 486"/>
                    <a:gd name="T81" fmla="*/ 962 h 1183"/>
                    <a:gd name="T82" fmla="*/ 443 w 486"/>
                    <a:gd name="T83" fmla="*/ 962 h 1183"/>
                    <a:gd name="T84" fmla="*/ 480 w 486"/>
                    <a:gd name="T85" fmla="*/ 969 h 1183"/>
                    <a:gd name="T86" fmla="*/ 476 w 486"/>
                    <a:gd name="T87" fmla="*/ 855 h 1183"/>
                    <a:gd name="T88" fmla="*/ 430 w 486"/>
                    <a:gd name="T89" fmla="*/ 759 h 1183"/>
                    <a:gd name="T90" fmla="*/ 377 w 486"/>
                    <a:gd name="T91" fmla="*/ 691 h 1183"/>
                    <a:gd name="T92" fmla="*/ 332 w 486"/>
                    <a:gd name="T93" fmla="*/ 572 h 1183"/>
                    <a:gd name="T94" fmla="*/ 316 w 486"/>
                    <a:gd name="T95" fmla="*/ 543 h 1183"/>
                    <a:gd name="T96" fmla="*/ 212 w 486"/>
                    <a:gd name="T97" fmla="*/ 513 h 1183"/>
                    <a:gd name="T98" fmla="*/ 183 w 486"/>
                    <a:gd name="T99" fmla="*/ 585 h 1183"/>
                    <a:gd name="T100" fmla="*/ 170 w 486"/>
                    <a:gd name="T101" fmla="*/ 572 h 1183"/>
                    <a:gd name="T102" fmla="*/ 139 w 486"/>
                    <a:gd name="T103" fmla="*/ 622 h 1183"/>
                    <a:gd name="T104" fmla="*/ 116 w 486"/>
                    <a:gd name="T105" fmla="*/ 580 h 1183"/>
                    <a:gd name="T106" fmla="*/ 120 w 486"/>
                    <a:gd name="T107" fmla="*/ 600 h 1183"/>
                    <a:gd name="T108" fmla="*/ 67 w 486"/>
                    <a:gd name="T109" fmla="*/ 567 h 1183"/>
                    <a:gd name="T110" fmla="*/ 22 w 486"/>
                    <a:gd name="T111" fmla="*/ 547 h 1183"/>
                    <a:gd name="T112" fmla="*/ 44 w 486"/>
                    <a:gd name="T113" fmla="*/ 366 h 1183"/>
                    <a:gd name="T114" fmla="*/ 63 w 486"/>
                    <a:gd name="T115" fmla="*/ 178 h 1183"/>
                    <a:gd name="T116" fmla="*/ 126 w 486"/>
                    <a:gd name="T117" fmla="*/ 78 h 1183"/>
                    <a:gd name="T118" fmla="*/ 168 w 486"/>
                    <a:gd name="T119" fmla="*/ 28 h 1183"/>
                    <a:gd name="T120" fmla="*/ 192 w 486"/>
                    <a:gd name="T121" fmla="*/ 30 h 1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86" h="1183">
                      <a:moveTo>
                        <a:pt x="205" y="0"/>
                      </a:moveTo>
                      <a:lnTo>
                        <a:pt x="201" y="2"/>
                      </a:lnTo>
                      <a:lnTo>
                        <a:pt x="198" y="4"/>
                      </a:lnTo>
                      <a:lnTo>
                        <a:pt x="192" y="6"/>
                      </a:lnTo>
                      <a:lnTo>
                        <a:pt x="188" y="8"/>
                      </a:lnTo>
                      <a:lnTo>
                        <a:pt x="187" y="10"/>
                      </a:lnTo>
                      <a:lnTo>
                        <a:pt x="190" y="22"/>
                      </a:lnTo>
                      <a:lnTo>
                        <a:pt x="190" y="30"/>
                      </a:lnTo>
                      <a:lnTo>
                        <a:pt x="190" y="32"/>
                      </a:lnTo>
                      <a:lnTo>
                        <a:pt x="190" y="35"/>
                      </a:lnTo>
                      <a:lnTo>
                        <a:pt x="190" y="39"/>
                      </a:lnTo>
                      <a:lnTo>
                        <a:pt x="190" y="43"/>
                      </a:lnTo>
                      <a:lnTo>
                        <a:pt x="187" y="43"/>
                      </a:lnTo>
                      <a:lnTo>
                        <a:pt x="183" y="41"/>
                      </a:lnTo>
                      <a:lnTo>
                        <a:pt x="179" y="39"/>
                      </a:lnTo>
                      <a:lnTo>
                        <a:pt x="177" y="37"/>
                      </a:lnTo>
                      <a:lnTo>
                        <a:pt x="179" y="34"/>
                      </a:lnTo>
                      <a:lnTo>
                        <a:pt x="179" y="30"/>
                      </a:lnTo>
                      <a:lnTo>
                        <a:pt x="179" y="30"/>
                      </a:lnTo>
                      <a:lnTo>
                        <a:pt x="174" y="28"/>
                      </a:lnTo>
                      <a:lnTo>
                        <a:pt x="168" y="26"/>
                      </a:lnTo>
                      <a:lnTo>
                        <a:pt x="166" y="26"/>
                      </a:lnTo>
                      <a:lnTo>
                        <a:pt x="168" y="34"/>
                      </a:lnTo>
                      <a:lnTo>
                        <a:pt x="168" y="37"/>
                      </a:lnTo>
                      <a:lnTo>
                        <a:pt x="161" y="41"/>
                      </a:lnTo>
                      <a:lnTo>
                        <a:pt x="153" y="43"/>
                      </a:lnTo>
                      <a:lnTo>
                        <a:pt x="148" y="46"/>
                      </a:lnTo>
                      <a:lnTo>
                        <a:pt x="140" y="48"/>
                      </a:lnTo>
                      <a:lnTo>
                        <a:pt x="140" y="48"/>
                      </a:lnTo>
                      <a:lnTo>
                        <a:pt x="139" y="52"/>
                      </a:lnTo>
                      <a:lnTo>
                        <a:pt x="139" y="56"/>
                      </a:lnTo>
                      <a:lnTo>
                        <a:pt x="137" y="58"/>
                      </a:lnTo>
                      <a:lnTo>
                        <a:pt x="137" y="58"/>
                      </a:lnTo>
                      <a:lnTo>
                        <a:pt x="137" y="61"/>
                      </a:lnTo>
                      <a:lnTo>
                        <a:pt x="133" y="61"/>
                      </a:lnTo>
                      <a:lnTo>
                        <a:pt x="133" y="61"/>
                      </a:lnTo>
                      <a:lnTo>
                        <a:pt x="129" y="63"/>
                      </a:lnTo>
                      <a:lnTo>
                        <a:pt x="129" y="63"/>
                      </a:lnTo>
                      <a:lnTo>
                        <a:pt x="127" y="63"/>
                      </a:lnTo>
                      <a:lnTo>
                        <a:pt x="124" y="65"/>
                      </a:lnTo>
                      <a:lnTo>
                        <a:pt x="124" y="65"/>
                      </a:lnTo>
                      <a:lnTo>
                        <a:pt x="124" y="70"/>
                      </a:lnTo>
                      <a:lnTo>
                        <a:pt x="124" y="76"/>
                      </a:lnTo>
                      <a:lnTo>
                        <a:pt x="116" y="80"/>
                      </a:lnTo>
                      <a:lnTo>
                        <a:pt x="111" y="83"/>
                      </a:lnTo>
                      <a:lnTo>
                        <a:pt x="105" y="87"/>
                      </a:lnTo>
                      <a:lnTo>
                        <a:pt x="100" y="93"/>
                      </a:lnTo>
                      <a:lnTo>
                        <a:pt x="100" y="93"/>
                      </a:lnTo>
                      <a:lnTo>
                        <a:pt x="94" y="96"/>
                      </a:lnTo>
                      <a:lnTo>
                        <a:pt x="89" y="102"/>
                      </a:lnTo>
                      <a:lnTo>
                        <a:pt x="85" y="107"/>
                      </a:lnTo>
                      <a:lnTo>
                        <a:pt x="85" y="107"/>
                      </a:lnTo>
                      <a:lnTo>
                        <a:pt x="81" y="113"/>
                      </a:lnTo>
                      <a:lnTo>
                        <a:pt x="81" y="113"/>
                      </a:lnTo>
                      <a:lnTo>
                        <a:pt x="78" y="118"/>
                      </a:lnTo>
                      <a:lnTo>
                        <a:pt x="76" y="124"/>
                      </a:lnTo>
                      <a:lnTo>
                        <a:pt x="76" y="124"/>
                      </a:lnTo>
                      <a:lnTo>
                        <a:pt x="72" y="131"/>
                      </a:lnTo>
                      <a:lnTo>
                        <a:pt x="70" y="137"/>
                      </a:lnTo>
                      <a:lnTo>
                        <a:pt x="68" y="144"/>
                      </a:lnTo>
                      <a:lnTo>
                        <a:pt x="68" y="144"/>
                      </a:lnTo>
                      <a:lnTo>
                        <a:pt x="67" y="150"/>
                      </a:lnTo>
                      <a:lnTo>
                        <a:pt x="65" y="157"/>
                      </a:lnTo>
                      <a:lnTo>
                        <a:pt x="63" y="165"/>
                      </a:lnTo>
                      <a:lnTo>
                        <a:pt x="63" y="165"/>
                      </a:lnTo>
                      <a:lnTo>
                        <a:pt x="63" y="170"/>
                      </a:lnTo>
                      <a:lnTo>
                        <a:pt x="61" y="178"/>
                      </a:lnTo>
                      <a:lnTo>
                        <a:pt x="61" y="178"/>
                      </a:lnTo>
                      <a:lnTo>
                        <a:pt x="61" y="185"/>
                      </a:lnTo>
                      <a:lnTo>
                        <a:pt x="61" y="192"/>
                      </a:lnTo>
                      <a:lnTo>
                        <a:pt x="61" y="207"/>
                      </a:lnTo>
                      <a:lnTo>
                        <a:pt x="61" y="222"/>
                      </a:lnTo>
                      <a:lnTo>
                        <a:pt x="61" y="251"/>
                      </a:lnTo>
                      <a:lnTo>
                        <a:pt x="61" y="279"/>
                      </a:lnTo>
                      <a:lnTo>
                        <a:pt x="54" y="310"/>
                      </a:lnTo>
                      <a:lnTo>
                        <a:pt x="48" y="334"/>
                      </a:lnTo>
                      <a:lnTo>
                        <a:pt x="44" y="353"/>
                      </a:lnTo>
                      <a:lnTo>
                        <a:pt x="43" y="366"/>
                      </a:lnTo>
                      <a:lnTo>
                        <a:pt x="41" y="377"/>
                      </a:lnTo>
                      <a:lnTo>
                        <a:pt x="39" y="386"/>
                      </a:lnTo>
                      <a:lnTo>
                        <a:pt x="39" y="393"/>
                      </a:lnTo>
                      <a:lnTo>
                        <a:pt x="37" y="404"/>
                      </a:lnTo>
                      <a:lnTo>
                        <a:pt x="43" y="406"/>
                      </a:lnTo>
                      <a:lnTo>
                        <a:pt x="46" y="408"/>
                      </a:lnTo>
                      <a:lnTo>
                        <a:pt x="43" y="425"/>
                      </a:lnTo>
                      <a:lnTo>
                        <a:pt x="39" y="443"/>
                      </a:lnTo>
                      <a:lnTo>
                        <a:pt x="33" y="460"/>
                      </a:lnTo>
                      <a:lnTo>
                        <a:pt x="30" y="478"/>
                      </a:lnTo>
                      <a:lnTo>
                        <a:pt x="28" y="486"/>
                      </a:lnTo>
                      <a:lnTo>
                        <a:pt x="26" y="495"/>
                      </a:lnTo>
                      <a:lnTo>
                        <a:pt x="24" y="504"/>
                      </a:lnTo>
                      <a:lnTo>
                        <a:pt x="22" y="512"/>
                      </a:lnTo>
                      <a:lnTo>
                        <a:pt x="22" y="521"/>
                      </a:lnTo>
                      <a:lnTo>
                        <a:pt x="20" y="528"/>
                      </a:lnTo>
                      <a:lnTo>
                        <a:pt x="20" y="537"/>
                      </a:lnTo>
                      <a:lnTo>
                        <a:pt x="22" y="547"/>
                      </a:lnTo>
                      <a:lnTo>
                        <a:pt x="19" y="547"/>
                      </a:lnTo>
                      <a:lnTo>
                        <a:pt x="15" y="547"/>
                      </a:lnTo>
                      <a:lnTo>
                        <a:pt x="13" y="548"/>
                      </a:lnTo>
                      <a:lnTo>
                        <a:pt x="13" y="548"/>
                      </a:lnTo>
                      <a:lnTo>
                        <a:pt x="9" y="548"/>
                      </a:lnTo>
                      <a:lnTo>
                        <a:pt x="9" y="548"/>
                      </a:lnTo>
                      <a:lnTo>
                        <a:pt x="6" y="559"/>
                      </a:lnTo>
                      <a:lnTo>
                        <a:pt x="4" y="569"/>
                      </a:lnTo>
                      <a:lnTo>
                        <a:pt x="2" y="580"/>
                      </a:lnTo>
                      <a:lnTo>
                        <a:pt x="0" y="591"/>
                      </a:lnTo>
                      <a:lnTo>
                        <a:pt x="11" y="591"/>
                      </a:lnTo>
                      <a:lnTo>
                        <a:pt x="22" y="591"/>
                      </a:lnTo>
                      <a:lnTo>
                        <a:pt x="33" y="591"/>
                      </a:lnTo>
                      <a:lnTo>
                        <a:pt x="46" y="591"/>
                      </a:lnTo>
                      <a:lnTo>
                        <a:pt x="46" y="583"/>
                      </a:lnTo>
                      <a:lnTo>
                        <a:pt x="44" y="580"/>
                      </a:lnTo>
                      <a:lnTo>
                        <a:pt x="52" y="576"/>
                      </a:lnTo>
                      <a:lnTo>
                        <a:pt x="59" y="572"/>
                      </a:lnTo>
                      <a:lnTo>
                        <a:pt x="67" y="569"/>
                      </a:lnTo>
                      <a:lnTo>
                        <a:pt x="74" y="565"/>
                      </a:lnTo>
                      <a:lnTo>
                        <a:pt x="78" y="572"/>
                      </a:lnTo>
                      <a:lnTo>
                        <a:pt x="83" y="580"/>
                      </a:lnTo>
                      <a:lnTo>
                        <a:pt x="87" y="585"/>
                      </a:lnTo>
                      <a:lnTo>
                        <a:pt x="91" y="593"/>
                      </a:lnTo>
                      <a:lnTo>
                        <a:pt x="92" y="600"/>
                      </a:lnTo>
                      <a:lnTo>
                        <a:pt x="96" y="606"/>
                      </a:lnTo>
                      <a:lnTo>
                        <a:pt x="98" y="613"/>
                      </a:lnTo>
                      <a:lnTo>
                        <a:pt x="98" y="622"/>
                      </a:lnTo>
                      <a:lnTo>
                        <a:pt x="105" y="620"/>
                      </a:lnTo>
                      <a:lnTo>
                        <a:pt x="105" y="620"/>
                      </a:lnTo>
                      <a:lnTo>
                        <a:pt x="109" y="617"/>
                      </a:lnTo>
                      <a:lnTo>
                        <a:pt x="113" y="615"/>
                      </a:lnTo>
                      <a:lnTo>
                        <a:pt x="113" y="615"/>
                      </a:lnTo>
                      <a:lnTo>
                        <a:pt x="115" y="613"/>
                      </a:lnTo>
                      <a:lnTo>
                        <a:pt x="115" y="611"/>
                      </a:lnTo>
                      <a:lnTo>
                        <a:pt x="116" y="609"/>
                      </a:lnTo>
                      <a:lnTo>
                        <a:pt x="120" y="606"/>
                      </a:lnTo>
                      <a:lnTo>
                        <a:pt x="120" y="606"/>
                      </a:lnTo>
                      <a:lnTo>
                        <a:pt x="120" y="600"/>
                      </a:lnTo>
                      <a:lnTo>
                        <a:pt x="122" y="595"/>
                      </a:lnTo>
                      <a:lnTo>
                        <a:pt x="122" y="595"/>
                      </a:lnTo>
                      <a:lnTo>
                        <a:pt x="116" y="595"/>
                      </a:lnTo>
                      <a:lnTo>
                        <a:pt x="113" y="595"/>
                      </a:lnTo>
                      <a:lnTo>
                        <a:pt x="109" y="595"/>
                      </a:lnTo>
                      <a:lnTo>
                        <a:pt x="105" y="595"/>
                      </a:lnTo>
                      <a:lnTo>
                        <a:pt x="109" y="587"/>
                      </a:lnTo>
                      <a:lnTo>
                        <a:pt x="107" y="587"/>
                      </a:lnTo>
                      <a:lnTo>
                        <a:pt x="109" y="587"/>
                      </a:lnTo>
                      <a:lnTo>
                        <a:pt x="107" y="587"/>
                      </a:lnTo>
                      <a:lnTo>
                        <a:pt x="109" y="587"/>
                      </a:lnTo>
                      <a:lnTo>
                        <a:pt x="113" y="578"/>
                      </a:lnTo>
                      <a:lnTo>
                        <a:pt x="115" y="571"/>
                      </a:lnTo>
                      <a:lnTo>
                        <a:pt x="118" y="563"/>
                      </a:lnTo>
                      <a:lnTo>
                        <a:pt x="120" y="567"/>
                      </a:lnTo>
                      <a:lnTo>
                        <a:pt x="122" y="571"/>
                      </a:lnTo>
                      <a:lnTo>
                        <a:pt x="124" y="574"/>
                      </a:lnTo>
                      <a:lnTo>
                        <a:pt x="126" y="578"/>
                      </a:lnTo>
                      <a:lnTo>
                        <a:pt x="122" y="578"/>
                      </a:lnTo>
                      <a:lnTo>
                        <a:pt x="116" y="578"/>
                      </a:lnTo>
                      <a:lnTo>
                        <a:pt x="115" y="578"/>
                      </a:lnTo>
                      <a:lnTo>
                        <a:pt x="115" y="583"/>
                      </a:lnTo>
                      <a:lnTo>
                        <a:pt x="115" y="589"/>
                      </a:lnTo>
                      <a:lnTo>
                        <a:pt x="115" y="589"/>
                      </a:lnTo>
                      <a:lnTo>
                        <a:pt x="122" y="589"/>
                      </a:lnTo>
                      <a:lnTo>
                        <a:pt x="129" y="589"/>
                      </a:lnTo>
                      <a:lnTo>
                        <a:pt x="137" y="589"/>
                      </a:lnTo>
                      <a:lnTo>
                        <a:pt x="142" y="589"/>
                      </a:lnTo>
                      <a:lnTo>
                        <a:pt x="140" y="602"/>
                      </a:lnTo>
                      <a:lnTo>
                        <a:pt x="139" y="609"/>
                      </a:lnTo>
                      <a:lnTo>
                        <a:pt x="139" y="613"/>
                      </a:lnTo>
                      <a:lnTo>
                        <a:pt x="137" y="615"/>
                      </a:lnTo>
                      <a:lnTo>
                        <a:pt x="135" y="619"/>
                      </a:lnTo>
                      <a:lnTo>
                        <a:pt x="133" y="622"/>
                      </a:lnTo>
                      <a:lnTo>
                        <a:pt x="131" y="624"/>
                      </a:lnTo>
                      <a:lnTo>
                        <a:pt x="137" y="624"/>
                      </a:lnTo>
                      <a:lnTo>
                        <a:pt x="137" y="624"/>
                      </a:lnTo>
                      <a:lnTo>
                        <a:pt x="139" y="624"/>
                      </a:lnTo>
                      <a:lnTo>
                        <a:pt x="142" y="624"/>
                      </a:lnTo>
                      <a:lnTo>
                        <a:pt x="142" y="624"/>
                      </a:lnTo>
                      <a:lnTo>
                        <a:pt x="144" y="624"/>
                      </a:lnTo>
                      <a:lnTo>
                        <a:pt x="144" y="624"/>
                      </a:lnTo>
                      <a:lnTo>
                        <a:pt x="148" y="622"/>
                      </a:lnTo>
                      <a:lnTo>
                        <a:pt x="150" y="622"/>
                      </a:lnTo>
                      <a:lnTo>
                        <a:pt x="150" y="622"/>
                      </a:lnTo>
                      <a:lnTo>
                        <a:pt x="151" y="620"/>
                      </a:lnTo>
                      <a:lnTo>
                        <a:pt x="151" y="620"/>
                      </a:lnTo>
                      <a:lnTo>
                        <a:pt x="153" y="619"/>
                      </a:lnTo>
                      <a:lnTo>
                        <a:pt x="155" y="619"/>
                      </a:lnTo>
                      <a:lnTo>
                        <a:pt x="155" y="619"/>
                      </a:lnTo>
                      <a:lnTo>
                        <a:pt x="157" y="617"/>
                      </a:lnTo>
                      <a:lnTo>
                        <a:pt x="157" y="617"/>
                      </a:lnTo>
                      <a:lnTo>
                        <a:pt x="159" y="615"/>
                      </a:lnTo>
                      <a:lnTo>
                        <a:pt x="161" y="613"/>
                      </a:lnTo>
                      <a:lnTo>
                        <a:pt x="161" y="613"/>
                      </a:lnTo>
                      <a:lnTo>
                        <a:pt x="163" y="607"/>
                      </a:lnTo>
                      <a:lnTo>
                        <a:pt x="164" y="602"/>
                      </a:lnTo>
                      <a:lnTo>
                        <a:pt x="164" y="602"/>
                      </a:lnTo>
                      <a:lnTo>
                        <a:pt x="166" y="593"/>
                      </a:lnTo>
                      <a:lnTo>
                        <a:pt x="170" y="582"/>
                      </a:lnTo>
                      <a:lnTo>
                        <a:pt x="170" y="578"/>
                      </a:lnTo>
                      <a:lnTo>
                        <a:pt x="172" y="572"/>
                      </a:lnTo>
                      <a:lnTo>
                        <a:pt x="174" y="569"/>
                      </a:lnTo>
                      <a:lnTo>
                        <a:pt x="175" y="565"/>
                      </a:lnTo>
                      <a:lnTo>
                        <a:pt x="175" y="567"/>
                      </a:lnTo>
                      <a:lnTo>
                        <a:pt x="175" y="567"/>
                      </a:lnTo>
                      <a:lnTo>
                        <a:pt x="179" y="569"/>
                      </a:lnTo>
                      <a:lnTo>
                        <a:pt x="179" y="569"/>
                      </a:lnTo>
                      <a:lnTo>
                        <a:pt x="181" y="571"/>
                      </a:lnTo>
                      <a:lnTo>
                        <a:pt x="179" y="578"/>
                      </a:lnTo>
                      <a:lnTo>
                        <a:pt x="179" y="587"/>
                      </a:lnTo>
                      <a:lnTo>
                        <a:pt x="179" y="596"/>
                      </a:lnTo>
                      <a:lnTo>
                        <a:pt x="179" y="596"/>
                      </a:lnTo>
                      <a:lnTo>
                        <a:pt x="179" y="606"/>
                      </a:lnTo>
                      <a:lnTo>
                        <a:pt x="177" y="607"/>
                      </a:lnTo>
                      <a:lnTo>
                        <a:pt x="181" y="604"/>
                      </a:lnTo>
                      <a:lnTo>
                        <a:pt x="183" y="602"/>
                      </a:lnTo>
                      <a:lnTo>
                        <a:pt x="183" y="602"/>
                      </a:lnTo>
                      <a:lnTo>
                        <a:pt x="183" y="600"/>
                      </a:lnTo>
                      <a:lnTo>
                        <a:pt x="183" y="600"/>
                      </a:lnTo>
                      <a:lnTo>
                        <a:pt x="185" y="596"/>
                      </a:lnTo>
                      <a:lnTo>
                        <a:pt x="185" y="596"/>
                      </a:lnTo>
                      <a:lnTo>
                        <a:pt x="185" y="585"/>
                      </a:lnTo>
                      <a:lnTo>
                        <a:pt x="185" y="567"/>
                      </a:lnTo>
                      <a:lnTo>
                        <a:pt x="183" y="565"/>
                      </a:lnTo>
                      <a:lnTo>
                        <a:pt x="183" y="565"/>
                      </a:lnTo>
                      <a:lnTo>
                        <a:pt x="175" y="558"/>
                      </a:lnTo>
                      <a:lnTo>
                        <a:pt x="172" y="550"/>
                      </a:lnTo>
                      <a:lnTo>
                        <a:pt x="166" y="545"/>
                      </a:lnTo>
                      <a:lnTo>
                        <a:pt x="161" y="539"/>
                      </a:lnTo>
                      <a:lnTo>
                        <a:pt x="168" y="537"/>
                      </a:lnTo>
                      <a:lnTo>
                        <a:pt x="175" y="536"/>
                      </a:lnTo>
                      <a:lnTo>
                        <a:pt x="185" y="534"/>
                      </a:lnTo>
                      <a:lnTo>
                        <a:pt x="192" y="532"/>
                      </a:lnTo>
                      <a:lnTo>
                        <a:pt x="192" y="532"/>
                      </a:lnTo>
                      <a:lnTo>
                        <a:pt x="196" y="528"/>
                      </a:lnTo>
                      <a:lnTo>
                        <a:pt x="198" y="523"/>
                      </a:lnTo>
                      <a:lnTo>
                        <a:pt x="201" y="517"/>
                      </a:lnTo>
                      <a:lnTo>
                        <a:pt x="203" y="513"/>
                      </a:lnTo>
                      <a:lnTo>
                        <a:pt x="212" y="515"/>
                      </a:lnTo>
                      <a:lnTo>
                        <a:pt x="222" y="515"/>
                      </a:lnTo>
                      <a:lnTo>
                        <a:pt x="233" y="517"/>
                      </a:lnTo>
                      <a:lnTo>
                        <a:pt x="240" y="519"/>
                      </a:lnTo>
                      <a:lnTo>
                        <a:pt x="240" y="523"/>
                      </a:lnTo>
                      <a:lnTo>
                        <a:pt x="240" y="528"/>
                      </a:lnTo>
                      <a:lnTo>
                        <a:pt x="240" y="530"/>
                      </a:lnTo>
                      <a:lnTo>
                        <a:pt x="257" y="530"/>
                      </a:lnTo>
                      <a:lnTo>
                        <a:pt x="268" y="532"/>
                      </a:lnTo>
                      <a:lnTo>
                        <a:pt x="277" y="532"/>
                      </a:lnTo>
                      <a:lnTo>
                        <a:pt x="284" y="532"/>
                      </a:lnTo>
                      <a:lnTo>
                        <a:pt x="290" y="534"/>
                      </a:lnTo>
                      <a:lnTo>
                        <a:pt x="297" y="536"/>
                      </a:lnTo>
                      <a:lnTo>
                        <a:pt x="305" y="537"/>
                      </a:lnTo>
                      <a:lnTo>
                        <a:pt x="314" y="539"/>
                      </a:lnTo>
                      <a:lnTo>
                        <a:pt x="314" y="543"/>
                      </a:lnTo>
                      <a:lnTo>
                        <a:pt x="316" y="547"/>
                      </a:lnTo>
                      <a:lnTo>
                        <a:pt x="318" y="550"/>
                      </a:lnTo>
                      <a:lnTo>
                        <a:pt x="318" y="556"/>
                      </a:lnTo>
                      <a:lnTo>
                        <a:pt x="306" y="556"/>
                      </a:lnTo>
                      <a:lnTo>
                        <a:pt x="299" y="556"/>
                      </a:lnTo>
                      <a:lnTo>
                        <a:pt x="299" y="556"/>
                      </a:lnTo>
                      <a:lnTo>
                        <a:pt x="297" y="556"/>
                      </a:lnTo>
                      <a:lnTo>
                        <a:pt x="297" y="556"/>
                      </a:lnTo>
                      <a:lnTo>
                        <a:pt x="297" y="558"/>
                      </a:lnTo>
                      <a:lnTo>
                        <a:pt x="295" y="558"/>
                      </a:lnTo>
                      <a:lnTo>
                        <a:pt x="295" y="559"/>
                      </a:lnTo>
                      <a:lnTo>
                        <a:pt x="295" y="559"/>
                      </a:lnTo>
                      <a:lnTo>
                        <a:pt x="295" y="561"/>
                      </a:lnTo>
                      <a:lnTo>
                        <a:pt x="295" y="561"/>
                      </a:lnTo>
                      <a:lnTo>
                        <a:pt x="308" y="565"/>
                      </a:lnTo>
                      <a:lnTo>
                        <a:pt x="318" y="567"/>
                      </a:lnTo>
                      <a:lnTo>
                        <a:pt x="321" y="567"/>
                      </a:lnTo>
                      <a:lnTo>
                        <a:pt x="323" y="569"/>
                      </a:lnTo>
                      <a:lnTo>
                        <a:pt x="327" y="571"/>
                      </a:lnTo>
                      <a:lnTo>
                        <a:pt x="329" y="572"/>
                      </a:lnTo>
                      <a:lnTo>
                        <a:pt x="330" y="574"/>
                      </a:lnTo>
                      <a:lnTo>
                        <a:pt x="332" y="576"/>
                      </a:lnTo>
                      <a:lnTo>
                        <a:pt x="334" y="578"/>
                      </a:lnTo>
                      <a:lnTo>
                        <a:pt x="336" y="582"/>
                      </a:lnTo>
                      <a:lnTo>
                        <a:pt x="338" y="589"/>
                      </a:lnTo>
                      <a:lnTo>
                        <a:pt x="340" y="600"/>
                      </a:lnTo>
                      <a:lnTo>
                        <a:pt x="345" y="598"/>
                      </a:lnTo>
                      <a:lnTo>
                        <a:pt x="353" y="598"/>
                      </a:lnTo>
                      <a:lnTo>
                        <a:pt x="358" y="596"/>
                      </a:lnTo>
                      <a:lnTo>
                        <a:pt x="364" y="596"/>
                      </a:lnTo>
                      <a:lnTo>
                        <a:pt x="366" y="606"/>
                      </a:lnTo>
                      <a:lnTo>
                        <a:pt x="367" y="617"/>
                      </a:lnTo>
                      <a:lnTo>
                        <a:pt x="369" y="630"/>
                      </a:lnTo>
                      <a:lnTo>
                        <a:pt x="371" y="643"/>
                      </a:lnTo>
                      <a:lnTo>
                        <a:pt x="373" y="655"/>
                      </a:lnTo>
                      <a:lnTo>
                        <a:pt x="375" y="668"/>
                      </a:lnTo>
                      <a:lnTo>
                        <a:pt x="375" y="681"/>
                      </a:lnTo>
                      <a:lnTo>
                        <a:pt x="377" y="692"/>
                      </a:lnTo>
                      <a:lnTo>
                        <a:pt x="380" y="694"/>
                      </a:lnTo>
                      <a:lnTo>
                        <a:pt x="382" y="694"/>
                      </a:lnTo>
                      <a:lnTo>
                        <a:pt x="386" y="696"/>
                      </a:lnTo>
                      <a:lnTo>
                        <a:pt x="390" y="698"/>
                      </a:lnTo>
                      <a:lnTo>
                        <a:pt x="391" y="707"/>
                      </a:lnTo>
                      <a:lnTo>
                        <a:pt x="395" y="716"/>
                      </a:lnTo>
                      <a:lnTo>
                        <a:pt x="397" y="722"/>
                      </a:lnTo>
                      <a:lnTo>
                        <a:pt x="397" y="722"/>
                      </a:lnTo>
                      <a:lnTo>
                        <a:pt x="399" y="727"/>
                      </a:lnTo>
                      <a:lnTo>
                        <a:pt x="401" y="731"/>
                      </a:lnTo>
                      <a:lnTo>
                        <a:pt x="401" y="731"/>
                      </a:lnTo>
                      <a:lnTo>
                        <a:pt x="402" y="737"/>
                      </a:lnTo>
                      <a:lnTo>
                        <a:pt x="404" y="740"/>
                      </a:lnTo>
                      <a:lnTo>
                        <a:pt x="408" y="744"/>
                      </a:lnTo>
                      <a:lnTo>
                        <a:pt x="408" y="744"/>
                      </a:lnTo>
                      <a:lnTo>
                        <a:pt x="412" y="748"/>
                      </a:lnTo>
                      <a:lnTo>
                        <a:pt x="412" y="748"/>
                      </a:lnTo>
                      <a:lnTo>
                        <a:pt x="415" y="751"/>
                      </a:lnTo>
                      <a:lnTo>
                        <a:pt x="419" y="755"/>
                      </a:lnTo>
                      <a:lnTo>
                        <a:pt x="419" y="755"/>
                      </a:lnTo>
                      <a:lnTo>
                        <a:pt x="423" y="759"/>
                      </a:lnTo>
                      <a:lnTo>
                        <a:pt x="423" y="759"/>
                      </a:lnTo>
                      <a:lnTo>
                        <a:pt x="428" y="761"/>
                      </a:lnTo>
                      <a:lnTo>
                        <a:pt x="434" y="762"/>
                      </a:lnTo>
                      <a:lnTo>
                        <a:pt x="432" y="770"/>
                      </a:lnTo>
                      <a:lnTo>
                        <a:pt x="432" y="770"/>
                      </a:lnTo>
                      <a:lnTo>
                        <a:pt x="430" y="775"/>
                      </a:lnTo>
                      <a:lnTo>
                        <a:pt x="430" y="783"/>
                      </a:lnTo>
                      <a:lnTo>
                        <a:pt x="428" y="790"/>
                      </a:lnTo>
                      <a:lnTo>
                        <a:pt x="428" y="790"/>
                      </a:lnTo>
                      <a:lnTo>
                        <a:pt x="434" y="790"/>
                      </a:lnTo>
                      <a:lnTo>
                        <a:pt x="438" y="792"/>
                      </a:lnTo>
                      <a:lnTo>
                        <a:pt x="438" y="792"/>
                      </a:lnTo>
                      <a:lnTo>
                        <a:pt x="441" y="792"/>
                      </a:lnTo>
                      <a:lnTo>
                        <a:pt x="445" y="794"/>
                      </a:lnTo>
                      <a:lnTo>
                        <a:pt x="450" y="807"/>
                      </a:lnTo>
                      <a:lnTo>
                        <a:pt x="454" y="822"/>
                      </a:lnTo>
                      <a:lnTo>
                        <a:pt x="458" y="834"/>
                      </a:lnTo>
                      <a:lnTo>
                        <a:pt x="462" y="851"/>
                      </a:lnTo>
                      <a:lnTo>
                        <a:pt x="469" y="846"/>
                      </a:lnTo>
                      <a:lnTo>
                        <a:pt x="473" y="840"/>
                      </a:lnTo>
                      <a:lnTo>
                        <a:pt x="474" y="855"/>
                      </a:lnTo>
                      <a:lnTo>
                        <a:pt x="476" y="864"/>
                      </a:lnTo>
                      <a:lnTo>
                        <a:pt x="476" y="868"/>
                      </a:lnTo>
                      <a:lnTo>
                        <a:pt x="476" y="868"/>
                      </a:lnTo>
                      <a:lnTo>
                        <a:pt x="478" y="870"/>
                      </a:lnTo>
                      <a:lnTo>
                        <a:pt x="478" y="870"/>
                      </a:lnTo>
                      <a:lnTo>
                        <a:pt x="480" y="873"/>
                      </a:lnTo>
                      <a:lnTo>
                        <a:pt x="482" y="877"/>
                      </a:lnTo>
                      <a:lnTo>
                        <a:pt x="480" y="892"/>
                      </a:lnTo>
                      <a:lnTo>
                        <a:pt x="478" y="906"/>
                      </a:lnTo>
                      <a:lnTo>
                        <a:pt x="478" y="919"/>
                      </a:lnTo>
                      <a:lnTo>
                        <a:pt x="476" y="934"/>
                      </a:lnTo>
                      <a:lnTo>
                        <a:pt x="476" y="941"/>
                      </a:lnTo>
                      <a:lnTo>
                        <a:pt x="476" y="949"/>
                      </a:lnTo>
                      <a:lnTo>
                        <a:pt x="478" y="954"/>
                      </a:lnTo>
                      <a:lnTo>
                        <a:pt x="478" y="956"/>
                      </a:lnTo>
                      <a:lnTo>
                        <a:pt x="478" y="962"/>
                      </a:lnTo>
                      <a:lnTo>
                        <a:pt x="478" y="969"/>
                      </a:lnTo>
                      <a:lnTo>
                        <a:pt x="480" y="977"/>
                      </a:lnTo>
                      <a:lnTo>
                        <a:pt x="482" y="984"/>
                      </a:lnTo>
                      <a:lnTo>
                        <a:pt x="482" y="984"/>
                      </a:lnTo>
                      <a:lnTo>
                        <a:pt x="484" y="989"/>
                      </a:lnTo>
                      <a:lnTo>
                        <a:pt x="476" y="991"/>
                      </a:lnTo>
                      <a:lnTo>
                        <a:pt x="469" y="993"/>
                      </a:lnTo>
                      <a:lnTo>
                        <a:pt x="460" y="995"/>
                      </a:lnTo>
                      <a:lnTo>
                        <a:pt x="452" y="995"/>
                      </a:lnTo>
                      <a:lnTo>
                        <a:pt x="452" y="988"/>
                      </a:lnTo>
                      <a:lnTo>
                        <a:pt x="450" y="980"/>
                      </a:lnTo>
                      <a:lnTo>
                        <a:pt x="449" y="971"/>
                      </a:lnTo>
                      <a:lnTo>
                        <a:pt x="449" y="962"/>
                      </a:lnTo>
                      <a:lnTo>
                        <a:pt x="443" y="960"/>
                      </a:lnTo>
                      <a:lnTo>
                        <a:pt x="439" y="960"/>
                      </a:lnTo>
                      <a:lnTo>
                        <a:pt x="434" y="958"/>
                      </a:lnTo>
                      <a:lnTo>
                        <a:pt x="434" y="958"/>
                      </a:lnTo>
                      <a:lnTo>
                        <a:pt x="430" y="958"/>
                      </a:lnTo>
                      <a:lnTo>
                        <a:pt x="430" y="953"/>
                      </a:lnTo>
                      <a:lnTo>
                        <a:pt x="430" y="947"/>
                      </a:lnTo>
                      <a:lnTo>
                        <a:pt x="430" y="947"/>
                      </a:lnTo>
                      <a:lnTo>
                        <a:pt x="425" y="945"/>
                      </a:lnTo>
                      <a:lnTo>
                        <a:pt x="419" y="941"/>
                      </a:lnTo>
                      <a:lnTo>
                        <a:pt x="412" y="940"/>
                      </a:lnTo>
                      <a:lnTo>
                        <a:pt x="406" y="938"/>
                      </a:lnTo>
                      <a:lnTo>
                        <a:pt x="406" y="938"/>
                      </a:lnTo>
                      <a:lnTo>
                        <a:pt x="402" y="940"/>
                      </a:lnTo>
                      <a:lnTo>
                        <a:pt x="402" y="940"/>
                      </a:lnTo>
                      <a:lnTo>
                        <a:pt x="401" y="941"/>
                      </a:lnTo>
                      <a:lnTo>
                        <a:pt x="401" y="941"/>
                      </a:lnTo>
                      <a:lnTo>
                        <a:pt x="399" y="943"/>
                      </a:lnTo>
                      <a:lnTo>
                        <a:pt x="397" y="947"/>
                      </a:lnTo>
                      <a:lnTo>
                        <a:pt x="397" y="947"/>
                      </a:lnTo>
                      <a:lnTo>
                        <a:pt x="393" y="953"/>
                      </a:lnTo>
                      <a:lnTo>
                        <a:pt x="391" y="958"/>
                      </a:lnTo>
                      <a:lnTo>
                        <a:pt x="390" y="960"/>
                      </a:lnTo>
                      <a:lnTo>
                        <a:pt x="390" y="964"/>
                      </a:lnTo>
                      <a:lnTo>
                        <a:pt x="388" y="965"/>
                      </a:lnTo>
                      <a:lnTo>
                        <a:pt x="386" y="967"/>
                      </a:lnTo>
                      <a:lnTo>
                        <a:pt x="384" y="969"/>
                      </a:lnTo>
                      <a:lnTo>
                        <a:pt x="382" y="971"/>
                      </a:lnTo>
                      <a:lnTo>
                        <a:pt x="378" y="973"/>
                      </a:lnTo>
                      <a:lnTo>
                        <a:pt x="375" y="975"/>
                      </a:lnTo>
                      <a:lnTo>
                        <a:pt x="375" y="975"/>
                      </a:lnTo>
                      <a:lnTo>
                        <a:pt x="373" y="980"/>
                      </a:lnTo>
                      <a:lnTo>
                        <a:pt x="371" y="986"/>
                      </a:lnTo>
                      <a:lnTo>
                        <a:pt x="369" y="991"/>
                      </a:lnTo>
                      <a:lnTo>
                        <a:pt x="369" y="997"/>
                      </a:lnTo>
                      <a:lnTo>
                        <a:pt x="369" y="997"/>
                      </a:lnTo>
                      <a:lnTo>
                        <a:pt x="378" y="1001"/>
                      </a:lnTo>
                      <a:lnTo>
                        <a:pt x="384" y="1001"/>
                      </a:lnTo>
                      <a:lnTo>
                        <a:pt x="391" y="1002"/>
                      </a:lnTo>
                      <a:lnTo>
                        <a:pt x="391" y="1002"/>
                      </a:lnTo>
                      <a:lnTo>
                        <a:pt x="397" y="1002"/>
                      </a:lnTo>
                      <a:lnTo>
                        <a:pt x="397" y="1002"/>
                      </a:lnTo>
                      <a:lnTo>
                        <a:pt x="404" y="1002"/>
                      </a:lnTo>
                      <a:lnTo>
                        <a:pt x="410" y="1002"/>
                      </a:lnTo>
                      <a:lnTo>
                        <a:pt x="417" y="1002"/>
                      </a:lnTo>
                      <a:lnTo>
                        <a:pt x="425" y="1001"/>
                      </a:lnTo>
                      <a:lnTo>
                        <a:pt x="425" y="1010"/>
                      </a:lnTo>
                      <a:lnTo>
                        <a:pt x="425" y="1017"/>
                      </a:lnTo>
                      <a:lnTo>
                        <a:pt x="425" y="1026"/>
                      </a:lnTo>
                      <a:lnTo>
                        <a:pt x="425" y="1034"/>
                      </a:lnTo>
                      <a:lnTo>
                        <a:pt x="419" y="1034"/>
                      </a:lnTo>
                      <a:lnTo>
                        <a:pt x="414" y="1034"/>
                      </a:lnTo>
                      <a:lnTo>
                        <a:pt x="414" y="1034"/>
                      </a:lnTo>
                      <a:lnTo>
                        <a:pt x="414" y="1039"/>
                      </a:lnTo>
                      <a:lnTo>
                        <a:pt x="414" y="1043"/>
                      </a:lnTo>
                      <a:lnTo>
                        <a:pt x="414" y="1047"/>
                      </a:lnTo>
                      <a:lnTo>
                        <a:pt x="414" y="1050"/>
                      </a:lnTo>
                      <a:lnTo>
                        <a:pt x="408" y="1054"/>
                      </a:lnTo>
                      <a:lnTo>
                        <a:pt x="402" y="1056"/>
                      </a:lnTo>
                      <a:lnTo>
                        <a:pt x="399" y="1058"/>
                      </a:lnTo>
                      <a:lnTo>
                        <a:pt x="393" y="1060"/>
                      </a:lnTo>
                      <a:lnTo>
                        <a:pt x="391" y="1060"/>
                      </a:lnTo>
                      <a:lnTo>
                        <a:pt x="393" y="1069"/>
                      </a:lnTo>
                      <a:lnTo>
                        <a:pt x="393" y="1074"/>
                      </a:lnTo>
                      <a:lnTo>
                        <a:pt x="391" y="1080"/>
                      </a:lnTo>
                      <a:lnTo>
                        <a:pt x="391" y="1085"/>
                      </a:lnTo>
                      <a:lnTo>
                        <a:pt x="390" y="1091"/>
                      </a:lnTo>
                      <a:lnTo>
                        <a:pt x="388" y="1095"/>
                      </a:lnTo>
                      <a:lnTo>
                        <a:pt x="386" y="1098"/>
                      </a:lnTo>
                      <a:lnTo>
                        <a:pt x="382" y="1102"/>
                      </a:lnTo>
                      <a:lnTo>
                        <a:pt x="380" y="1104"/>
                      </a:lnTo>
                      <a:lnTo>
                        <a:pt x="377" y="1108"/>
                      </a:lnTo>
                      <a:lnTo>
                        <a:pt x="371" y="1109"/>
                      </a:lnTo>
                      <a:lnTo>
                        <a:pt x="367" y="1111"/>
                      </a:lnTo>
                      <a:lnTo>
                        <a:pt x="362" y="1111"/>
                      </a:lnTo>
                      <a:lnTo>
                        <a:pt x="356" y="1111"/>
                      </a:lnTo>
                      <a:lnTo>
                        <a:pt x="349" y="1111"/>
                      </a:lnTo>
                      <a:lnTo>
                        <a:pt x="342" y="1111"/>
                      </a:lnTo>
                      <a:lnTo>
                        <a:pt x="342" y="1111"/>
                      </a:lnTo>
                      <a:lnTo>
                        <a:pt x="336" y="1117"/>
                      </a:lnTo>
                      <a:lnTo>
                        <a:pt x="332" y="1122"/>
                      </a:lnTo>
                      <a:lnTo>
                        <a:pt x="329" y="1120"/>
                      </a:lnTo>
                      <a:lnTo>
                        <a:pt x="323" y="1119"/>
                      </a:lnTo>
                      <a:lnTo>
                        <a:pt x="318" y="1115"/>
                      </a:lnTo>
                      <a:lnTo>
                        <a:pt x="314" y="1113"/>
                      </a:lnTo>
                      <a:lnTo>
                        <a:pt x="312" y="1113"/>
                      </a:lnTo>
                      <a:lnTo>
                        <a:pt x="305" y="1117"/>
                      </a:lnTo>
                      <a:lnTo>
                        <a:pt x="297" y="1120"/>
                      </a:lnTo>
                      <a:lnTo>
                        <a:pt x="290" y="1124"/>
                      </a:lnTo>
                      <a:lnTo>
                        <a:pt x="283" y="1128"/>
                      </a:lnTo>
                      <a:lnTo>
                        <a:pt x="283" y="1141"/>
                      </a:lnTo>
                      <a:lnTo>
                        <a:pt x="284" y="1154"/>
                      </a:lnTo>
                      <a:lnTo>
                        <a:pt x="286" y="1165"/>
                      </a:lnTo>
                      <a:lnTo>
                        <a:pt x="288" y="1176"/>
                      </a:lnTo>
                      <a:lnTo>
                        <a:pt x="284" y="1178"/>
                      </a:lnTo>
                      <a:lnTo>
                        <a:pt x="284" y="1178"/>
                      </a:lnTo>
                      <a:lnTo>
                        <a:pt x="281" y="1180"/>
                      </a:lnTo>
                      <a:lnTo>
                        <a:pt x="275" y="1180"/>
                      </a:lnTo>
                      <a:lnTo>
                        <a:pt x="275" y="1180"/>
                      </a:lnTo>
                      <a:lnTo>
                        <a:pt x="273" y="1181"/>
                      </a:lnTo>
                      <a:lnTo>
                        <a:pt x="268" y="1161"/>
                      </a:lnTo>
                      <a:lnTo>
                        <a:pt x="264" y="1148"/>
                      </a:lnTo>
                      <a:lnTo>
                        <a:pt x="264" y="1144"/>
                      </a:lnTo>
                      <a:lnTo>
                        <a:pt x="264" y="1144"/>
                      </a:lnTo>
                      <a:lnTo>
                        <a:pt x="262" y="1143"/>
                      </a:lnTo>
                      <a:lnTo>
                        <a:pt x="262" y="1143"/>
                      </a:lnTo>
                      <a:lnTo>
                        <a:pt x="260" y="1141"/>
                      </a:lnTo>
                      <a:lnTo>
                        <a:pt x="259" y="1139"/>
                      </a:lnTo>
                      <a:lnTo>
                        <a:pt x="262" y="1130"/>
                      </a:lnTo>
                      <a:lnTo>
                        <a:pt x="266" y="1120"/>
                      </a:lnTo>
                      <a:lnTo>
                        <a:pt x="268" y="1117"/>
                      </a:lnTo>
                      <a:lnTo>
                        <a:pt x="268" y="1111"/>
                      </a:lnTo>
                      <a:lnTo>
                        <a:pt x="270" y="1108"/>
                      </a:lnTo>
                      <a:lnTo>
                        <a:pt x="270" y="1104"/>
                      </a:lnTo>
                      <a:lnTo>
                        <a:pt x="270" y="1104"/>
                      </a:lnTo>
                      <a:lnTo>
                        <a:pt x="270" y="1100"/>
                      </a:lnTo>
                      <a:lnTo>
                        <a:pt x="270" y="1100"/>
                      </a:lnTo>
                      <a:lnTo>
                        <a:pt x="270" y="1097"/>
                      </a:lnTo>
                      <a:lnTo>
                        <a:pt x="270" y="1097"/>
                      </a:lnTo>
                      <a:lnTo>
                        <a:pt x="268" y="1093"/>
                      </a:lnTo>
                      <a:lnTo>
                        <a:pt x="268" y="1093"/>
                      </a:lnTo>
                      <a:lnTo>
                        <a:pt x="266" y="1089"/>
                      </a:lnTo>
                      <a:lnTo>
                        <a:pt x="266" y="1089"/>
                      </a:lnTo>
                      <a:lnTo>
                        <a:pt x="264" y="1087"/>
                      </a:lnTo>
                      <a:lnTo>
                        <a:pt x="264" y="1085"/>
                      </a:lnTo>
                      <a:lnTo>
                        <a:pt x="264" y="1085"/>
                      </a:lnTo>
                      <a:lnTo>
                        <a:pt x="260" y="1084"/>
                      </a:lnTo>
                      <a:lnTo>
                        <a:pt x="260" y="1084"/>
                      </a:lnTo>
                      <a:lnTo>
                        <a:pt x="260" y="1084"/>
                      </a:lnTo>
                      <a:lnTo>
                        <a:pt x="255" y="1080"/>
                      </a:lnTo>
                      <a:lnTo>
                        <a:pt x="251" y="1078"/>
                      </a:lnTo>
                      <a:lnTo>
                        <a:pt x="249" y="1073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7"/>
                      </a:lnTo>
                      <a:lnTo>
                        <a:pt x="247" y="1061"/>
                      </a:lnTo>
                      <a:lnTo>
                        <a:pt x="246" y="1056"/>
                      </a:lnTo>
                      <a:lnTo>
                        <a:pt x="246" y="1056"/>
                      </a:lnTo>
                      <a:lnTo>
                        <a:pt x="240" y="1054"/>
                      </a:lnTo>
                      <a:lnTo>
                        <a:pt x="240" y="1054"/>
                      </a:lnTo>
                      <a:lnTo>
                        <a:pt x="236" y="1054"/>
                      </a:lnTo>
                      <a:lnTo>
                        <a:pt x="231" y="1052"/>
                      </a:lnTo>
                      <a:lnTo>
                        <a:pt x="229" y="1052"/>
                      </a:lnTo>
                      <a:lnTo>
                        <a:pt x="235" y="1049"/>
                      </a:lnTo>
                      <a:lnTo>
                        <a:pt x="238" y="1043"/>
                      </a:lnTo>
                      <a:lnTo>
                        <a:pt x="242" y="1041"/>
                      </a:lnTo>
                      <a:lnTo>
                        <a:pt x="242" y="1041"/>
                      </a:lnTo>
                      <a:lnTo>
                        <a:pt x="244" y="1037"/>
                      </a:lnTo>
                      <a:lnTo>
                        <a:pt x="246" y="1036"/>
                      </a:lnTo>
                      <a:lnTo>
                        <a:pt x="246" y="1036"/>
                      </a:lnTo>
                      <a:lnTo>
                        <a:pt x="247" y="1032"/>
                      </a:lnTo>
                      <a:lnTo>
                        <a:pt x="249" y="1030"/>
                      </a:lnTo>
                      <a:lnTo>
                        <a:pt x="249" y="1025"/>
                      </a:lnTo>
                      <a:lnTo>
                        <a:pt x="251" y="1025"/>
                      </a:lnTo>
                      <a:lnTo>
                        <a:pt x="238" y="1025"/>
                      </a:lnTo>
                      <a:lnTo>
                        <a:pt x="227" y="1025"/>
                      </a:lnTo>
                      <a:lnTo>
                        <a:pt x="216" y="1025"/>
                      </a:lnTo>
                      <a:lnTo>
                        <a:pt x="205" y="1025"/>
                      </a:lnTo>
                      <a:lnTo>
                        <a:pt x="205" y="1030"/>
                      </a:lnTo>
                      <a:lnTo>
                        <a:pt x="205" y="1036"/>
                      </a:lnTo>
                      <a:lnTo>
                        <a:pt x="199" y="1036"/>
                      </a:lnTo>
                      <a:lnTo>
                        <a:pt x="194" y="1036"/>
                      </a:lnTo>
                      <a:lnTo>
                        <a:pt x="194" y="1036"/>
                      </a:lnTo>
                      <a:lnTo>
                        <a:pt x="194" y="1041"/>
                      </a:lnTo>
                      <a:lnTo>
                        <a:pt x="194" y="1045"/>
                      </a:lnTo>
                      <a:lnTo>
                        <a:pt x="183" y="1045"/>
                      </a:lnTo>
                      <a:lnTo>
                        <a:pt x="172" y="1043"/>
                      </a:lnTo>
                      <a:lnTo>
                        <a:pt x="161" y="1041"/>
                      </a:lnTo>
                      <a:lnTo>
                        <a:pt x="151" y="1039"/>
                      </a:lnTo>
                      <a:lnTo>
                        <a:pt x="142" y="1036"/>
                      </a:lnTo>
                      <a:lnTo>
                        <a:pt x="133" y="1032"/>
                      </a:lnTo>
                      <a:lnTo>
                        <a:pt x="122" y="1030"/>
                      </a:lnTo>
                      <a:lnTo>
                        <a:pt x="111" y="1026"/>
                      </a:lnTo>
                      <a:lnTo>
                        <a:pt x="107" y="1032"/>
                      </a:lnTo>
                      <a:lnTo>
                        <a:pt x="107" y="1032"/>
                      </a:lnTo>
                      <a:lnTo>
                        <a:pt x="105" y="1036"/>
                      </a:lnTo>
                      <a:lnTo>
                        <a:pt x="98" y="1034"/>
                      </a:lnTo>
                      <a:lnTo>
                        <a:pt x="91" y="1032"/>
                      </a:lnTo>
                      <a:lnTo>
                        <a:pt x="81" y="1032"/>
                      </a:lnTo>
                      <a:lnTo>
                        <a:pt x="74" y="1030"/>
                      </a:lnTo>
                      <a:lnTo>
                        <a:pt x="74" y="1030"/>
                      </a:lnTo>
                      <a:lnTo>
                        <a:pt x="74" y="1036"/>
                      </a:lnTo>
                      <a:lnTo>
                        <a:pt x="74" y="1041"/>
                      </a:lnTo>
                      <a:lnTo>
                        <a:pt x="74" y="1047"/>
                      </a:lnTo>
                      <a:lnTo>
                        <a:pt x="74" y="1052"/>
                      </a:lnTo>
                      <a:lnTo>
                        <a:pt x="68" y="1052"/>
                      </a:lnTo>
                      <a:lnTo>
                        <a:pt x="63" y="1052"/>
                      </a:lnTo>
                      <a:lnTo>
                        <a:pt x="63" y="1052"/>
                      </a:lnTo>
                      <a:lnTo>
                        <a:pt x="61" y="1056"/>
                      </a:lnTo>
                      <a:lnTo>
                        <a:pt x="59" y="1058"/>
                      </a:lnTo>
                      <a:lnTo>
                        <a:pt x="59" y="1060"/>
                      </a:lnTo>
                      <a:lnTo>
                        <a:pt x="59" y="1061"/>
                      </a:lnTo>
                      <a:lnTo>
                        <a:pt x="57" y="1065"/>
                      </a:lnTo>
                      <a:lnTo>
                        <a:pt x="56" y="1065"/>
                      </a:lnTo>
                      <a:lnTo>
                        <a:pt x="52" y="1067"/>
                      </a:lnTo>
                      <a:lnTo>
                        <a:pt x="50" y="1067"/>
                      </a:lnTo>
                      <a:lnTo>
                        <a:pt x="48" y="1069"/>
                      </a:lnTo>
                      <a:lnTo>
                        <a:pt x="48" y="1069"/>
                      </a:lnTo>
                      <a:lnTo>
                        <a:pt x="48" y="1060"/>
                      </a:lnTo>
                      <a:lnTo>
                        <a:pt x="48" y="1069"/>
                      </a:lnTo>
                      <a:lnTo>
                        <a:pt x="48" y="1071"/>
                      </a:lnTo>
                      <a:lnTo>
                        <a:pt x="50" y="1069"/>
                      </a:lnTo>
                      <a:lnTo>
                        <a:pt x="54" y="1067"/>
                      </a:lnTo>
                      <a:lnTo>
                        <a:pt x="56" y="1067"/>
                      </a:lnTo>
                      <a:lnTo>
                        <a:pt x="59" y="1065"/>
                      </a:lnTo>
                      <a:lnTo>
                        <a:pt x="59" y="1065"/>
                      </a:lnTo>
                      <a:lnTo>
                        <a:pt x="61" y="1061"/>
                      </a:lnTo>
                      <a:lnTo>
                        <a:pt x="61" y="1061"/>
                      </a:lnTo>
                      <a:lnTo>
                        <a:pt x="61" y="1060"/>
                      </a:lnTo>
                      <a:lnTo>
                        <a:pt x="63" y="1056"/>
                      </a:lnTo>
                      <a:lnTo>
                        <a:pt x="63" y="1054"/>
                      </a:lnTo>
                      <a:lnTo>
                        <a:pt x="68" y="1054"/>
                      </a:lnTo>
                      <a:lnTo>
                        <a:pt x="74" y="1054"/>
                      </a:lnTo>
                      <a:lnTo>
                        <a:pt x="74" y="1054"/>
                      </a:lnTo>
                      <a:lnTo>
                        <a:pt x="74" y="1047"/>
                      </a:lnTo>
                      <a:lnTo>
                        <a:pt x="74" y="1041"/>
                      </a:lnTo>
                      <a:lnTo>
                        <a:pt x="74" y="1036"/>
                      </a:lnTo>
                      <a:lnTo>
                        <a:pt x="74" y="1032"/>
                      </a:lnTo>
                      <a:lnTo>
                        <a:pt x="81" y="1032"/>
                      </a:lnTo>
                      <a:lnTo>
                        <a:pt x="91" y="1034"/>
                      </a:lnTo>
                      <a:lnTo>
                        <a:pt x="98" y="1036"/>
                      </a:lnTo>
                      <a:lnTo>
                        <a:pt x="107" y="1037"/>
                      </a:lnTo>
                      <a:lnTo>
                        <a:pt x="109" y="1032"/>
                      </a:lnTo>
                      <a:lnTo>
                        <a:pt x="111" y="1028"/>
                      </a:lnTo>
                      <a:lnTo>
                        <a:pt x="122" y="1030"/>
                      </a:lnTo>
                      <a:lnTo>
                        <a:pt x="133" y="1034"/>
                      </a:lnTo>
                      <a:lnTo>
                        <a:pt x="142" y="1037"/>
                      </a:lnTo>
                      <a:lnTo>
                        <a:pt x="151" y="1039"/>
                      </a:lnTo>
                      <a:lnTo>
                        <a:pt x="161" y="1043"/>
                      </a:lnTo>
                      <a:lnTo>
                        <a:pt x="172" y="1045"/>
                      </a:lnTo>
                      <a:lnTo>
                        <a:pt x="183" y="1047"/>
                      </a:lnTo>
                      <a:lnTo>
                        <a:pt x="196" y="1047"/>
                      </a:lnTo>
                      <a:lnTo>
                        <a:pt x="196" y="1041"/>
                      </a:lnTo>
                      <a:lnTo>
                        <a:pt x="196" y="1037"/>
                      </a:lnTo>
                      <a:lnTo>
                        <a:pt x="199" y="1037"/>
                      </a:lnTo>
                      <a:lnTo>
                        <a:pt x="205" y="1037"/>
                      </a:lnTo>
                      <a:lnTo>
                        <a:pt x="207" y="1037"/>
                      </a:lnTo>
                      <a:lnTo>
                        <a:pt x="207" y="1030"/>
                      </a:lnTo>
                      <a:lnTo>
                        <a:pt x="207" y="1026"/>
                      </a:lnTo>
                      <a:lnTo>
                        <a:pt x="216" y="1026"/>
                      </a:lnTo>
                      <a:lnTo>
                        <a:pt x="227" y="1026"/>
                      </a:lnTo>
                      <a:lnTo>
                        <a:pt x="238" y="1026"/>
                      </a:lnTo>
                      <a:lnTo>
                        <a:pt x="247" y="1026"/>
                      </a:lnTo>
                      <a:lnTo>
                        <a:pt x="247" y="1028"/>
                      </a:lnTo>
                      <a:lnTo>
                        <a:pt x="246" y="1032"/>
                      </a:lnTo>
                      <a:lnTo>
                        <a:pt x="244" y="1034"/>
                      </a:lnTo>
                      <a:lnTo>
                        <a:pt x="242" y="1037"/>
                      </a:lnTo>
                      <a:lnTo>
                        <a:pt x="240" y="1039"/>
                      </a:lnTo>
                      <a:lnTo>
                        <a:pt x="236" y="1043"/>
                      </a:lnTo>
                      <a:lnTo>
                        <a:pt x="233" y="1047"/>
                      </a:lnTo>
                      <a:lnTo>
                        <a:pt x="227" y="1052"/>
                      </a:lnTo>
                      <a:lnTo>
                        <a:pt x="225" y="1052"/>
                      </a:lnTo>
                      <a:lnTo>
                        <a:pt x="231" y="1054"/>
                      </a:lnTo>
                      <a:lnTo>
                        <a:pt x="231" y="1054"/>
                      </a:lnTo>
                      <a:lnTo>
                        <a:pt x="236" y="1054"/>
                      </a:lnTo>
                      <a:lnTo>
                        <a:pt x="240" y="1056"/>
                      </a:lnTo>
                      <a:lnTo>
                        <a:pt x="244" y="1056"/>
                      </a:lnTo>
                      <a:lnTo>
                        <a:pt x="246" y="1061"/>
                      </a:lnTo>
                      <a:lnTo>
                        <a:pt x="246" y="1067"/>
                      </a:lnTo>
                      <a:lnTo>
                        <a:pt x="247" y="1074"/>
                      </a:lnTo>
                      <a:lnTo>
                        <a:pt x="249" y="1080"/>
                      </a:lnTo>
                      <a:lnTo>
                        <a:pt x="249" y="1080"/>
                      </a:lnTo>
                      <a:lnTo>
                        <a:pt x="255" y="1082"/>
                      </a:lnTo>
                      <a:lnTo>
                        <a:pt x="259" y="1084"/>
                      </a:lnTo>
                      <a:lnTo>
                        <a:pt x="260" y="1085"/>
                      </a:lnTo>
                      <a:lnTo>
                        <a:pt x="260" y="1085"/>
                      </a:lnTo>
                      <a:lnTo>
                        <a:pt x="262" y="1087"/>
                      </a:lnTo>
                      <a:lnTo>
                        <a:pt x="264" y="1089"/>
                      </a:lnTo>
                      <a:lnTo>
                        <a:pt x="264" y="1089"/>
                      </a:lnTo>
                      <a:lnTo>
                        <a:pt x="266" y="1093"/>
                      </a:lnTo>
                      <a:lnTo>
                        <a:pt x="268" y="1097"/>
                      </a:lnTo>
                      <a:lnTo>
                        <a:pt x="268" y="1100"/>
                      </a:lnTo>
                      <a:lnTo>
                        <a:pt x="268" y="1104"/>
                      </a:lnTo>
                      <a:lnTo>
                        <a:pt x="268" y="1108"/>
                      </a:lnTo>
                      <a:lnTo>
                        <a:pt x="266" y="1111"/>
                      </a:lnTo>
                      <a:lnTo>
                        <a:pt x="266" y="1117"/>
                      </a:lnTo>
                      <a:lnTo>
                        <a:pt x="264" y="1120"/>
                      </a:lnTo>
                      <a:lnTo>
                        <a:pt x="260" y="1130"/>
                      </a:lnTo>
                      <a:lnTo>
                        <a:pt x="257" y="1139"/>
                      </a:lnTo>
                      <a:lnTo>
                        <a:pt x="259" y="1141"/>
                      </a:lnTo>
                      <a:lnTo>
                        <a:pt x="260" y="1143"/>
                      </a:lnTo>
                      <a:lnTo>
                        <a:pt x="262" y="1146"/>
                      </a:lnTo>
                      <a:lnTo>
                        <a:pt x="262" y="1148"/>
                      </a:lnTo>
                      <a:lnTo>
                        <a:pt x="266" y="1161"/>
                      </a:lnTo>
                      <a:lnTo>
                        <a:pt x="271" y="1183"/>
                      </a:lnTo>
                      <a:lnTo>
                        <a:pt x="271" y="1183"/>
                      </a:lnTo>
                      <a:lnTo>
                        <a:pt x="271" y="1183"/>
                      </a:lnTo>
                      <a:lnTo>
                        <a:pt x="277" y="1181"/>
                      </a:lnTo>
                      <a:lnTo>
                        <a:pt x="281" y="1181"/>
                      </a:lnTo>
                      <a:lnTo>
                        <a:pt x="281" y="1181"/>
                      </a:lnTo>
                      <a:lnTo>
                        <a:pt x="284" y="1180"/>
                      </a:lnTo>
                      <a:lnTo>
                        <a:pt x="288" y="1178"/>
                      </a:lnTo>
                      <a:lnTo>
                        <a:pt x="290" y="1178"/>
                      </a:lnTo>
                      <a:lnTo>
                        <a:pt x="288" y="1165"/>
                      </a:lnTo>
                      <a:lnTo>
                        <a:pt x="286" y="1152"/>
                      </a:lnTo>
                      <a:lnTo>
                        <a:pt x="284" y="1141"/>
                      </a:lnTo>
                      <a:lnTo>
                        <a:pt x="284" y="1128"/>
                      </a:lnTo>
                      <a:lnTo>
                        <a:pt x="290" y="1126"/>
                      </a:lnTo>
                      <a:lnTo>
                        <a:pt x="297" y="1122"/>
                      </a:lnTo>
                      <a:lnTo>
                        <a:pt x="305" y="1119"/>
                      </a:lnTo>
                      <a:lnTo>
                        <a:pt x="312" y="1115"/>
                      </a:lnTo>
                      <a:lnTo>
                        <a:pt x="318" y="1117"/>
                      </a:lnTo>
                      <a:lnTo>
                        <a:pt x="318" y="1117"/>
                      </a:lnTo>
                      <a:lnTo>
                        <a:pt x="321" y="1120"/>
                      </a:lnTo>
                      <a:lnTo>
                        <a:pt x="327" y="1122"/>
                      </a:lnTo>
                      <a:lnTo>
                        <a:pt x="332" y="1124"/>
                      </a:lnTo>
                      <a:lnTo>
                        <a:pt x="332" y="1124"/>
                      </a:lnTo>
                      <a:lnTo>
                        <a:pt x="338" y="1119"/>
                      </a:lnTo>
                      <a:lnTo>
                        <a:pt x="342" y="1113"/>
                      </a:lnTo>
                      <a:lnTo>
                        <a:pt x="349" y="1113"/>
                      </a:lnTo>
                      <a:lnTo>
                        <a:pt x="356" y="1113"/>
                      </a:lnTo>
                      <a:lnTo>
                        <a:pt x="362" y="1113"/>
                      </a:lnTo>
                      <a:lnTo>
                        <a:pt x="367" y="1111"/>
                      </a:lnTo>
                      <a:lnTo>
                        <a:pt x="367" y="1111"/>
                      </a:lnTo>
                      <a:lnTo>
                        <a:pt x="373" y="1109"/>
                      </a:lnTo>
                      <a:lnTo>
                        <a:pt x="377" y="1108"/>
                      </a:lnTo>
                      <a:lnTo>
                        <a:pt x="377" y="1108"/>
                      </a:lnTo>
                      <a:lnTo>
                        <a:pt x="380" y="1106"/>
                      </a:lnTo>
                      <a:lnTo>
                        <a:pt x="380" y="1106"/>
                      </a:lnTo>
                      <a:lnTo>
                        <a:pt x="384" y="1102"/>
                      </a:lnTo>
                      <a:lnTo>
                        <a:pt x="388" y="1098"/>
                      </a:lnTo>
                      <a:lnTo>
                        <a:pt x="390" y="1095"/>
                      </a:lnTo>
                      <a:lnTo>
                        <a:pt x="391" y="1091"/>
                      </a:lnTo>
                      <a:lnTo>
                        <a:pt x="391" y="1091"/>
                      </a:lnTo>
                      <a:lnTo>
                        <a:pt x="393" y="1085"/>
                      </a:lnTo>
                      <a:lnTo>
                        <a:pt x="393" y="1080"/>
                      </a:lnTo>
                      <a:lnTo>
                        <a:pt x="393" y="1080"/>
                      </a:lnTo>
                      <a:lnTo>
                        <a:pt x="393" y="1074"/>
                      </a:lnTo>
                      <a:lnTo>
                        <a:pt x="393" y="1074"/>
                      </a:lnTo>
                      <a:lnTo>
                        <a:pt x="395" y="1069"/>
                      </a:lnTo>
                      <a:lnTo>
                        <a:pt x="395" y="1069"/>
                      </a:lnTo>
                      <a:lnTo>
                        <a:pt x="393" y="1061"/>
                      </a:lnTo>
                      <a:lnTo>
                        <a:pt x="399" y="1060"/>
                      </a:lnTo>
                      <a:lnTo>
                        <a:pt x="404" y="1058"/>
                      </a:lnTo>
                      <a:lnTo>
                        <a:pt x="410" y="1054"/>
                      </a:lnTo>
                      <a:lnTo>
                        <a:pt x="410" y="1054"/>
                      </a:lnTo>
                      <a:lnTo>
                        <a:pt x="414" y="1052"/>
                      </a:lnTo>
                      <a:lnTo>
                        <a:pt x="415" y="1052"/>
                      </a:lnTo>
                      <a:lnTo>
                        <a:pt x="415" y="1047"/>
                      </a:lnTo>
                      <a:lnTo>
                        <a:pt x="415" y="1043"/>
                      </a:lnTo>
                      <a:lnTo>
                        <a:pt x="415" y="1039"/>
                      </a:lnTo>
                      <a:lnTo>
                        <a:pt x="415" y="1036"/>
                      </a:lnTo>
                      <a:lnTo>
                        <a:pt x="419" y="1036"/>
                      </a:lnTo>
                      <a:lnTo>
                        <a:pt x="425" y="1036"/>
                      </a:lnTo>
                      <a:lnTo>
                        <a:pt x="425" y="1036"/>
                      </a:lnTo>
                      <a:lnTo>
                        <a:pt x="426" y="1026"/>
                      </a:lnTo>
                      <a:lnTo>
                        <a:pt x="425" y="1017"/>
                      </a:lnTo>
                      <a:lnTo>
                        <a:pt x="426" y="1010"/>
                      </a:lnTo>
                      <a:lnTo>
                        <a:pt x="426" y="1001"/>
                      </a:lnTo>
                      <a:lnTo>
                        <a:pt x="426" y="1001"/>
                      </a:lnTo>
                      <a:lnTo>
                        <a:pt x="417" y="1001"/>
                      </a:lnTo>
                      <a:lnTo>
                        <a:pt x="410" y="1001"/>
                      </a:lnTo>
                      <a:lnTo>
                        <a:pt x="404" y="1001"/>
                      </a:lnTo>
                      <a:lnTo>
                        <a:pt x="397" y="1001"/>
                      </a:lnTo>
                      <a:lnTo>
                        <a:pt x="391" y="1001"/>
                      </a:lnTo>
                      <a:lnTo>
                        <a:pt x="384" y="1001"/>
                      </a:lnTo>
                      <a:lnTo>
                        <a:pt x="378" y="999"/>
                      </a:lnTo>
                      <a:lnTo>
                        <a:pt x="371" y="997"/>
                      </a:lnTo>
                      <a:lnTo>
                        <a:pt x="371" y="991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3" y="986"/>
                      </a:lnTo>
                      <a:lnTo>
                        <a:pt x="375" y="980"/>
                      </a:lnTo>
                      <a:lnTo>
                        <a:pt x="377" y="977"/>
                      </a:lnTo>
                      <a:lnTo>
                        <a:pt x="378" y="975"/>
                      </a:lnTo>
                      <a:lnTo>
                        <a:pt x="382" y="973"/>
                      </a:lnTo>
                      <a:lnTo>
                        <a:pt x="382" y="973"/>
                      </a:lnTo>
                      <a:lnTo>
                        <a:pt x="386" y="971"/>
                      </a:lnTo>
                      <a:lnTo>
                        <a:pt x="386" y="971"/>
                      </a:lnTo>
                      <a:lnTo>
                        <a:pt x="388" y="969"/>
                      </a:lnTo>
                      <a:lnTo>
                        <a:pt x="388" y="969"/>
                      </a:lnTo>
                      <a:lnTo>
                        <a:pt x="390" y="967"/>
                      </a:lnTo>
                      <a:lnTo>
                        <a:pt x="391" y="964"/>
                      </a:lnTo>
                      <a:lnTo>
                        <a:pt x="391" y="964"/>
                      </a:lnTo>
                      <a:lnTo>
                        <a:pt x="391" y="962"/>
                      </a:lnTo>
                      <a:lnTo>
                        <a:pt x="393" y="958"/>
                      </a:lnTo>
                      <a:lnTo>
                        <a:pt x="395" y="953"/>
                      </a:lnTo>
                      <a:lnTo>
                        <a:pt x="397" y="947"/>
                      </a:lnTo>
                      <a:lnTo>
                        <a:pt x="399" y="945"/>
                      </a:lnTo>
                      <a:lnTo>
                        <a:pt x="401" y="943"/>
                      </a:lnTo>
                      <a:lnTo>
                        <a:pt x="404" y="940"/>
                      </a:lnTo>
                      <a:lnTo>
                        <a:pt x="406" y="940"/>
                      </a:lnTo>
                      <a:lnTo>
                        <a:pt x="412" y="941"/>
                      </a:lnTo>
                      <a:lnTo>
                        <a:pt x="417" y="943"/>
                      </a:lnTo>
                      <a:lnTo>
                        <a:pt x="425" y="945"/>
                      </a:lnTo>
                      <a:lnTo>
                        <a:pt x="428" y="949"/>
                      </a:lnTo>
                      <a:lnTo>
                        <a:pt x="428" y="953"/>
                      </a:lnTo>
                      <a:lnTo>
                        <a:pt x="428" y="958"/>
                      </a:lnTo>
                      <a:lnTo>
                        <a:pt x="428" y="960"/>
                      </a:lnTo>
                      <a:lnTo>
                        <a:pt x="434" y="960"/>
                      </a:lnTo>
                      <a:lnTo>
                        <a:pt x="439" y="962"/>
                      </a:lnTo>
                      <a:lnTo>
                        <a:pt x="439" y="962"/>
                      </a:lnTo>
                      <a:lnTo>
                        <a:pt x="443" y="962"/>
                      </a:lnTo>
                      <a:lnTo>
                        <a:pt x="447" y="964"/>
                      </a:lnTo>
                      <a:lnTo>
                        <a:pt x="449" y="971"/>
                      </a:lnTo>
                      <a:lnTo>
                        <a:pt x="449" y="980"/>
                      </a:lnTo>
                      <a:lnTo>
                        <a:pt x="450" y="988"/>
                      </a:lnTo>
                      <a:lnTo>
                        <a:pt x="452" y="997"/>
                      </a:lnTo>
                      <a:lnTo>
                        <a:pt x="452" y="997"/>
                      </a:lnTo>
                      <a:lnTo>
                        <a:pt x="460" y="995"/>
                      </a:lnTo>
                      <a:lnTo>
                        <a:pt x="469" y="995"/>
                      </a:lnTo>
                      <a:lnTo>
                        <a:pt x="476" y="993"/>
                      </a:lnTo>
                      <a:lnTo>
                        <a:pt x="484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91"/>
                      </a:lnTo>
                      <a:lnTo>
                        <a:pt x="486" y="989"/>
                      </a:lnTo>
                      <a:lnTo>
                        <a:pt x="484" y="984"/>
                      </a:lnTo>
                      <a:lnTo>
                        <a:pt x="482" y="977"/>
                      </a:lnTo>
                      <a:lnTo>
                        <a:pt x="480" y="969"/>
                      </a:lnTo>
                      <a:lnTo>
                        <a:pt x="480" y="962"/>
                      </a:lnTo>
                      <a:lnTo>
                        <a:pt x="478" y="954"/>
                      </a:lnTo>
                      <a:lnTo>
                        <a:pt x="478" y="949"/>
                      </a:lnTo>
                      <a:lnTo>
                        <a:pt x="478" y="941"/>
                      </a:lnTo>
                      <a:lnTo>
                        <a:pt x="478" y="934"/>
                      </a:lnTo>
                      <a:lnTo>
                        <a:pt x="480" y="919"/>
                      </a:lnTo>
                      <a:lnTo>
                        <a:pt x="478" y="919"/>
                      </a:lnTo>
                      <a:lnTo>
                        <a:pt x="480" y="919"/>
                      </a:lnTo>
                      <a:lnTo>
                        <a:pt x="478" y="919"/>
                      </a:lnTo>
                      <a:lnTo>
                        <a:pt x="480" y="919"/>
                      </a:lnTo>
                      <a:lnTo>
                        <a:pt x="480" y="906"/>
                      </a:lnTo>
                      <a:lnTo>
                        <a:pt x="482" y="892"/>
                      </a:lnTo>
                      <a:lnTo>
                        <a:pt x="482" y="875"/>
                      </a:lnTo>
                      <a:lnTo>
                        <a:pt x="480" y="873"/>
                      </a:lnTo>
                      <a:lnTo>
                        <a:pt x="478" y="870"/>
                      </a:lnTo>
                      <a:lnTo>
                        <a:pt x="478" y="866"/>
                      </a:lnTo>
                      <a:lnTo>
                        <a:pt x="476" y="864"/>
                      </a:lnTo>
                      <a:lnTo>
                        <a:pt x="476" y="855"/>
                      </a:lnTo>
                      <a:lnTo>
                        <a:pt x="474" y="836"/>
                      </a:lnTo>
                      <a:lnTo>
                        <a:pt x="467" y="844"/>
                      </a:lnTo>
                      <a:lnTo>
                        <a:pt x="463" y="847"/>
                      </a:lnTo>
                      <a:lnTo>
                        <a:pt x="460" y="834"/>
                      </a:lnTo>
                      <a:lnTo>
                        <a:pt x="454" y="822"/>
                      </a:lnTo>
                      <a:lnTo>
                        <a:pt x="450" y="807"/>
                      </a:lnTo>
                      <a:lnTo>
                        <a:pt x="447" y="792"/>
                      </a:lnTo>
                      <a:lnTo>
                        <a:pt x="443" y="792"/>
                      </a:lnTo>
                      <a:lnTo>
                        <a:pt x="443" y="792"/>
                      </a:lnTo>
                      <a:lnTo>
                        <a:pt x="438" y="790"/>
                      </a:lnTo>
                      <a:lnTo>
                        <a:pt x="434" y="790"/>
                      </a:lnTo>
                      <a:lnTo>
                        <a:pt x="430" y="788"/>
                      </a:lnTo>
                      <a:lnTo>
                        <a:pt x="430" y="783"/>
                      </a:lnTo>
                      <a:lnTo>
                        <a:pt x="432" y="775"/>
                      </a:lnTo>
                      <a:lnTo>
                        <a:pt x="434" y="770"/>
                      </a:lnTo>
                      <a:lnTo>
                        <a:pt x="436" y="762"/>
                      </a:lnTo>
                      <a:lnTo>
                        <a:pt x="436" y="762"/>
                      </a:lnTo>
                      <a:lnTo>
                        <a:pt x="430" y="759"/>
                      </a:lnTo>
                      <a:lnTo>
                        <a:pt x="425" y="757"/>
                      </a:lnTo>
                      <a:lnTo>
                        <a:pt x="419" y="755"/>
                      </a:lnTo>
                      <a:lnTo>
                        <a:pt x="415" y="751"/>
                      </a:lnTo>
                      <a:lnTo>
                        <a:pt x="412" y="748"/>
                      </a:lnTo>
                      <a:lnTo>
                        <a:pt x="410" y="744"/>
                      </a:lnTo>
                      <a:lnTo>
                        <a:pt x="406" y="740"/>
                      </a:lnTo>
                      <a:lnTo>
                        <a:pt x="404" y="735"/>
                      </a:lnTo>
                      <a:lnTo>
                        <a:pt x="402" y="731"/>
                      </a:lnTo>
                      <a:lnTo>
                        <a:pt x="401" y="726"/>
                      </a:lnTo>
                      <a:lnTo>
                        <a:pt x="399" y="722"/>
                      </a:lnTo>
                      <a:lnTo>
                        <a:pt x="397" y="716"/>
                      </a:lnTo>
                      <a:lnTo>
                        <a:pt x="397" y="716"/>
                      </a:lnTo>
                      <a:lnTo>
                        <a:pt x="393" y="707"/>
                      </a:lnTo>
                      <a:lnTo>
                        <a:pt x="391" y="696"/>
                      </a:lnTo>
                      <a:lnTo>
                        <a:pt x="388" y="694"/>
                      </a:lnTo>
                      <a:lnTo>
                        <a:pt x="384" y="694"/>
                      </a:lnTo>
                      <a:lnTo>
                        <a:pt x="380" y="692"/>
                      </a:lnTo>
                      <a:lnTo>
                        <a:pt x="377" y="691"/>
                      </a:lnTo>
                      <a:lnTo>
                        <a:pt x="377" y="681"/>
                      </a:lnTo>
                      <a:lnTo>
                        <a:pt x="377" y="668"/>
                      </a:lnTo>
                      <a:lnTo>
                        <a:pt x="375" y="655"/>
                      </a:lnTo>
                      <a:lnTo>
                        <a:pt x="373" y="643"/>
                      </a:lnTo>
                      <a:lnTo>
                        <a:pt x="371" y="630"/>
                      </a:lnTo>
                      <a:lnTo>
                        <a:pt x="369" y="617"/>
                      </a:lnTo>
                      <a:lnTo>
                        <a:pt x="367" y="606"/>
                      </a:lnTo>
                      <a:lnTo>
                        <a:pt x="364" y="595"/>
                      </a:lnTo>
                      <a:lnTo>
                        <a:pt x="358" y="595"/>
                      </a:lnTo>
                      <a:lnTo>
                        <a:pt x="351" y="596"/>
                      </a:lnTo>
                      <a:lnTo>
                        <a:pt x="345" y="596"/>
                      </a:lnTo>
                      <a:lnTo>
                        <a:pt x="342" y="598"/>
                      </a:lnTo>
                      <a:lnTo>
                        <a:pt x="340" y="589"/>
                      </a:lnTo>
                      <a:lnTo>
                        <a:pt x="336" y="582"/>
                      </a:lnTo>
                      <a:lnTo>
                        <a:pt x="334" y="578"/>
                      </a:lnTo>
                      <a:lnTo>
                        <a:pt x="334" y="574"/>
                      </a:lnTo>
                      <a:lnTo>
                        <a:pt x="332" y="572"/>
                      </a:lnTo>
                      <a:lnTo>
                        <a:pt x="332" y="572"/>
                      </a:lnTo>
                      <a:lnTo>
                        <a:pt x="329" y="571"/>
                      </a:lnTo>
                      <a:lnTo>
                        <a:pt x="327" y="569"/>
                      </a:lnTo>
                      <a:lnTo>
                        <a:pt x="327" y="569"/>
                      </a:lnTo>
                      <a:lnTo>
                        <a:pt x="325" y="569"/>
                      </a:lnTo>
                      <a:lnTo>
                        <a:pt x="321" y="567"/>
                      </a:lnTo>
                      <a:lnTo>
                        <a:pt x="321" y="567"/>
                      </a:lnTo>
                      <a:lnTo>
                        <a:pt x="318" y="565"/>
                      </a:lnTo>
                      <a:lnTo>
                        <a:pt x="308" y="563"/>
                      </a:lnTo>
                      <a:lnTo>
                        <a:pt x="297" y="561"/>
                      </a:lnTo>
                      <a:lnTo>
                        <a:pt x="297" y="559"/>
                      </a:lnTo>
                      <a:lnTo>
                        <a:pt x="297" y="558"/>
                      </a:lnTo>
                      <a:lnTo>
                        <a:pt x="297" y="558"/>
                      </a:lnTo>
                      <a:lnTo>
                        <a:pt x="299" y="558"/>
                      </a:lnTo>
                      <a:lnTo>
                        <a:pt x="306" y="558"/>
                      </a:lnTo>
                      <a:lnTo>
                        <a:pt x="319" y="556"/>
                      </a:lnTo>
                      <a:lnTo>
                        <a:pt x="318" y="550"/>
                      </a:lnTo>
                      <a:lnTo>
                        <a:pt x="318" y="547"/>
                      </a:lnTo>
                      <a:lnTo>
                        <a:pt x="316" y="543"/>
                      </a:lnTo>
                      <a:lnTo>
                        <a:pt x="314" y="537"/>
                      </a:lnTo>
                      <a:lnTo>
                        <a:pt x="314" y="537"/>
                      </a:lnTo>
                      <a:lnTo>
                        <a:pt x="305" y="536"/>
                      </a:lnTo>
                      <a:lnTo>
                        <a:pt x="297" y="534"/>
                      </a:lnTo>
                      <a:lnTo>
                        <a:pt x="297" y="534"/>
                      </a:lnTo>
                      <a:lnTo>
                        <a:pt x="290" y="532"/>
                      </a:lnTo>
                      <a:lnTo>
                        <a:pt x="284" y="532"/>
                      </a:lnTo>
                      <a:lnTo>
                        <a:pt x="284" y="532"/>
                      </a:lnTo>
                      <a:lnTo>
                        <a:pt x="277" y="530"/>
                      </a:lnTo>
                      <a:lnTo>
                        <a:pt x="268" y="530"/>
                      </a:lnTo>
                      <a:lnTo>
                        <a:pt x="257" y="528"/>
                      </a:lnTo>
                      <a:lnTo>
                        <a:pt x="242" y="528"/>
                      </a:lnTo>
                      <a:lnTo>
                        <a:pt x="242" y="523"/>
                      </a:lnTo>
                      <a:lnTo>
                        <a:pt x="242" y="517"/>
                      </a:lnTo>
                      <a:lnTo>
                        <a:pt x="242" y="517"/>
                      </a:lnTo>
                      <a:lnTo>
                        <a:pt x="233" y="515"/>
                      </a:lnTo>
                      <a:lnTo>
                        <a:pt x="222" y="515"/>
                      </a:lnTo>
                      <a:lnTo>
                        <a:pt x="212" y="513"/>
                      </a:lnTo>
                      <a:lnTo>
                        <a:pt x="203" y="512"/>
                      </a:lnTo>
                      <a:lnTo>
                        <a:pt x="199" y="517"/>
                      </a:lnTo>
                      <a:lnTo>
                        <a:pt x="198" y="523"/>
                      </a:lnTo>
                      <a:lnTo>
                        <a:pt x="194" y="526"/>
                      </a:lnTo>
                      <a:lnTo>
                        <a:pt x="192" y="532"/>
                      </a:lnTo>
                      <a:lnTo>
                        <a:pt x="185" y="532"/>
                      </a:lnTo>
                      <a:lnTo>
                        <a:pt x="175" y="534"/>
                      </a:lnTo>
                      <a:lnTo>
                        <a:pt x="168" y="536"/>
                      </a:lnTo>
                      <a:lnTo>
                        <a:pt x="161" y="537"/>
                      </a:lnTo>
                      <a:lnTo>
                        <a:pt x="159" y="539"/>
                      </a:lnTo>
                      <a:lnTo>
                        <a:pt x="164" y="545"/>
                      </a:lnTo>
                      <a:lnTo>
                        <a:pt x="170" y="552"/>
                      </a:lnTo>
                      <a:lnTo>
                        <a:pt x="175" y="559"/>
                      </a:lnTo>
                      <a:lnTo>
                        <a:pt x="181" y="565"/>
                      </a:lnTo>
                      <a:lnTo>
                        <a:pt x="181" y="567"/>
                      </a:lnTo>
                      <a:lnTo>
                        <a:pt x="181" y="567"/>
                      </a:lnTo>
                      <a:lnTo>
                        <a:pt x="183" y="567"/>
                      </a:lnTo>
                      <a:lnTo>
                        <a:pt x="183" y="585"/>
                      </a:lnTo>
                      <a:lnTo>
                        <a:pt x="183" y="596"/>
                      </a:lnTo>
                      <a:lnTo>
                        <a:pt x="183" y="600"/>
                      </a:lnTo>
                      <a:lnTo>
                        <a:pt x="181" y="602"/>
                      </a:lnTo>
                      <a:lnTo>
                        <a:pt x="179" y="604"/>
                      </a:lnTo>
                      <a:lnTo>
                        <a:pt x="179" y="604"/>
                      </a:lnTo>
                      <a:lnTo>
                        <a:pt x="179" y="596"/>
                      </a:lnTo>
                      <a:lnTo>
                        <a:pt x="181" y="587"/>
                      </a:lnTo>
                      <a:lnTo>
                        <a:pt x="181" y="578"/>
                      </a:lnTo>
                      <a:lnTo>
                        <a:pt x="183" y="571"/>
                      </a:lnTo>
                      <a:lnTo>
                        <a:pt x="183" y="571"/>
                      </a:lnTo>
                      <a:lnTo>
                        <a:pt x="181" y="569"/>
                      </a:lnTo>
                      <a:lnTo>
                        <a:pt x="179" y="567"/>
                      </a:lnTo>
                      <a:lnTo>
                        <a:pt x="179" y="567"/>
                      </a:lnTo>
                      <a:lnTo>
                        <a:pt x="177" y="565"/>
                      </a:lnTo>
                      <a:lnTo>
                        <a:pt x="175" y="563"/>
                      </a:lnTo>
                      <a:lnTo>
                        <a:pt x="175" y="563"/>
                      </a:lnTo>
                      <a:lnTo>
                        <a:pt x="172" y="567"/>
                      </a:lnTo>
                      <a:lnTo>
                        <a:pt x="170" y="572"/>
                      </a:lnTo>
                      <a:lnTo>
                        <a:pt x="168" y="576"/>
                      </a:lnTo>
                      <a:lnTo>
                        <a:pt x="168" y="576"/>
                      </a:lnTo>
                      <a:lnTo>
                        <a:pt x="168" y="582"/>
                      </a:lnTo>
                      <a:lnTo>
                        <a:pt x="166" y="593"/>
                      </a:lnTo>
                      <a:lnTo>
                        <a:pt x="163" y="602"/>
                      </a:lnTo>
                      <a:lnTo>
                        <a:pt x="161" y="607"/>
                      </a:lnTo>
                      <a:lnTo>
                        <a:pt x="159" y="611"/>
                      </a:lnTo>
                      <a:lnTo>
                        <a:pt x="157" y="613"/>
                      </a:lnTo>
                      <a:lnTo>
                        <a:pt x="157" y="613"/>
                      </a:lnTo>
                      <a:lnTo>
                        <a:pt x="157" y="615"/>
                      </a:lnTo>
                      <a:lnTo>
                        <a:pt x="155" y="617"/>
                      </a:lnTo>
                      <a:lnTo>
                        <a:pt x="153" y="619"/>
                      </a:lnTo>
                      <a:lnTo>
                        <a:pt x="151" y="620"/>
                      </a:lnTo>
                      <a:lnTo>
                        <a:pt x="150" y="620"/>
                      </a:lnTo>
                      <a:lnTo>
                        <a:pt x="148" y="622"/>
                      </a:lnTo>
                      <a:lnTo>
                        <a:pt x="144" y="622"/>
                      </a:lnTo>
                      <a:lnTo>
                        <a:pt x="142" y="622"/>
                      </a:lnTo>
                      <a:lnTo>
                        <a:pt x="139" y="622"/>
                      </a:lnTo>
                      <a:lnTo>
                        <a:pt x="137" y="622"/>
                      </a:lnTo>
                      <a:lnTo>
                        <a:pt x="135" y="622"/>
                      </a:lnTo>
                      <a:lnTo>
                        <a:pt x="137" y="620"/>
                      </a:lnTo>
                      <a:lnTo>
                        <a:pt x="139" y="617"/>
                      </a:lnTo>
                      <a:lnTo>
                        <a:pt x="139" y="617"/>
                      </a:lnTo>
                      <a:lnTo>
                        <a:pt x="140" y="613"/>
                      </a:lnTo>
                      <a:lnTo>
                        <a:pt x="140" y="613"/>
                      </a:lnTo>
                      <a:lnTo>
                        <a:pt x="140" y="609"/>
                      </a:lnTo>
                      <a:lnTo>
                        <a:pt x="140" y="609"/>
                      </a:lnTo>
                      <a:lnTo>
                        <a:pt x="142" y="602"/>
                      </a:lnTo>
                      <a:lnTo>
                        <a:pt x="142" y="602"/>
                      </a:lnTo>
                      <a:lnTo>
                        <a:pt x="144" y="589"/>
                      </a:lnTo>
                      <a:lnTo>
                        <a:pt x="137" y="589"/>
                      </a:lnTo>
                      <a:lnTo>
                        <a:pt x="129" y="589"/>
                      </a:lnTo>
                      <a:lnTo>
                        <a:pt x="122" y="589"/>
                      </a:lnTo>
                      <a:lnTo>
                        <a:pt x="116" y="589"/>
                      </a:lnTo>
                      <a:lnTo>
                        <a:pt x="116" y="583"/>
                      </a:lnTo>
                      <a:lnTo>
                        <a:pt x="116" y="580"/>
                      </a:lnTo>
                      <a:lnTo>
                        <a:pt x="122" y="580"/>
                      </a:lnTo>
                      <a:lnTo>
                        <a:pt x="127" y="580"/>
                      </a:lnTo>
                      <a:lnTo>
                        <a:pt x="127" y="580"/>
                      </a:lnTo>
                      <a:lnTo>
                        <a:pt x="126" y="574"/>
                      </a:lnTo>
                      <a:lnTo>
                        <a:pt x="124" y="569"/>
                      </a:lnTo>
                      <a:lnTo>
                        <a:pt x="120" y="565"/>
                      </a:lnTo>
                      <a:lnTo>
                        <a:pt x="120" y="565"/>
                      </a:lnTo>
                      <a:lnTo>
                        <a:pt x="118" y="561"/>
                      </a:lnTo>
                      <a:lnTo>
                        <a:pt x="118" y="559"/>
                      </a:lnTo>
                      <a:lnTo>
                        <a:pt x="115" y="571"/>
                      </a:lnTo>
                      <a:lnTo>
                        <a:pt x="111" y="578"/>
                      </a:lnTo>
                      <a:lnTo>
                        <a:pt x="107" y="587"/>
                      </a:lnTo>
                      <a:lnTo>
                        <a:pt x="103" y="596"/>
                      </a:lnTo>
                      <a:lnTo>
                        <a:pt x="109" y="596"/>
                      </a:lnTo>
                      <a:lnTo>
                        <a:pt x="113" y="596"/>
                      </a:lnTo>
                      <a:lnTo>
                        <a:pt x="116" y="596"/>
                      </a:lnTo>
                      <a:lnTo>
                        <a:pt x="120" y="596"/>
                      </a:lnTo>
                      <a:lnTo>
                        <a:pt x="120" y="600"/>
                      </a:lnTo>
                      <a:lnTo>
                        <a:pt x="118" y="606"/>
                      </a:lnTo>
                      <a:lnTo>
                        <a:pt x="116" y="607"/>
                      </a:lnTo>
                      <a:lnTo>
                        <a:pt x="115" y="611"/>
                      </a:lnTo>
                      <a:lnTo>
                        <a:pt x="111" y="613"/>
                      </a:lnTo>
                      <a:lnTo>
                        <a:pt x="109" y="617"/>
                      </a:lnTo>
                      <a:lnTo>
                        <a:pt x="105" y="619"/>
                      </a:lnTo>
                      <a:lnTo>
                        <a:pt x="100" y="620"/>
                      </a:lnTo>
                      <a:lnTo>
                        <a:pt x="98" y="613"/>
                      </a:lnTo>
                      <a:lnTo>
                        <a:pt x="98" y="613"/>
                      </a:lnTo>
                      <a:lnTo>
                        <a:pt x="96" y="606"/>
                      </a:lnTo>
                      <a:lnTo>
                        <a:pt x="94" y="598"/>
                      </a:lnTo>
                      <a:lnTo>
                        <a:pt x="91" y="593"/>
                      </a:lnTo>
                      <a:lnTo>
                        <a:pt x="91" y="593"/>
                      </a:lnTo>
                      <a:lnTo>
                        <a:pt x="87" y="585"/>
                      </a:lnTo>
                      <a:lnTo>
                        <a:pt x="83" y="578"/>
                      </a:lnTo>
                      <a:lnTo>
                        <a:pt x="79" y="572"/>
                      </a:lnTo>
                      <a:lnTo>
                        <a:pt x="74" y="563"/>
                      </a:lnTo>
                      <a:lnTo>
                        <a:pt x="67" y="567"/>
                      </a:lnTo>
                      <a:lnTo>
                        <a:pt x="59" y="571"/>
                      </a:lnTo>
                      <a:lnTo>
                        <a:pt x="52" y="574"/>
                      </a:lnTo>
                      <a:lnTo>
                        <a:pt x="44" y="578"/>
                      </a:lnTo>
                      <a:lnTo>
                        <a:pt x="44" y="583"/>
                      </a:lnTo>
                      <a:lnTo>
                        <a:pt x="44" y="589"/>
                      </a:lnTo>
                      <a:lnTo>
                        <a:pt x="33" y="589"/>
                      </a:lnTo>
                      <a:lnTo>
                        <a:pt x="22" y="589"/>
                      </a:lnTo>
                      <a:lnTo>
                        <a:pt x="11" y="589"/>
                      </a:lnTo>
                      <a:lnTo>
                        <a:pt x="2" y="589"/>
                      </a:lnTo>
                      <a:lnTo>
                        <a:pt x="4" y="580"/>
                      </a:lnTo>
                      <a:lnTo>
                        <a:pt x="6" y="571"/>
                      </a:lnTo>
                      <a:lnTo>
                        <a:pt x="8" y="559"/>
                      </a:lnTo>
                      <a:lnTo>
                        <a:pt x="9" y="550"/>
                      </a:lnTo>
                      <a:lnTo>
                        <a:pt x="13" y="548"/>
                      </a:lnTo>
                      <a:lnTo>
                        <a:pt x="17" y="548"/>
                      </a:lnTo>
                      <a:lnTo>
                        <a:pt x="19" y="548"/>
                      </a:lnTo>
                      <a:lnTo>
                        <a:pt x="22" y="547"/>
                      </a:lnTo>
                      <a:lnTo>
                        <a:pt x="22" y="547"/>
                      </a:lnTo>
                      <a:lnTo>
                        <a:pt x="22" y="537"/>
                      </a:lnTo>
                      <a:lnTo>
                        <a:pt x="22" y="530"/>
                      </a:lnTo>
                      <a:lnTo>
                        <a:pt x="22" y="521"/>
                      </a:lnTo>
                      <a:lnTo>
                        <a:pt x="24" y="512"/>
                      </a:lnTo>
                      <a:lnTo>
                        <a:pt x="26" y="504"/>
                      </a:lnTo>
                      <a:lnTo>
                        <a:pt x="26" y="495"/>
                      </a:lnTo>
                      <a:lnTo>
                        <a:pt x="30" y="486"/>
                      </a:lnTo>
                      <a:lnTo>
                        <a:pt x="32" y="478"/>
                      </a:lnTo>
                      <a:lnTo>
                        <a:pt x="35" y="460"/>
                      </a:lnTo>
                      <a:lnTo>
                        <a:pt x="41" y="443"/>
                      </a:lnTo>
                      <a:lnTo>
                        <a:pt x="44" y="427"/>
                      </a:lnTo>
                      <a:lnTo>
                        <a:pt x="48" y="408"/>
                      </a:lnTo>
                      <a:lnTo>
                        <a:pt x="43" y="406"/>
                      </a:lnTo>
                      <a:lnTo>
                        <a:pt x="39" y="404"/>
                      </a:lnTo>
                      <a:lnTo>
                        <a:pt x="39" y="395"/>
                      </a:lnTo>
                      <a:lnTo>
                        <a:pt x="41" y="386"/>
                      </a:lnTo>
                      <a:lnTo>
                        <a:pt x="43" y="377"/>
                      </a:lnTo>
                      <a:lnTo>
                        <a:pt x="44" y="366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46" y="353"/>
                      </a:lnTo>
                      <a:lnTo>
                        <a:pt x="50" y="334"/>
                      </a:lnTo>
                      <a:lnTo>
                        <a:pt x="56" y="310"/>
                      </a:lnTo>
                      <a:lnTo>
                        <a:pt x="63" y="279"/>
                      </a:lnTo>
                      <a:lnTo>
                        <a:pt x="63" y="251"/>
                      </a:lnTo>
                      <a:lnTo>
                        <a:pt x="61" y="222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1" y="207"/>
                      </a:lnTo>
                      <a:lnTo>
                        <a:pt x="63" y="192"/>
                      </a:lnTo>
                      <a:lnTo>
                        <a:pt x="63" y="185"/>
                      </a:lnTo>
                      <a:lnTo>
                        <a:pt x="63" y="178"/>
                      </a:lnTo>
                      <a:lnTo>
                        <a:pt x="65" y="170"/>
                      </a:lnTo>
                      <a:lnTo>
                        <a:pt x="65" y="165"/>
                      </a:lnTo>
                      <a:lnTo>
                        <a:pt x="67" y="157"/>
                      </a:lnTo>
                      <a:lnTo>
                        <a:pt x="68" y="150"/>
                      </a:lnTo>
                      <a:lnTo>
                        <a:pt x="70" y="144"/>
                      </a:lnTo>
                      <a:lnTo>
                        <a:pt x="72" y="137"/>
                      </a:lnTo>
                      <a:lnTo>
                        <a:pt x="74" y="131"/>
                      </a:lnTo>
                      <a:lnTo>
                        <a:pt x="76" y="126"/>
                      </a:lnTo>
                      <a:lnTo>
                        <a:pt x="79" y="120"/>
                      </a:lnTo>
                      <a:lnTo>
                        <a:pt x="83" y="113"/>
                      </a:lnTo>
                      <a:lnTo>
                        <a:pt x="87" y="107"/>
                      </a:lnTo>
                      <a:lnTo>
                        <a:pt x="91" y="104"/>
                      </a:lnTo>
                      <a:lnTo>
                        <a:pt x="96" y="98"/>
                      </a:lnTo>
                      <a:lnTo>
                        <a:pt x="100" y="93"/>
                      </a:lnTo>
                      <a:lnTo>
                        <a:pt x="105" y="89"/>
                      </a:lnTo>
                      <a:lnTo>
                        <a:pt x="111" y="85"/>
                      </a:lnTo>
                      <a:lnTo>
                        <a:pt x="118" y="82"/>
                      </a:lnTo>
                      <a:lnTo>
                        <a:pt x="126" y="78"/>
                      </a:lnTo>
                      <a:lnTo>
                        <a:pt x="126" y="70"/>
                      </a:lnTo>
                      <a:lnTo>
                        <a:pt x="126" y="67"/>
                      </a:lnTo>
                      <a:lnTo>
                        <a:pt x="127" y="65"/>
                      </a:lnTo>
                      <a:lnTo>
                        <a:pt x="129" y="65"/>
                      </a:lnTo>
                      <a:lnTo>
                        <a:pt x="133" y="63"/>
                      </a:lnTo>
                      <a:lnTo>
                        <a:pt x="137" y="63"/>
                      </a:lnTo>
                      <a:lnTo>
                        <a:pt x="137" y="61"/>
                      </a:lnTo>
                      <a:lnTo>
                        <a:pt x="139" y="59"/>
                      </a:lnTo>
                      <a:lnTo>
                        <a:pt x="139" y="56"/>
                      </a:lnTo>
                      <a:lnTo>
                        <a:pt x="140" y="52"/>
                      </a:lnTo>
                      <a:lnTo>
                        <a:pt x="140" y="50"/>
                      </a:lnTo>
                      <a:lnTo>
                        <a:pt x="148" y="46"/>
                      </a:lnTo>
                      <a:lnTo>
                        <a:pt x="155" y="45"/>
                      </a:lnTo>
                      <a:lnTo>
                        <a:pt x="161" y="41"/>
                      </a:lnTo>
                      <a:lnTo>
                        <a:pt x="168" y="39"/>
                      </a:lnTo>
                      <a:lnTo>
                        <a:pt x="168" y="39"/>
                      </a:lnTo>
                      <a:lnTo>
                        <a:pt x="168" y="34"/>
                      </a:lnTo>
                      <a:lnTo>
                        <a:pt x="168" y="28"/>
                      </a:lnTo>
                      <a:lnTo>
                        <a:pt x="174" y="30"/>
                      </a:lnTo>
                      <a:lnTo>
                        <a:pt x="177" y="30"/>
                      </a:lnTo>
                      <a:lnTo>
                        <a:pt x="177" y="34"/>
                      </a:lnTo>
                      <a:lnTo>
                        <a:pt x="177" y="34"/>
                      </a:lnTo>
                      <a:lnTo>
                        <a:pt x="175" y="39"/>
                      </a:lnTo>
                      <a:lnTo>
                        <a:pt x="175" y="39"/>
                      </a:lnTo>
                      <a:lnTo>
                        <a:pt x="179" y="41"/>
                      </a:lnTo>
                      <a:lnTo>
                        <a:pt x="183" y="41"/>
                      </a:lnTo>
                      <a:lnTo>
                        <a:pt x="187" y="43"/>
                      </a:lnTo>
                      <a:lnTo>
                        <a:pt x="190" y="45"/>
                      </a:lnTo>
                      <a:lnTo>
                        <a:pt x="190" y="45"/>
                      </a:lnTo>
                      <a:lnTo>
                        <a:pt x="192" y="39"/>
                      </a:lnTo>
                      <a:lnTo>
                        <a:pt x="192" y="39"/>
                      </a:lnTo>
                      <a:lnTo>
                        <a:pt x="192" y="35"/>
                      </a:lnTo>
                      <a:lnTo>
                        <a:pt x="192" y="32"/>
                      </a:lnTo>
                      <a:lnTo>
                        <a:pt x="192" y="32"/>
                      </a:lnTo>
                      <a:lnTo>
                        <a:pt x="192" y="30"/>
                      </a:lnTo>
                      <a:lnTo>
                        <a:pt x="192" y="30"/>
                      </a:lnTo>
                      <a:lnTo>
                        <a:pt x="192" y="21"/>
                      </a:lnTo>
                      <a:lnTo>
                        <a:pt x="192" y="21"/>
                      </a:lnTo>
                      <a:lnTo>
                        <a:pt x="188" y="10"/>
                      </a:lnTo>
                      <a:lnTo>
                        <a:pt x="194" y="8"/>
                      </a:lnTo>
                      <a:lnTo>
                        <a:pt x="198" y="6"/>
                      </a:lnTo>
                      <a:lnTo>
                        <a:pt x="201" y="2"/>
                      </a:lnTo>
                      <a:lnTo>
                        <a:pt x="207" y="0"/>
                      </a:lnTo>
                      <a:lnTo>
                        <a:pt x="20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3" name="Freeform 2987"/>
                <p:cNvSpPr>
                  <a:spLocks/>
                </p:cNvSpPr>
                <p:nvPr/>
              </p:nvSpPr>
              <p:spPr bwMode="auto">
                <a:xfrm>
                  <a:off x="4494" y="2388"/>
                  <a:ext cx="9" cy="4"/>
                </a:xfrm>
                <a:custGeom>
                  <a:avLst/>
                  <a:gdLst>
                    <a:gd name="T0" fmla="*/ 9 w 9"/>
                    <a:gd name="T1" fmla="*/ 0 h 4"/>
                    <a:gd name="T2" fmla="*/ 0 w 9"/>
                    <a:gd name="T3" fmla="*/ 4 h 4"/>
                    <a:gd name="T4" fmla="*/ 0 w 9"/>
                    <a:gd name="T5" fmla="*/ 4 h 4"/>
                    <a:gd name="T6" fmla="*/ 9 w 9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4">
                      <a:moveTo>
                        <a:pt x="9" y="0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4" name="Freeform 2988"/>
                <p:cNvSpPr>
                  <a:spLocks/>
                </p:cNvSpPr>
                <p:nvPr/>
              </p:nvSpPr>
              <p:spPr bwMode="auto">
                <a:xfrm>
                  <a:off x="4494" y="2388"/>
                  <a:ext cx="9" cy="4"/>
                </a:xfrm>
                <a:custGeom>
                  <a:avLst/>
                  <a:gdLst>
                    <a:gd name="T0" fmla="*/ 9 w 9"/>
                    <a:gd name="T1" fmla="*/ 0 h 4"/>
                    <a:gd name="T2" fmla="*/ 0 w 9"/>
                    <a:gd name="T3" fmla="*/ 4 h 4"/>
                    <a:gd name="T4" fmla="*/ 0 w 9"/>
                    <a:gd name="T5" fmla="*/ 4 h 4"/>
                    <a:gd name="T6" fmla="*/ 9 w 9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4">
                      <a:moveTo>
                        <a:pt x="9" y="0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5" name="Freeform 2989"/>
                <p:cNvSpPr>
                  <a:spLocks/>
                </p:cNvSpPr>
                <p:nvPr/>
              </p:nvSpPr>
              <p:spPr bwMode="auto">
                <a:xfrm>
                  <a:off x="4007" y="2360"/>
                  <a:ext cx="760" cy="534"/>
                </a:xfrm>
                <a:custGeom>
                  <a:avLst/>
                  <a:gdLst>
                    <a:gd name="T0" fmla="*/ 528 w 760"/>
                    <a:gd name="T1" fmla="*/ 15 h 534"/>
                    <a:gd name="T2" fmla="*/ 446 w 760"/>
                    <a:gd name="T3" fmla="*/ 48 h 534"/>
                    <a:gd name="T4" fmla="*/ 413 w 760"/>
                    <a:gd name="T5" fmla="*/ 78 h 534"/>
                    <a:gd name="T6" fmla="*/ 378 w 760"/>
                    <a:gd name="T7" fmla="*/ 91 h 534"/>
                    <a:gd name="T8" fmla="*/ 321 w 760"/>
                    <a:gd name="T9" fmla="*/ 117 h 534"/>
                    <a:gd name="T10" fmla="*/ 297 w 760"/>
                    <a:gd name="T11" fmla="*/ 130 h 534"/>
                    <a:gd name="T12" fmla="*/ 253 w 760"/>
                    <a:gd name="T13" fmla="*/ 126 h 534"/>
                    <a:gd name="T14" fmla="*/ 210 w 760"/>
                    <a:gd name="T15" fmla="*/ 124 h 534"/>
                    <a:gd name="T16" fmla="*/ 144 w 760"/>
                    <a:gd name="T17" fmla="*/ 107 h 534"/>
                    <a:gd name="T18" fmla="*/ 94 w 760"/>
                    <a:gd name="T19" fmla="*/ 107 h 534"/>
                    <a:gd name="T20" fmla="*/ 13 w 760"/>
                    <a:gd name="T21" fmla="*/ 113 h 534"/>
                    <a:gd name="T22" fmla="*/ 2 w 760"/>
                    <a:gd name="T23" fmla="*/ 139 h 534"/>
                    <a:gd name="T24" fmla="*/ 40 w 760"/>
                    <a:gd name="T25" fmla="*/ 166 h 534"/>
                    <a:gd name="T26" fmla="*/ 27 w 760"/>
                    <a:gd name="T27" fmla="*/ 185 h 534"/>
                    <a:gd name="T28" fmla="*/ 53 w 760"/>
                    <a:gd name="T29" fmla="*/ 187 h 534"/>
                    <a:gd name="T30" fmla="*/ 77 w 760"/>
                    <a:gd name="T31" fmla="*/ 179 h 534"/>
                    <a:gd name="T32" fmla="*/ 107 w 760"/>
                    <a:gd name="T33" fmla="*/ 201 h 534"/>
                    <a:gd name="T34" fmla="*/ 131 w 760"/>
                    <a:gd name="T35" fmla="*/ 224 h 534"/>
                    <a:gd name="T36" fmla="*/ 153 w 760"/>
                    <a:gd name="T37" fmla="*/ 270 h 534"/>
                    <a:gd name="T38" fmla="*/ 146 w 760"/>
                    <a:gd name="T39" fmla="*/ 283 h 534"/>
                    <a:gd name="T40" fmla="*/ 164 w 760"/>
                    <a:gd name="T41" fmla="*/ 323 h 534"/>
                    <a:gd name="T42" fmla="*/ 194 w 760"/>
                    <a:gd name="T43" fmla="*/ 349 h 534"/>
                    <a:gd name="T44" fmla="*/ 253 w 760"/>
                    <a:gd name="T45" fmla="*/ 325 h 534"/>
                    <a:gd name="T46" fmla="*/ 314 w 760"/>
                    <a:gd name="T47" fmla="*/ 333 h 534"/>
                    <a:gd name="T48" fmla="*/ 343 w 760"/>
                    <a:gd name="T49" fmla="*/ 325 h 534"/>
                    <a:gd name="T50" fmla="*/ 363 w 760"/>
                    <a:gd name="T51" fmla="*/ 333 h 534"/>
                    <a:gd name="T52" fmla="*/ 378 w 760"/>
                    <a:gd name="T53" fmla="*/ 345 h 534"/>
                    <a:gd name="T54" fmla="*/ 411 w 760"/>
                    <a:gd name="T55" fmla="*/ 369 h 534"/>
                    <a:gd name="T56" fmla="*/ 443 w 760"/>
                    <a:gd name="T57" fmla="*/ 410 h 534"/>
                    <a:gd name="T58" fmla="*/ 457 w 760"/>
                    <a:gd name="T59" fmla="*/ 436 h 534"/>
                    <a:gd name="T60" fmla="*/ 463 w 760"/>
                    <a:gd name="T61" fmla="*/ 425 h 534"/>
                    <a:gd name="T62" fmla="*/ 498 w 760"/>
                    <a:gd name="T63" fmla="*/ 475 h 534"/>
                    <a:gd name="T64" fmla="*/ 522 w 760"/>
                    <a:gd name="T65" fmla="*/ 495 h 534"/>
                    <a:gd name="T66" fmla="*/ 581 w 760"/>
                    <a:gd name="T67" fmla="*/ 534 h 534"/>
                    <a:gd name="T68" fmla="*/ 640 w 760"/>
                    <a:gd name="T69" fmla="*/ 515 h 534"/>
                    <a:gd name="T70" fmla="*/ 718 w 760"/>
                    <a:gd name="T71" fmla="*/ 526 h 534"/>
                    <a:gd name="T72" fmla="*/ 734 w 760"/>
                    <a:gd name="T73" fmla="*/ 488 h 534"/>
                    <a:gd name="T74" fmla="*/ 716 w 760"/>
                    <a:gd name="T75" fmla="*/ 436 h 534"/>
                    <a:gd name="T76" fmla="*/ 690 w 760"/>
                    <a:gd name="T77" fmla="*/ 412 h 534"/>
                    <a:gd name="T78" fmla="*/ 672 w 760"/>
                    <a:gd name="T79" fmla="*/ 393 h 534"/>
                    <a:gd name="T80" fmla="*/ 649 w 760"/>
                    <a:gd name="T81" fmla="*/ 380 h 534"/>
                    <a:gd name="T82" fmla="*/ 659 w 760"/>
                    <a:gd name="T83" fmla="*/ 336 h 534"/>
                    <a:gd name="T84" fmla="*/ 653 w 760"/>
                    <a:gd name="T85" fmla="*/ 309 h 534"/>
                    <a:gd name="T86" fmla="*/ 677 w 760"/>
                    <a:gd name="T87" fmla="*/ 283 h 534"/>
                    <a:gd name="T88" fmla="*/ 705 w 760"/>
                    <a:gd name="T89" fmla="*/ 235 h 534"/>
                    <a:gd name="T90" fmla="*/ 703 w 760"/>
                    <a:gd name="T91" fmla="*/ 220 h 534"/>
                    <a:gd name="T92" fmla="*/ 710 w 760"/>
                    <a:gd name="T93" fmla="*/ 194 h 534"/>
                    <a:gd name="T94" fmla="*/ 755 w 760"/>
                    <a:gd name="T95" fmla="*/ 165 h 534"/>
                    <a:gd name="T96" fmla="*/ 721 w 760"/>
                    <a:gd name="T97" fmla="*/ 104 h 534"/>
                    <a:gd name="T98" fmla="*/ 703 w 760"/>
                    <a:gd name="T99" fmla="*/ 106 h 534"/>
                    <a:gd name="T100" fmla="*/ 697 w 760"/>
                    <a:gd name="T101" fmla="*/ 120 h 534"/>
                    <a:gd name="T102" fmla="*/ 684 w 760"/>
                    <a:gd name="T103" fmla="*/ 126 h 534"/>
                    <a:gd name="T104" fmla="*/ 659 w 760"/>
                    <a:gd name="T105" fmla="*/ 161 h 534"/>
                    <a:gd name="T106" fmla="*/ 629 w 760"/>
                    <a:gd name="T107" fmla="*/ 179 h 534"/>
                    <a:gd name="T108" fmla="*/ 609 w 760"/>
                    <a:gd name="T109" fmla="*/ 190 h 534"/>
                    <a:gd name="T110" fmla="*/ 574 w 760"/>
                    <a:gd name="T111" fmla="*/ 168 h 534"/>
                    <a:gd name="T112" fmla="*/ 526 w 760"/>
                    <a:gd name="T113" fmla="*/ 152 h 534"/>
                    <a:gd name="T114" fmla="*/ 540 w 760"/>
                    <a:gd name="T115" fmla="*/ 124 h 534"/>
                    <a:gd name="T116" fmla="*/ 550 w 760"/>
                    <a:gd name="T117" fmla="*/ 76 h 534"/>
                    <a:gd name="T118" fmla="*/ 577 w 760"/>
                    <a:gd name="T119" fmla="*/ 13 h 534"/>
                    <a:gd name="T120" fmla="*/ 559 w 760"/>
                    <a:gd name="T121" fmla="*/ 6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60" h="534">
                      <a:moveTo>
                        <a:pt x="557" y="0"/>
                      </a:moveTo>
                      <a:lnTo>
                        <a:pt x="550" y="2"/>
                      </a:lnTo>
                      <a:lnTo>
                        <a:pt x="550" y="2"/>
                      </a:lnTo>
                      <a:lnTo>
                        <a:pt x="542" y="4"/>
                      </a:lnTo>
                      <a:lnTo>
                        <a:pt x="537" y="4"/>
                      </a:lnTo>
                      <a:lnTo>
                        <a:pt x="529" y="6"/>
                      </a:lnTo>
                      <a:lnTo>
                        <a:pt x="529" y="8"/>
                      </a:lnTo>
                      <a:lnTo>
                        <a:pt x="528" y="11"/>
                      </a:lnTo>
                      <a:lnTo>
                        <a:pt x="528" y="15"/>
                      </a:lnTo>
                      <a:lnTo>
                        <a:pt x="526" y="19"/>
                      </a:lnTo>
                      <a:lnTo>
                        <a:pt x="517" y="22"/>
                      </a:lnTo>
                      <a:lnTo>
                        <a:pt x="505" y="26"/>
                      </a:lnTo>
                      <a:lnTo>
                        <a:pt x="496" y="30"/>
                      </a:lnTo>
                      <a:lnTo>
                        <a:pt x="485" y="34"/>
                      </a:lnTo>
                      <a:lnTo>
                        <a:pt x="476" y="37"/>
                      </a:lnTo>
                      <a:lnTo>
                        <a:pt x="465" y="41"/>
                      </a:lnTo>
                      <a:lnTo>
                        <a:pt x="456" y="45"/>
                      </a:lnTo>
                      <a:lnTo>
                        <a:pt x="446" y="48"/>
                      </a:lnTo>
                      <a:lnTo>
                        <a:pt x="437" y="52"/>
                      </a:lnTo>
                      <a:lnTo>
                        <a:pt x="428" y="58"/>
                      </a:lnTo>
                      <a:lnTo>
                        <a:pt x="424" y="61"/>
                      </a:lnTo>
                      <a:lnTo>
                        <a:pt x="419" y="63"/>
                      </a:lnTo>
                      <a:lnTo>
                        <a:pt x="415" y="67"/>
                      </a:lnTo>
                      <a:lnTo>
                        <a:pt x="415" y="67"/>
                      </a:lnTo>
                      <a:lnTo>
                        <a:pt x="411" y="70"/>
                      </a:lnTo>
                      <a:lnTo>
                        <a:pt x="411" y="74"/>
                      </a:lnTo>
                      <a:lnTo>
                        <a:pt x="413" y="78"/>
                      </a:lnTo>
                      <a:lnTo>
                        <a:pt x="415" y="83"/>
                      </a:lnTo>
                      <a:lnTo>
                        <a:pt x="415" y="89"/>
                      </a:lnTo>
                      <a:lnTo>
                        <a:pt x="415" y="89"/>
                      </a:lnTo>
                      <a:lnTo>
                        <a:pt x="408" y="89"/>
                      </a:lnTo>
                      <a:lnTo>
                        <a:pt x="402" y="89"/>
                      </a:lnTo>
                      <a:lnTo>
                        <a:pt x="395" y="89"/>
                      </a:lnTo>
                      <a:lnTo>
                        <a:pt x="389" y="89"/>
                      </a:lnTo>
                      <a:lnTo>
                        <a:pt x="384" y="91"/>
                      </a:lnTo>
                      <a:lnTo>
                        <a:pt x="378" y="91"/>
                      </a:lnTo>
                      <a:lnTo>
                        <a:pt x="373" y="93"/>
                      </a:lnTo>
                      <a:lnTo>
                        <a:pt x="367" y="93"/>
                      </a:lnTo>
                      <a:lnTo>
                        <a:pt x="358" y="96"/>
                      </a:lnTo>
                      <a:lnTo>
                        <a:pt x="347" y="100"/>
                      </a:lnTo>
                      <a:lnTo>
                        <a:pt x="334" y="102"/>
                      </a:lnTo>
                      <a:lnTo>
                        <a:pt x="323" y="106"/>
                      </a:lnTo>
                      <a:lnTo>
                        <a:pt x="323" y="111"/>
                      </a:lnTo>
                      <a:lnTo>
                        <a:pt x="323" y="117"/>
                      </a:lnTo>
                      <a:lnTo>
                        <a:pt x="321" y="117"/>
                      </a:lnTo>
                      <a:lnTo>
                        <a:pt x="315" y="117"/>
                      </a:lnTo>
                      <a:lnTo>
                        <a:pt x="312" y="117"/>
                      </a:lnTo>
                      <a:lnTo>
                        <a:pt x="312" y="120"/>
                      </a:lnTo>
                      <a:lnTo>
                        <a:pt x="312" y="128"/>
                      </a:lnTo>
                      <a:lnTo>
                        <a:pt x="312" y="128"/>
                      </a:lnTo>
                      <a:lnTo>
                        <a:pt x="306" y="128"/>
                      </a:lnTo>
                      <a:lnTo>
                        <a:pt x="302" y="130"/>
                      </a:lnTo>
                      <a:lnTo>
                        <a:pt x="297" y="130"/>
                      </a:lnTo>
                      <a:lnTo>
                        <a:pt x="297" y="130"/>
                      </a:lnTo>
                      <a:lnTo>
                        <a:pt x="291" y="131"/>
                      </a:lnTo>
                      <a:lnTo>
                        <a:pt x="291" y="131"/>
                      </a:lnTo>
                      <a:lnTo>
                        <a:pt x="290" y="126"/>
                      </a:lnTo>
                      <a:lnTo>
                        <a:pt x="290" y="126"/>
                      </a:lnTo>
                      <a:lnTo>
                        <a:pt x="288" y="122"/>
                      </a:lnTo>
                      <a:lnTo>
                        <a:pt x="280" y="122"/>
                      </a:lnTo>
                      <a:lnTo>
                        <a:pt x="271" y="124"/>
                      </a:lnTo>
                      <a:lnTo>
                        <a:pt x="262" y="126"/>
                      </a:lnTo>
                      <a:lnTo>
                        <a:pt x="253" y="126"/>
                      </a:lnTo>
                      <a:lnTo>
                        <a:pt x="243" y="128"/>
                      </a:lnTo>
                      <a:lnTo>
                        <a:pt x="234" y="130"/>
                      </a:lnTo>
                      <a:lnTo>
                        <a:pt x="225" y="130"/>
                      </a:lnTo>
                      <a:lnTo>
                        <a:pt x="216" y="131"/>
                      </a:lnTo>
                      <a:lnTo>
                        <a:pt x="216" y="131"/>
                      </a:lnTo>
                      <a:lnTo>
                        <a:pt x="214" y="130"/>
                      </a:lnTo>
                      <a:lnTo>
                        <a:pt x="212" y="128"/>
                      </a:lnTo>
                      <a:lnTo>
                        <a:pt x="212" y="126"/>
                      </a:lnTo>
                      <a:lnTo>
                        <a:pt x="210" y="124"/>
                      </a:lnTo>
                      <a:lnTo>
                        <a:pt x="205" y="120"/>
                      </a:lnTo>
                      <a:lnTo>
                        <a:pt x="201" y="117"/>
                      </a:lnTo>
                      <a:lnTo>
                        <a:pt x="195" y="115"/>
                      </a:lnTo>
                      <a:lnTo>
                        <a:pt x="190" y="113"/>
                      </a:lnTo>
                      <a:lnTo>
                        <a:pt x="184" y="111"/>
                      </a:lnTo>
                      <a:lnTo>
                        <a:pt x="179" y="111"/>
                      </a:lnTo>
                      <a:lnTo>
                        <a:pt x="166" y="109"/>
                      </a:lnTo>
                      <a:lnTo>
                        <a:pt x="155" y="107"/>
                      </a:lnTo>
                      <a:lnTo>
                        <a:pt x="144" y="107"/>
                      </a:lnTo>
                      <a:lnTo>
                        <a:pt x="134" y="107"/>
                      </a:lnTo>
                      <a:lnTo>
                        <a:pt x="133" y="111"/>
                      </a:lnTo>
                      <a:lnTo>
                        <a:pt x="131" y="117"/>
                      </a:lnTo>
                      <a:lnTo>
                        <a:pt x="129" y="117"/>
                      </a:lnTo>
                      <a:lnTo>
                        <a:pt x="122" y="115"/>
                      </a:lnTo>
                      <a:lnTo>
                        <a:pt x="116" y="113"/>
                      </a:lnTo>
                      <a:lnTo>
                        <a:pt x="109" y="111"/>
                      </a:lnTo>
                      <a:lnTo>
                        <a:pt x="101" y="109"/>
                      </a:lnTo>
                      <a:lnTo>
                        <a:pt x="94" y="107"/>
                      </a:lnTo>
                      <a:lnTo>
                        <a:pt x="87" y="107"/>
                      </a:lnTo>
                      <a:lnTo>
                        <a:pt x="79" y="106"/>
                      </a:lnTo>
                      <a:lnTo>
                        <a:pt x="72" y="106"/>
                      </a:lnTo>
                      <a:lnTo>
                        <a:pt x="59" y="106"/>
                      </a:lnTo>
                      <a:lnTo>
                        <a:pt x="44" y="106"/>
                      </a:lnTo>
                      <a:lnTo>
                        <a:pt x="29" y="106"/>
                      </a:lnTo>
                      <a:lnTo>
                        <a:pt x="15" y="107"/>
                      </a:lnTo>
                      <a:lnTo>
                        <a:pt x="15" y="109"/>
                      </a:lnTo>
                      <a:lnTo>
                        <a:pt x="13" y="113"/>
                      </a:lnTo>
                      <a:lnTo>
                        <a:pt x="13" y="115"/>
                      </a:lnTo>
                      <a:lnTo>
                        <a:pt x="11" y="118"/>
                      </a:lnTo>
                      <a:lnTo>
                        <a:pt x="11" y="118"/>
                      </a:lnTo>
                      <a:lnTo>
                        <a:pt x="7" y="120"/>
                      </a:lnTo>
                      <a:lnTo>
                        <a:pt x="5" y="120"/>
                      </a:lnTo>
                      <a:lnTo>
                        <a:pt x="2" y="122"/>
                      </a:lnTo>
                      <a:lnTo>
                        <a:pt x="0" y="122"/>
                      </a:lnTo>
                      <a:lnTo>
                        <a:pt x="0" y="130"/>
                      </a:lnTo>
                      <a:lnTo>
                        <a:pt x="2" y="139"/>
                      </a:lnTo>
                      <a:lnTo>
                        <a:pt x="3" y="146"/>
                      </a:lnTo>
                      <a:lnTo>
                        <a:pt x="3" y="155"/>
                      </a:lnTo>
                      <a:lnTo>
                        <a:pt x="13" y="155"/>
                      </a:lnTo>
                      <a:lnTo>
                        <a:pt x="24" y="157"/>
                      </a:lnTo>
                      <a:lnTo>
                        <a:pt x="33" y="159"/>
                      </a:lnTo>
                      <a:lnTo>
                        <a:pt x="42" y="159"/>
                      </a:lnTo>
                      <a:lnTo>
                        <a:pt x="42" y="161"/>
                      </a:lnTo>
                      <a:lnTo>
                        <a:pt x="42" y="163"/>
                      </a:lnTo>
                      <a:lnTo>
                        <a:pt x="40" y="166"/>
                      </a:lnTo>
                      <a:lnTo>
                        <a:pt x="39" y="170"/>
                      </a:lnTo>
                      <a:lnTo>
                        <a:pt x="39" y="174"/>
                      </a:lnTo>
                      <a:lnTo>
                        <a:pt x="39" y="174"/>
                      </a:lnTo>
                      <a:lnTo>
                        <a:pt x="35" y="174"/>
                      </a:lnTo>
                      <a:lnTo>
                        <a:pt x="31" y="176"/>
                      </a:lnTo>
                      <a:lnTo>
                        <a:pt x="29" y="176"/>
                      </a:lnTo>
                      <a:lnTo>
                        <a:pt x="27" y="177"/>
                      </a:lnTo>
                      <a:lnTo>
                        <a:pt x="27" y="181"/>
                      </a:lnTo>
                      <a:lnTo>
                        <a:pt x="27" y="185"/>
                      </a:lnTo>
                      <a:lnTo>
                        <a:pt x="27" y="189"/>
                      </a:lnTo>
                      <a:lnTo>
                        <a:pt x="27" y="192"/>
                      </a:lnTo>
                      <a:lnTo>
                        <a:pt x="33" y="194"/>
                      </a:lnTo>
                      <a:lnTo>
                        <a:pt x="40" y="194"/>
                      </a:lnTo>
                      <a:lnTo>
                        <a:pt x="46" y="196"/>
                      </a:lnTo>
                      <a:lnTo>
                        <a:pt x="53" y="198"/>
                      </a:lnTo>
                      <a:lnTo>
                        <a:pt x="53" y="192"/>
                      </a:lnTo>
                      <a:lnTo>
                        <a:pt x="53" y="187"/>
                      </a:lnTo>
                      <a:lnTo>
                        <a:pt x="53" y="187"/>
                      </a:lnTo>
                      <a:lnTo>
                        <a:pt x="59" y="185"/>
                      </a:lnTo>
                      <a:lnTo>
                        <a:pt x="63" y="181"/>
                      </a:lnTo>
                      <a:lnTo>
                        <a:pt x="63" y="181"/>
                      </a:lnTo>
                      <a:lnTo>
                        <a:pt x="66" y="181"/>
                      </a:lnTo>
                      <a:lnTo>
                        <a:pt x="70" y="179"/>
                      </a:lnTo>
                      <a:lnTo>
                        <a:pt x="70" y="179"/>
                      </a:lnTo>
                      <a:lnTo>
                        <a:pt x="74" y="179"/>
                      </a:lnTo>
                      <a:lnTo>
                        <a:pt x="74" y="179"/>
                      </a:lnTo>
                      <a:lnTo>
                        <a:pt x="77" y="179"/>
                      </a:lnTo>
                      <a:lnTo>
                        <a:pt x="77" y="179"/>
                      </a:lnTo>
                      <a:lnTo>
                        <a:pt x="81" y="179"/>
                      </a:lnTo>
                      <a:lnTo>
                        <a:pt x="88" y="179"/>
                      </a:lnTo>
                      <a:lnTo>
                        <a:pt x="90" y="187"/>
                      </a:lnTo>
                      <a:lnTo>
                        <a:pt x="94" y="194"/>
                      </a:lnTo>
                      <a:lnTo>
                        <a:pt x="98" y="201"/>
                      </a:lnTo>
                      <a:lnTo>
                        <a:pt x="99" y="207"/>
                      </a:lnTo>
                      <a:lnTo>
                        <a:pt x="103" y="205"/>
                      </a:lnTo>
                      <a:lnTo>
                        <a:pt x="107" y="201"/>
                      </a:lnTo>
                      <a:lnTo>
                        <a:pt x="107" y="201"/>
                      </a:lnTo>
                      <a:lnTo>
                        <a:pt x="110" y="201"/>
                      </a:lnTo>
                      <a:lnTo>
                        <a:pt x="114" y="201"/>
                      </a:lnTo>
                      <a:lnTo>
                        <a:pt x="118" y="201"/>
                      </a:lnTo>
                      <a:lnTo>
                        <a:pt x="122" y="203"/>
                      </a:lnTo>
                      <a:lnTo>
                        <a:pt x="125" y="211"/>
                      </a:lnTo>
                      <a:lnTo>
                        <a:pt x="129" y="218"/>
                      </a:lnTo>
                      <a:lnTo>
                        <a:pt x="131" y="224"/>
                      </a:lnTo>
                      <a:lnTo>
                        <a:pt x="131" y="224"/>
                      </a:lnTo>
                      <a:lnTo>
                        <a:pt x="133" y="231"/>
                      </a:lnTo>
                      <a:lnTo>
                        <a:pt x="134" y="238"/>
                      </a:lnTo>
                      <a:lnTo>
                        <a:pt x="134" y="246"/>
                      </a:lnTo>
                      <a:lnTo>
                        <a:pt x="136" y="253"/>
                      </a:lnTo>
                      <a:lnTo>
                        <a:pt x="136" y="253"/>
                      </a:lnTo>
                      <a:lnTo>
                        <a:pt x="136" y="261"/>
                      </a:lnTo>
                      <a:lnTo>
                        <a:pt x="142" y="264"/>
                      </a:lnTo>
                      <a:lnTo>
                        <a:pt x="147" y="266"/>
                      </a:lnTo>
                      <a:lnTo>
                        <a:pt x="153" y="270"/>
                      </a:lnTo>
                      <a:lnTo>
                        <a:pt x="158" y="273"/>
                      </a:lnTo>
                      <a:lnTo>
                        <a:pt x="158" y="273"/>
                      </a:lnTo>
                      <a:lnTo>
                        <a:pt x="158" y="281"/>
                      </a:lnTo>
                      <a:lnTo>
                        <a:pt x="158" y="286"/>
                      </a:lnTo>
                      <a:lnTo>
                        <a:pt x="158" y="286"/>
                      </a:lnTo>
                      <a:lnTo>
                        <a:pt x="155" y="285"/>
                      </a:lnTo>
                      <a:lnTo>
                        <a:pt x="151" y="285"/>
                      </a:lnTo>
                      <a:lnTo>
                        <a:pt x="147" y="283"/>
                      </a:lnTo>
                      <a:lnTo>
                        <a:pt x="146" y="283"/>
                      </a:lnTo>
                      <a:lnTo>
                        <a:pt x="146" y="292"/>
                      </a:lnTo>
                      <a:lnTo>
                        <a:pt x="147" y="301"/>
                      </a:lnTo>
                      <a:lnTo>
                        <a:pt x="147" y="312"/>
                      </a:lnTo>
                      <a:lnTo>
                        <a:pt x="147" y="323"/>
                      </a:lnTo>
                      <a:lnTo>
                        <a:pt x="151" y="323"/>
                      </a:lnTo>
                      <a:lnTo>
                        <a:pt x="155" y="323"/>
                      </a:lnTo>
                      <a:lnTo>
                        <a:pt x="158" y="323"/>
                      </a:lnTo>
                      <a:lnTo>
                        <a:pt x="164" y="323"/>
                      </a:lnTo>
                      <a:lnTo>
                        <a:pt x="164" y="323"/>
                      </a:lnTo>
                      <a:lnTo>
                        <a:pt x="166" y="331"/>
                      </a:lnTo>
                      <a:lnTo>
                        <a:pt x="168" y="336"/>
                      </a:lnTo>
                      <a:lnTo>
                        <a:pt x="168" y="344"/>
                      </a:lnTo>
                      <a:lnTo>
                        <a:pt x="170" y="349"/>
                      </a:lnTo>
                      <a:lnTo>
                        <a:pt x="173" y="349"/>
                      </a:lnTo>
                      <a:lnTo>
                        <a:pt x="177" y="349"/>
                      </a:lnTo>
                      <a:lnTo>
                        <a:pt x="181" y="349"/>
                      </a:lnTo>
                      <a:lnTo>
                        <a:pt x="186" y="349"/>
                      </a:lnTo>
                      <a:lnTo>
                        <a:pt x="194" y="349"/>
                      </a:lnTo>
                      <a:lnTo>
                        <a:pt x="203" y="347"/>
                      </a:lnTo>
                      <a:lnTo>
                        <a:pt x="210" y="344"/>
                      </a:lnTo>
                      <a:lnTo>
                        <a:pt x="216" y="340"/>
                      </a:lnTo>
                      <a:lnTo>
                        <a:pt x="223" y="338"/>
                      </a:lnTo>
                      <a:lnTo>
                        <a:pt x="230" y="333"/>
                      </a:lnTo>
                      <a:lnTo>
                        <a:pt x="238" y="329"/>
                      </a:lnTo>
                      <a:lnTo>
                        <a:pt x="245" y="325"/>
                      </a:lnTo>
                      <a:lnTo>
                        <a:pt x="245" y="325"/>
                      </a:lnTo>
                      <a:lnTo>
                        <a:pt x="253" y="325"/>
                      </a:lnTo>
                      <a:lnTo>
                        <a:pt x="256" y="325"/>
                      </a:lnTo>
                      <a:lnTo>
                        <a:pt x="262" y="325"/>
                      </a:lnTo>
                      <a:lnTo>
                        <a:pt x="262" y="325"/>
                      </a:lnTo>
                      <a:lnTo>
                        <a:pt x="267" y="327"/>
                      </a:lnTo>
                      <a:lnTo>
                        <a:pt x="275" y="329"/>
                      </a:lnTo>
                      <a:lnTo>
                        <a:pt x="284" y="331"/>
                      </a:lnTo>
                      <a:lnTo>
                        <a:pt x="297" y="333"/>
                      </a:lnTo>
                      <a:lnTo>
                        <a:pt x="312" y="336"/>
                      </a:lnTo>
                      <a:lnTo>
                        <a:pt x="314" y="333"/>
                      </a:lnTo>
                      <a:lnTo>
                        <a:pt x="314" y="333"/>
                      </a:lnTo>
                      <a:lnTo>
                        <a:pt x="314" y="331"/>
                      </a:lnTo>
                      <a:lnTo>
                        <a:pt x="314" y="331"/>
                      </a:lnTo>
                      <a:lnTo>
                        <a:pt x="315" y="327"/>
                      </a:lnTo>
                      <a:lnTo>
                        <a:pt x="317" y="321"/>
                      </a:lnTo>
                      <a:lnTo>
                        <a:pt x="317" y="321"/>
                      </a:lnTo>
                      <a:lnTo>
                        <a:pt x="326" y="323"/>
                      </a:lnTo>
                      <a:lnTo>
                        <a:pt x="334" y="323"/>
                      </a:lnTo>
                      <a:lnTo>
                        <a:pt x="343" y="325"/>
                      </a:lnTo>
                      <a:lnTo>
                        <a:pt x="352" y="325"/>
                      </a:lnTo>
                      <a:lnTo>
                        <a:pt x="352" y="327"/>
                      </a:lnTo>
                      <a:lnTo>
                        <a:pt x="354" y="329"/>
                      </a:lnTo>
                      <a:lnTo>
                        <a:pt x="356" y="333"/>
                      </a:lnTo>
                      <a:lnTo>
                        <a:pt x="358" y="336"/>
                      </a:lnTo>
                      <a:lnTo>
                        <a:pt x="358" y="338"/>
                      </a:lnTo>
                      <a:lnTo>
                        <a:pt x="360" y="334"/>
                      </a:lnTo>
                      <a:lnTo>
                        <a:pt x="360" y="334"/>
                      </a:lnTo>
                      <a:lnTo>
                        <a:pt x="363" y="333"/>
                      </a:lnTo>
                      <a:lnTo>
                        <a:pt x="363" y="333"/>
                      </a:lnTo>
                      <a:lnTo>
                        <a:pt x="367" y="334"/>
                      </a:lnTo>
                      <a:lnTo>
                        <a:pt x="369" y="338"/>
                      </a:lnTo>
                      <a:lnTo>
                        <a:pt x="371" y="334"/>
                      </a:lnTo>
                      <a:lnTo>
                        <a:pt x="374" y="331"/>
                      </a:lnTo>
                      <a:lnTo>
                        <a:pt x="374" y="333"/>
                      </a:lnTo>
                      <a:lnTo>
                        <a:pt x="376" y="336"/>
                      </a:lnTo>
                      <a:lnTo>
                        <a:pt x="376" y="342"/>
                      </a:lnTo>
                      <a:lnTo>
                        <a:pt x="378" y="345"/>
                      </a:lnTo>
                      <a:lnTo>
                        <a:pt x="378" y="349"/>
                      </a:lnTo>
                      <a:lnTo>
                        <a:pt x="385" y="351"/>
                      </a:lnTo>
                      <a:lnTo>
                        <a:pt x="391" y="355"/>
                      </a:lnTo>
                      <a:lnTo>
                        <a:pt x="398" y="356"/>
                      </a:lnTo>
                      <a:lnTo>
                        <a:pt x="406" y="360"/>
                      </a:lnTo>
                      <a:lnTo>
                        <a:pt x="406" y="360"/>
                      </a:lnTo>
                      <a:lnTo>
                        <a:pt x="406" y="366"/>
                      </a:lnTo>
                      <a:lnTo>
                        <a:pt x="406" y="371"/>
                      </a:lnTo>
                      <a:lnTo>
                        <a:pt x="411" y="369"/>
                      </a:lnTo>
                      <a:lnTo>
                        <a:pt x="417" y="369"/>
                      </a:lnTo>
                      <a:lnTo>
                        <a:pt x="417" y="371"/>
                      </a:lnTo>
                      <a:lnTo>
                        <a:pt x="419" y="375"/>
                      </a:lnTo>
                      <a:lnTo>
                        <a:pt x="421" y="379"/>
                      </a:lnTo>
                      <a:lnTo>
                        <a:pt x="424" y="384"/>
                      </a:lnTo>
                      <a:lnTo>
                        <a:pt x="426" y="388"/>
                      </a:lnTo>
                      <a:lnTo>
                        <a:pt x="432" y="395"/>
                      </a:lnTo>
                      <a:lnTo>
                        <a:pt x="437" y="403"/>
                      </a:lnTo>
                      <a:lnTo>
                        <a:pt x="443" y="410"/>
                      </a:lnTo>
                      <a:lnTo>
                        <a:pt x="448" y="419"/>
                      </a:lnTo>
                      <a:lnTo>
                        <a:pt x="450" y="423"/>
                      </a:lnTo>
                      <a:lnTo>
                        <a:pt x="450" y="423"/>
                      </a:lnTo>
                      <a:lnTo>
                        <a:pt x="452" y="427"/>
                      </a:lnTo>
                      <a:lnTo>
                        <a:pt x="452" y="427"/>
                      </a:lnTo>
                      <a:lnTo>
                        <a:pt x="454" y="432"/>
                      </a:lnTo>
                      <a:lnTo>
                        <a:pt x="456" y="436"/>
                      </a:lnTo>
                      <a:lnTo>
                        <a:pt x="456" y="436"/>
                      </a:lnTo>
                      <a:lnTo>
                        <a:pt x="457" y="436"/>
                      </a:lnTo>
                      <a:lnTo>
                        <a:pt x="457" y="436"/>
                      </a:lnTo>
                      <a:lnTo>
                        <a:pt x="459" y="434"/>
                      </a:lnTo>
                      <a:lnTo>
                        <a:pt x="459" y="434"/>
                      </a:lnTo>
                      <a:lnTo>
                        <a:pt x="459" y="432"/>
                      </a:lnTo>
                      <a:lnTo>
                        <a:pt x="459" y="428"/>
                      </a:lnTo>
                      <a:lnTo>
                        <a:pt x="459" y="425"/>
                      </a:lnTo>
                      <a:lnTo>
                        <a:pt x="461" y="425"/>
                      </a:lnTo>
                      <a:lnTo>
                        <a:pt x="463" y="425"/>
                      </a:lnTo>
                      <a:lnTo>
                        <a:pt x="463" y="425"/>
                      </a:lnTo>
                      <a:lnTo>
                        <a:pt x="465" y="427"/>
                      </a:lnTo>
                      <a:lnTo>
                        <a:pt x="465" y="427"/>
                      </a:lnTo>
                      <a:lnTo>
                        <a:pt x="467" y="430"/>
                      </a:lnTo>
                      <a:lnTo>
                        <a:pt x="470" y="432"/>
                      </a:lnTo>
                      <a:lnTo>
                        <a:pt x="478" y="441"/>
                      </a:lnTo>
                      <a:lnTo>
                        <a:pt x="485" y="452"/>
                      </a:lnTo>
                      <a:lnTo>
                        <a:pt x="493" y="464"/>
                      </a:lnTo>
                      <a:lnTo>
                        <a:pt x="498" y="475"/>
                      </a:lnTo>
                      <a:lnTo>
                        <a:pt x="498" y="475"/>
                      </a:lnTo>
                      <a:lnTo>
                        <a:pt x="500" y="478"/>
                      </a:lnTo>
                      <a:lnTo>
                        <a:pt x="504" y="484"/>
                      </a:lnTo>
                      <a:lnTo>
                        <a:pt x="504" y="488"/>
                      </a:lnTo>
                      <a:lnTo>
                        <a:pt x="504" y="488"/>
                      </a:lnTo>
                      <a:lnTo>
                        <a:pt x="505" y="489"/>
                      </a:lnTo>
                      <a:lnTo>
                        <a:pt x="509" y="491"/>
                      </a:lnTo>
                      <a:lnTo>
                        <a:pt x="509" y="491"/>
                      </a:lnTo>
                      <a:lnTo>
                        <a:pt x="515" y="493"/>
                      </a:lnTo>
                      <a:lnTo>
                        <a:pt x="522" y="495"/>
                      </a:lnTo>
                      <a:lnTo>
                        <a:pt x="528" y="495"/>
                      </a:lnTo>
                      <a:lnTo>
                        <a:pt x="529" y="504"/>
                      </a:lnTo>
                      <a:lnTo>
                        <a:pt x="533" y="512"/>
                      </a:lnTo>
                      <a:lnTo>
                        <a:pt x="535" y="521"/>
                      </a:lnTo>
                      <a:lnTo>
                        <a:pt x="539" y="528"/>
                      </a:lnTo>
                      <a:lnTo>
                        <a:pt x="548" y="530"/>
                      </a:lnTo>
                      <a:lnTo>
                        <a:pt x="559" y="530"/>
                      </a:lnTo>
                      <a:lnTo>
                        <a:pt x="570" y="532"/>
                      </a:lnTo>
                      <a:lnTo>
                        <a:pt x="581" y="534"/>
                      </a:lnTo>
                      <a:lnTo>
                        <a:pt x="581" y="528"/>
                      </a:lnTo>
                      <a:lnTo>
                        <a:pt x="581" y="523"/>
                      </a:lnTo>
                      <a:lnTo>
                        <a:pt x="598" y="523"/>
                      </a:lnTo>
                      <a:lnTo>
                        <a:pt x="611" y="521"/>
                      </a:lnTo>
                      <a:lnTo>
                        <a:pt x="620" y="521"/>
                      </a:lnTo>
                      <a:lnTo>
                        <a:pt x="625" y="519"/>
                      </a:lnTo>
                      <a:lnTo>
                        <a:pt x="631" y="519"/>
                      </a:lnTo>
                      <a:lnTo>
                        <a:pt x="635" y="517"/>
                      </a:lnTo>
                      <a:lnTo>
                        <a:pt x="640" y="515"/>
                      </a:lnTo>
                      <a:lnTo>
                        <a:pt x="644" y="513"/>
                      </a:lnTo>
                      <a:lnTo>
                        <a:pt x="655" y="519"/>
                      </a:lnTo>
                      <a:lnTo>
                        <a:pt x="664" y="523"/>
                      </a:lnTo>
                      <a:lnTo>
                        <a:pt x="673" y="524"/>
                      </a:lnTo>
                      <a:lnTo>
                        <a:pt x="681" y="526"/>
                      </a:lnTo>
                      <a:lnTo>
                        <a:pt x="688" y="526"/>
                      </a:lnTo>
                      <a:lnTo>
                        <a:pt x="697" y="528"/>
                      </a:lnTo>
                      <a:lnTo>
                        <a:pt x="707" y="528"/>
                      </a:lnTo>
                      <a:lnTo>
                        <a:pt x="718" y="526"/>
                      </a:lnTo>
                      <a:lnTo>
                        <a:pt x="718" y="517"/>
                      </a:lnTo>
                      <a:lnTo>
                        <a:pt x="720" y="508"/>
                      </a:lnTo>
                      <a:lnTo>
                        <a:pt x="721" y="499"/>
                      </a:lnTo>
                      <a:lnTo>
                        <a:pt x="723" y="489"/>
                      </a:lnTo>
                      <a:lnTo>
                        <a:pt x="723" y="489"/>
                      </a:lnTo>
                      <a:lnTo>
                        <a:pt x="731" y="489"/>
                      </a:lnTo>
                      <a:lnTo>
                        <a:pt x="732" y="488"/>
                      </a:lnTo>
                      <a:lnTo>
                        <a:pt x="734" y="488"/>
                      </a:lnTo>
                      <a:lnTo>
                        <a:pt x="734" y="488"/>
                      </a:lnTo>
                      <a:lnTo>
                        <a:pt x="734" y="486"/>
                      </a:lnTo>
                      <a:lnTo>
                        <a:pt x="734" y="486"/>
                      </a:lnTo>
                      <a:lnTo>
                        <a:pt x="734" y="475"/>
                      </a:lnTo>
                      <a:lnTo>
                        <a:pt x="734" y="465"/>
                      </a:lnTo>
                      <a:lnTo>
                        <a:pt x="734" y="456"/>
                      </a:lnTo>
                      <a:lnTo>
                        <a:pt x="734" y="447"/>
                      </a:lnTo>
                      <a:lnTo>
                        <a:pt x="729" y="447"/>
                      </a:lnTo>
                      <a:lnTo>
                        <a:pt x="723" y="447"/>
                      </a:lnTo>
                      <a:lnTo>
                        <a:pt x="716" y="436"/>
                      </a:lnTo>
                      <a:lnTo>
                        <a:pt x="712" y="428"/>
                      </a:lnTo>
                      <a:lnTo>
                        <a:pt x="708" y="425"/>
                      </a:lnTo>
                      <a:lnTo>
                        <a:pt x="707" y="423"/>
                      </a:lnTo>
                      <a:lnTo>
                        <a:pt x="705" y="419"/>
                      </a:lnTo>
                      <a:lnTo>
                        <a:pt x="701" y="417"/>
                      </a:lnTo>
                      <a:lnTo>
                        <a:pt x="699" y="416"/>
                      </a:lnTo>
                      <a:lnTo>
                        <a:pt x="696" y="414"/>
                      </a:lnTo>
                      <a:lnTo>
                        <a:pt x="694" y="412"/>
                      </a:lnTo>
                      <a:lnTo>
                        <a:pt x="690" y="412"/>
                      </a:lnTo>
                      <a:lnTo>
                        <a:pt x="681" y="408"/>
                      </a:lnTo>
                      <a:lnTo>
                        <a:pt x="668" y="404"/>
                      </a:lnTo>
                      <a:lnTo>
                        <a:pt x="668" y="404"/>
                      </a:lnTo>
                      <a:lnTo>
                        <a:pt x="670" y="401"/>
                      </a:lnTo>
                      <a:lnTo>
                        <a:pt x="672" y="397"/>
                      </a:lnTo>
                      <a:lnTo>
                        <a:pt x="672" y="397"/>
                      </a:lnTo>
                      <a:lnTo>
                        <a:pt x="672" y="395"/>
                      </a:lnTo>
                      <a:lnTo>
                        <a:pt x="672" y="395"/>
                      </a:lnTo>
                      <a:lnTo>
                        <a:pt x="672" y="393"/>
                      </a:lnTo>
                      <a:lnTo>
                        <a:pt x="670" y="393"/>
                      </a:lnTo>
                      <a:lnTo>
                        <a:pt x="664" y="395"/>
                      </a:lnTo>
                      <a:lnTo>
                        <a:pt x="660" y="395"/>
                      </a:lnTo>
                      <a:lnTo>
                        <a:pt x="655" y="397"/>
                      </a:lnTo>
                      <a:lnTo>
                        <a:pt x="655" y="395"/>
                      </a:lnTo>
                      <a:lnTo>
                        <a:pt x="653" y="390"/>
                      </a:lnTo>
                      <a:lnTo>
                        <a:pt x="651" y="386"/>
                      </a:lnTo>
                      <a:lnTo>
                        <a:pt x="651" y="386"/>
                      </a:lnTo>
                      <a:lnTo>
                        <a:pt x="649" y="380"/>
                      </a:lnTo>
                      <a:lnTo>
                        <a:pt x="646" y="373"/>
                      </a:lnTo>
                      <a:lnTo>
                        <a:pt x="648" y="373"/>
                      </a:lnTo>
                      <a:lnTo>
                        <a:pt x="651" y="371"/>
                      </a:lnTo>
                      <a:lnTo>
                        <a:pt x="651" y="371"/>
                      </a:lnTo>
                      <a:lnTo>
                        <a:pt x="657" y="369"/>
                      </a:lnTo>
                      <a:lnTo>
                        <a:pt x="657" y="362"/>
                      </a:lnTo>
                      <a:lnTo>
                        <a:pt x="657" y="353"/>
                      </a:lnTo>
                      <a:lnTo>
                        <a:pt x="659" y="344"/>
                      </a:lnTo>
                      <a:lnTo>
                        <a:pt x="659" y="336"/>
                      </a:lnTo>
                      <a:lnTo>
                        <a:pt x="659" y="333"/>
                      </a:lnTo>
                      <a:lnTo>
                        <a:pt x="657" y="329"/>
                      </a:lnTo>
                      <a:lnTo>
                        <a:pt x="657" y="325"/>
                      </a:lnTo>
                      <a:lnTo>
                        <a:pt x="657" y="321"/>
                      </a:lnTo>
                      <a:lnTo>
                        <a:pt x="657" y="321"/>
                      </a:lnTo>
                      <a:lnTo>
                        <a:pt x="655" y="316"/>
                      </a:lnTo>
                      <a:lnTo>
                        <a:pt x="655" y="312"/>
                      </a:lnTo>
                      <a:lnTo>
                        <a:pt x="653" y="309"/>
                      </a:lnTo>
                      <a:lnTo>
                        <a:pt x="653" y="309"/>
                      </a:lnTo>
                      <a:lnTo>
                        <a:pt x="649" y="305"/>
                      </a:lnTo>
                      <a:lnTo>
                        <a:pt x="651" y="303"/>
                      </a:lnTo>
                      <a:lnTo>
                        <a:pt x="657" y="303"/>
                      </a:lnTo>
                      <a:lnTo>
                        <a:pt x="660" y="301"/>
                      </a:lnTo>
                      <a:lnTo>
                        <a:pt x="664" y="297"/>
                      </a:lnTo>
                      <a:lnTo>
                        <a:pt x="668" y="294"/>
                      </a:lnTo>
                      <a:lnTo>
                        <a:pt x="672" y="290"/>
                      </a:lnTo>
                      <a:lnTo>
                        <a:pt x="673" y="286"/>
                      </a:lnTo>
                      <a:lnTo>
                        <a:pt x="677" y="283"/>
                      </a:lnTo>
                      <a:lnTo>
                        <a:pt x="679" y="277"/>
                      </a:lnTo>
                      <a:lnTo>
                        <a:pt x="684" y="268"/>
                      </a:lnTo>
                      <a:lnTo>
                        <a:pt x="688" y="259"/>
                      </a:lnTo>
                      <a:lnTo>
                        <a:pt x="690" y="248"/>
                      </a:lnTo>
                      <a:lnTo>
                        <a:pt x="696" y="238"/>
                      </a:lnTo>
                      <a:lnTo>
                        <a:pt x="696" y="238"/>
                      </a:lnTo>
                      <a:lnTo>
                        <a:pt x="699" y="238"/>
                      </a:lnTo>
                      <a:lnTo>
                        <a:pt x="701" y="237"/>
                      </a:lnTo>
                      <a:lnTo>
                        <a:pt x="705" y="235"/>
                      </a:lnTo>
                      <a:lnTo>
                        <a:pt x="707" y="233"/>
                      </a:lnTo>
                      <a:lnTo>
                        <a:pt x="708" y="231"/>
                      </a:lnTo>
                      <a:lnTo>
                        <a:pt x="710" y="229"/>
                      </a:lnTo>
                      <a:lnTo>
                        <a:pt x="712" y="225"/>
                      </a:lnTo>
                      <a:lnTo>
                        <a:pt x="712" y="225"/>
                      </a:lnTo>
                      <a:lnTo>
                        <a:pt x="712" y="224"/>
                      </a:lnTo>
                      <a:lnTo>
                        <a:pt x="710" y="222"/>
                      </a:lnTo>
                      <a:lnTo>
                        <a:pt x="707" y="220"/>
                      </a:lnTo>
                      <a:lnTo>
                        <a:pt x="703" y="220"/>
                      </a:lnTo>
                      <a:lnTo>
                        <a:pt x="699" y="218"/>
                      </a:lnTo>
                      <a:lnTo>
                        <a:pt x="699" y="218"/>
                      </a:lnTo>
                      <a:lnTo>
                        <a:pt x="697" y="213"/>
                      </a:lnTo>
                      <a:lnTo>
                        <a:pt x="697" y="207"/>
                      </a:lnTo>
                      <a:lnTo>
                        <a:pt x="696" y="201"/>
                      </a:lnTo>
                      <a:lnTo>
                        <a:pt x="694" y="196"/>
                      </a:lnTo>
                      <a:lnTo>
                        <a:pt x="696" y="194"/>
                      </a:lnTo>
                      <a:lnTo>
                        <a:pt x="703" y="194"/>
                      </a:lnTo>
                      <a:lnTo>
                        <a:pt x="710" y="194"/>
                      </a:lnTo>
                      <a:lnTo>
                        <a:pt x="720" y="192"/>
                      </a:lnTo>
                      <a:lnTo>
                        <a:pt x="727" y="192"/>
                      </a:lnTo>
                      <a:lnTo>
                        <a:pt x="736" y="192"/>
                      </a:lnTo>
                      <a:lnTo>
                        <a:pt x="744" y="190"/>
                      </a:lnTo>
                      <a:lnTo>
                        <a:pt x="753" y="190"/>
                      </a:lnTo>
                      <a:lnTo>
                        <a:pt x="760" y="189"/>
                      </a:lnTo>
                      <a:lnTo>
                        <a:pt x="758" y="181"/>
                      </a:lnTo>
                      <a:lnTo>
                        <a:pt x="756" y="174"/>
                      </a:lnTo>
                      <a:lnTo>
                        <a:pt x="755" y="165"/>
                      </a:lnTo>
                      <a:lnTo>
                        <a:pt x="755" y="157"/>
                      </a:lnTo>
                      <a:lnTo>
                        <a:pt x="749" y="157"/>
                      </a:lnTo>
                      <a:lnTo>
                        <a:pt x="744" y="157"/>
                      </a:lnTo>
                      <a:lnTo>
                        <a:pt x="740" y="144"/>
                      </a:lnTo>
                      <a:lnTo>
                        <a:pt x="738" y="130"/>
                      </a:lnTo>
                      <a:lnTo>
                        <a:pt x="734" y="117"/>
                      </a:lnTo>
                      <a:lnTo>
                        <a:pt x="732" y="104"/>
                      </a:lnTo>
                      <a:lnTo>
                        <a:pt x="727" y="104"/>
                      </a:lnTo>
                      <a:lnTo>
                        <a:pt x="721" y="104"/>
                      </a:lnTo>
                      <a:lnTo>
                        <a:pt x="721" y="102"/>
                      </a:lnTo>
                      <a:lnTo>
                        <a:pt x="721" y="98"/>
                      </a:lnTo>
                      <a:lnTo>
                        <a:pt x="721" y="93"/>
                      </a:lnTo>
                      <a:lnTo>
                        <a:pt x="718" y="93"/>
                      </a:lnTo>
                      <a:lnTo>
                        <a:pt x="714" y="93"/>
                      </a:lnTo>
                      <a:lnTo>
                        <a:pt x="710" y="93"/>
                      </a:lnTo>
                      <a:lnTo>
                        <a:pt x="707" y="93"/>
                      </a:lnTo>
                      <a:lnTo>
                        <a:pt x="705" y="100"/>
                      </a:lnTo>
                      <a:lnTo>
                        <a:pt x="703" y="106"/>
                      </a:lnTo>
                      <a:lnTo>
                        <a:pt x="703" y="106"/>
                      </a:lnTo>
                      <a:lnTo>
                        <a:pt x="701" y="109"/>
                      </a:lnTo>
                      <a:lnTo>
                        <a:pt x="701" y="111"/>
                      </a:lnTo>
                      <a:lnTo>
                        <a:pt x="701" y="111"/>
                      </a:lnTo>
                      <a:lnTo>
                        <a:pt x="699" y="115"/>
                      </a:lnTo>
                      <a:lnTo>
                        <a:pt x="699" y="117"/>
                      </a:lnTo>
                      <a:lnTo>
                        <a:pt x="699" y="117"/>
                      </a:lnTo>
                      <a:lnTo>
                        <a:pt x="697" y="118"/>
                      </a:lnTo>
                      <a:lnTo>
                        <a:pt x="697" y="120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4" y="122"/>
                      </a:lnTo>
                      <a:lnTo>
                        <a:pt x="692" y="122"/>
                      </a:lnTo>
                      <a:lnTo>
                        <a:pt x="690" y="124"/>
                      </a:lnTo>
                      <a:lnTo>
                        <a:pt x="688" y="126"/>
                      </a:lnTo>
                      <a:lnTo>
                        <a:pt x="688" y="126"/>
                      </a:lnTo>
                      <a:lnTo>
                        <a:pt x="684" y="126"/>
                      </a:lnTo>
                      <a:lnTo>
                        <a:pt x="684" y="126"/>
                      </a:lnTo>
                      <a:lnTo>
                        <a:pt x="681" y="126"/>
                      </a:lnTo>
                      <a:lnTo>
                        <a:pt x="677" y="128"/>
                      </a:lnTo>
                      <a:lnTo>
                        <a:pt x="673" y="135"/>
                      </a:lnTo>
                      <a:lnTo>
                        <a:pt x="670" y="142"/>
                      </a:lnTo>
                      <a:lnTo>
                        <a:pt x="668" y="150"/>
                      </a:lnTo>
                      <a:lnTo>
                        <a:pt x="662" y="159"/>
                      </a:lnTo>
                      <a:lnTo>
                        <a:pt x="662" y="159"/>
                      </a:lnTo>
                      <a:lnTo>
                        <a:pt x="659" y="161"/>
                      </a:lnTo>
                      <a:lnTo>
                        <a:pt x="659" y="161"/>
                      </a:lnTo>
                      <a:lnTo>
                        <a:pt x="655" y="161"/>
                      </a:lnTo>
                      <a:lnTo>
                        <a:pt x="649" y="163"/>
                      </a:lnTo>
                      <a:lnTo>
                        <a:pt x="646" y="163"/>
                      </a:lnTo>
                      <a:lnTo>
                        <a:pt x="646" y="168"/>
                      </a:lnTo>
                      <a:lnTo>
                        <a:pt x="646" y="174"/>
                      </a:lnTo>
                      <a:lnTo>
                        <a:pt x="646" y="174"/>
                      </a:lnTo>
                      <a:lnTo>
                        <a:pt x="640" y="176"/>
                      </a:lnTo>
                      <a:lnTo>
                        <a:pt x="635" y="177"/>
                      </a:lnTo>
                      <a:lnTo>
                        <a:pt x="629" y="179"/>
                      </a:lnTo>
                      <a:lnTo>
                        <a:pt x="624" y="179"/>
                      </a:lnTo>
                      <a:lnTo>
                        <a:pt x="624" y="185"/>
                      </a:lnTo>
                      <a:lnTo>
                        <a:pt x="624" y="192"/>
                      </a:lnTo>
                      <a:lnTo>
                        <a:pt x="624" y="192"/>
                      </a:lnTo>
                      <a:lnTo>
                        <a:pt x="620" y="190"/>
                      </a:lnTo>
                      <a:lnTo>
                        <a:pt x="616" y="189"/>
                      </a:lnTo>
                      <a:lnTo>
                        <a:pt x="614" y="189"/>
                      </a:lnTo>
                      <a:lnTo>
                        <a:pt x="611" y="187"/>
                      </a:lnTo>
                      <a:lnTo>
                        <a:pt x="609" y="190"/>
                      </a:lnTo>
                      <a:lnTo>
                        <a:pt x="607" y="198"/>
                      </a:lnTo>
                      <a:lnTo>
                        <a:pt x="607" y="198"/>
                      </a:lnTo>
                      <a:lnTo>
                        <a:pt x="603" y="198"/>
                      </a:lnTo>
                      <a:lnTo>
                        <a:pt x="600" y="198"/>
                      </a:lnTo>
                      <a:lnTo>
                        <a:pt x="594" y="198"/>
                      </a:lnTo>
                      <a:lnTo>
                        <a:pt x="590" y="198"/>
                      </a:lnTo>
                      <a:lnTo>
                        <a:pt x="585" y="187"/>
                      </a:lnTo>
                      <a:lnTo>
                        <a:pt x="579" y="177"/>
                      </a:lnTo>
                      <a:lnTo>
                        <a:pt x="574" y="168"/>
                      </a:lnTo>
                      <a:lnTo>
                        <a:pt x="574" y="168"/>
                      </a:lnTo>
                      <a:lnTo>
                        <a:pt x="570" y="159"/>
                      </a:lnTo>
                      <a:lnTo>
                        <a:pt x="559" y="163"/>
                      </a:lnTo>
                      <a:lnTo>
                        <a:pt x="548" y="165"/>
                      </a:lnTo>
                      <a:lnTo>
                        <a:pt x="537" y="166"/>
                      </a:lnTo>
                      <a:lnTo>
                        <a:pt x="524" y="170"/>
                      </a:lnTo>
                      <a:lnTo>
                        <a:pt x="524" y="168"/>
                      </a:lnTo>
                      <a:lnTo>
                        <a:pt x="526" y="161"/>
                      </a:lnTo>
                      <a:lnTo>
                        <a:pt x="526" y="152"/>
                      </a:lnTo>
                      <a:lnTo>
                        <a:pt x="528" y="142"/>
                      </a:lnTo>
                      <a:lnTo>
                        <a:pt x="528" y="133"/>
                      </a:lnTo>
                      <a:lnTo>
                        <a:pt x="528" y="133"/>
                      </a:lnTo>
                      <a:lnTo>
                        <a:pt x="531" y="133"/>
                      </a:lnTo>
                      <a:lnTo>
                        <a:pt x="531" y="133"/>
                      </a:lnTo>
                      <a:lnTo>
                        <a:pt x="535" y="131"/>
                      </a:lnTo>
                      <a:lnTo>
                        <a:pt x="537" y="131"/>
                      </a:lnTo>
                      <a:lnTo>
                        <a:pt x="540" y="131"/>
                      </a:lnTo>
                      <a:lnTo>
                        <a:pt x="540" y="124"/>
                      </a:lnTo>
                      <a:lnTo>
                        <a:pt x="540" y="115"/>
                      </a:lnTo>
                      <a:lnTo>
                        <a:pt x="542" y="109"/>
                      </a:lnTo>
                      <a:lnTo>
                        <a:pt x="542" y="102"/>
                      </a:lnTo>
                      <a:lnTo>
                        <a:pt x="542" y="102"/>
                      </a:lnTo>
                      <a:lnTo>
                        <a:pt x="544" y="94"/>
                      </a:lnTo>
                      <a:lnTo>
                        <a:pt x="546" y="89"/>
                      </a:lnTo>
                      <a:lnTo>
                        <a:pt x="548" y="83"/>
                      </a:lnTo>
                      <a:lnTo>
                        <a:pt x="548" y="83"/>
                      </a:lnTo>
                      <a:lnTo>
                        <a:pt x="550" y="76"/>
                      </a:lnTo>
                      <a:lnTo>
                        <a:pt x="553" y="63"/>
                      </a:lnTo>
                      <a:lnTo>
                        <a:pt x="557" y="50"/>
                      </a:lnTo>
                      <a:lnTo>
                        <a:pt x="563" y="37"/>
                      </a:lnTo>
                      <a:lnTo>
                        <a:pt x="568" y="21"/>
                      </a:lnTo>
                      <a:lnTo>
                        <a:pt x="568" y="21"/>
                      </a:lnTo>
                      <a:lnTo>
                        <a:pt x="574" y="21"/>
                      </a:lnTo>
                      <a:lnTo>
                        <a:pt x="577" y="21"/>
                      </a:lnTo>
                      <a:lnTo>
                        <a:pt x="577" y="17"/>
                      </a:lnTo>
                      <a:lnTo>
                        <a:pt x="577" y="13"/>
                      </a:lnTo>
                      <a:lnTo>
                        <a:pt x="577" y="10"/>
                      </a:lnTo>
                      <a:lnTo>
                        <a:pt x="577" y="6"/>
                      </a:lnTo>
                      <a:lnTo>
                        <a:pt x="574" y="6"/>
                      </a:lnTo>
                      <a:lnTo>
                        <a:pt x="570" y="8"/>
                      </a:lnTo>
                      <a:lnTo>
                        <a:pt x="566" y="10"/>
                      </a:lnTo>
                      <a:lnTo>
                        <a:pt x="561" y="10"/>
                      </a:lnTo>
                      <a:lnTo>
                        <a:pt x="561" y="10"/>
                      </a:lnTo>
                      <a:lnTo>
                        <a:pt x="559" y="6"/>
                      </a:lnTo>
                      <a:lnTo>
                        <a:pt x="559" y="6"/>
                      </a:lnTo>
                      <a:lnTo>
                        <a:pt x="55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6" name="Freeform 2990"/>
                <p:cNvSpPr>
                  <a:spLocks/>
                </p:cNvSpPr>
                <p:nvPr/>
              </p:nvSpPr>
              <p:spPr bwMode="auto">
                <a:xfrm>
                  <a:off x="4007" y="2360"/>
                  <a:ext cx="760" cy="534"/>
                </a:xfrm>
                <a:custGeom>
                  <a:avLst/>
                  <a:gdLst>
                    <a:gd name="T0" fmla="*/ 528 w 760"/>
                    <a:gd name="T1" fmla="*/ 15 h 534"/>
                    <a:gd name="T2" fmla="*/ 446 w 760"/>
                    <a:gd name="T3" fmla="*/ 48 h 534"/>
                    <a:gd name="T4" fmla="*/ 413 w 760"/>
                    <a:gd name="T5" fmla="*/ 78 h 534"/>
                    <a:gd name="T6" fmla="*/ 378 w 760"/>
                    <a:gd name="T7" fmla="*/ 91 h 534"/>
                    <a:gd name="T8" fmla="*/ 321 w 760"/>
                    <a:gd name="T9" fmla="*/ 117 h 534"/>
                    <a:gd name="T10" fmla="*/ 297 w 760"/>
                    <a:gd name="T11" fmla="*/ 130 h 534"/>
                    <a:gd name="T12" fmla="*/ 253 w 760"/>
                    <a:gd name="T13" fmla="*/ 126 h 534"/>
                    <a:gd name="T14" fmla="*/ 210 w 760"/>
                    <a:gd name="T15" fmla="*/ 124 h 534"/>
                    <a:gd name="T16" fmla="*/ 144 w 760"/>
                    <a:gd name="T17" fmla="*/ 107 h 534"/>
                    <a:gd name="T18" fmla="*/ 94 w 760"/>
                    <a:gd name="T19" fmla="*/ 107 h 534"/>
                    <a:gd name="T20" fmla="*/ 13 w 760"/>
                    <a:gd name="T21" fmla="*/ 113 h 534"/>
                    <a:gd name="T22" fmla="*/ 2 w 760"/>
                    <a:gd name="T23" fmla="*/ 139 h 534"/>
                    <a:gd name="T24" fmla="*/ 40 w 760"/>
                    <a:gd name="T25" fmla="*/ 166 h 534"/>
                    <a:gd name="T26" fmla="*/ 27 w 760"/>
                    <a:gd name="T27" fmla="*/ 185 h 534"/>
                    <a:gd name="T28" fmla="*/ 53 w 760"/>
                    <a:gd name="T29" fmla="*/ 187 h 534"/>
                    <a:gd name="T30" fmla="*/ 77 w 760"/>
                    <a:gd name="T31" fmla="*/ 179 h 534"/>
                    <a:gd name="T32" fmla="*/ 107 w 760"/>
                    <a:gd name="T33" fmla="*/ 201 h 534"/>
                    <a:gd name="T34" fmla="*/ 131 w 760"/>
                    <a:gd name="T35" fmla="*/ 224 h 534"/>
                    <a:gd name="T36" fmla="*/ 153 w 760"/>
                    <a:gd name="T37" fmla="*/ 270 h 534"/>
                    <a:gd name="T38" fmla="*/ 146 w 760"/>
                    <a:gd name="T39" fmla="*/ 283 h 534"/>
                    <a:gd name="T40" fmla="*/ 164 w 760"/>
                    <a:gd name="T41" fmla="*/ 323 h 534"/>
                    <a:gd name="T42" fmla="*/ 194 w 760"/>
                    <a:gd name="T43" fmla="*/ 349 h 534"/>
                    <a:gd name="T44" fmla="*/ 253 w 760"/>
                    <a:gd name="T45" fmla="*/ 325 h 534"/>
                    <a:gd name="T46" fmla="*/ 314 w 760"/>
                    <a:gd name="T47" fmla="*/ 333 h 534"/>
                    <a:gd name="T48" fmla="*/ 343 w 760"/>
                    <a:gd name="T49" fmla="*/ 325 h 534"/>
                    <a:gd name="T50" fmla="*/ 363 w 760"/>
                    <a:gd name="T51" fmla="*/ 333 h 534"/>
                    <a:gd name="T52" fmla="*/ 378 w 760"/>
                    <a:gd name="T53" fmla="*/ 345 h 534"/>
                    <a:gd name="T54" fmla="*/ 411 w 760"/>
                    <a:gd name="T55" fmla="*/ 369 h 534"/>
                    <a:gd name="T56" fmla="*/ 443 w 760"/>
                    <a:gd name="T57" fmla="*/ 410 h 534"/>
                    <a:gd name="T58" fmla="*/ 457 w 760"/>
                    <a:gd name="T59" fmla="*/ 436 h 534"/>
                    <a:gd name="T60" fmla="*/ 463 w 760"/>
                    <a:gd name="T61" fmla="*/ 425 h 534"/>
                    <a:gd name="T62" fmla="*/ 498 w 760"/>
                    <a:gd name="T63" fmla="*/ 475 h 534"/>
                    <a:gd name="T64" fmla="*/ 522 w 760"/>
                    <a:gd name="T65" fmla="*/ 495 h 534"/>
                    <a:gd name="T66" fmla="*/ 581 w 760"/>
                    <a:gd name="T67" fmla="*/ 534 h 534"/>
                    <a:gd name="T68" fmla="*/ 640 w 760"/>
                    <a:gd name="T69" fmla="*/ 515 h 534"/>
                    <a:gd name="T70" fmla="*/ 718 w 760"/>
                    <a:gd name="T71" fmla="*/ 526 h 534"/>
                    <a:gd name="T72" fmla="*/ 734 w 760"/>
                    <a:gd name="T73" fmla="*/ 488 h 534"/>
                    <a:gd name="T74" fmla="*/ 716 w 760"/>
                    <a:gd name="T75" fmla="*/ 436 h 534"/>
                    <a:gd name="T76" fmla="*/ 690 w 760"/>
                    <a:gd name="T77" fmla="*/ 412 h 534"/>
                    <a:gd name="T78" fmla="*/ 672 w 760"/>
                    <a:gd name="T79" fmla="*/ 393 h 534"/>
                    <a:gd name="T80" fmla="*/ 649 w 760"/>
                    <a:gd name="T81" fmla="*/ 380 h 534"/>
                    <a:gd name="T82" fmla="*/ 659 w 760"/>
                    <a:gd name="T83" fmla="*/ 336 h 534"/>
                    <a:gd name="T84" fmla="*/ 653 w 760"/>
                    <a:gd name="T85" fmla="*/ 309 h 534"/>
                    <a:gd name="T86" fmla="*/ 677 w 760"/>
                    <a:gd name="T87" fmla="*/ 283 h 534"/>
                    <a:gd name="T88" fmla="*/ 705 w 760"/>
                    <a:gd name="T89" fmla="*/ 235 h 534"/>
                    <a:gd name="T90" fmla="*/ 703 w 760"/>
                    <a:gd name="T91" fmla="*/ 220 h 534"/>
                    <a:gd name="T92" fmla="*/ 710 w 760"/>
                    <a:gd name="T93" fmla="*/ 194 h 534"/>
                    <a:gd name="T94" fmla="*/ 755 w 760"/>
                    <a:gd name="T95" fmla="*/ 165 h 534"/>
                    <a:gd name="T96" fmla="*/ 721 w 760"/>
                    <a:gd name="T97" fmla="*/ 104 h 534"/>
                    <a:gd name="T98" fmla="*/ 703 w 760"/>
                    <a:gd name="T99" fmla="*/ 106 h 534"/>
                    <a:gd name="T100" fmla="*/ 697 w 760"/>
                    <a:gd name="T101" fmla="*/ 120 h 534"/>
                    <a:gd name="T102" fmla="*/ 684 w 760"/>
                    <a:gd name="T103" fmla="*/ 126 h 534"/>
                    <a:gd name="T104" fmla="*/ 659 w 760"/>
                    <a:gd name="T105" fmla="*/ 161 h 534"/>
                    <a:gd name="T106" fmla="*/ 629 w 760"/>
                    <a:gd name="T107" fmla="*/ 179 h 534"/>
                    <a:gd name="T108" fmla="*/ 609 w 760"/>
                    <a:gd name="T109" fmla="*/ 190 h 534"/>
                    <a:gd name="T110" fmla="*/ 574 w 760"/>
                    <a:gd name="T111" fmla="*/ 168 h 534"/>
                    <a:gd name="T112" fmla="*/ 526 w 760"/>
                    <a:gd name="T113" fmla="*/ 152 h 534"/>
                    <a:gd name="T114" fmla="*/ 540 w 760"/>
                    <a:gd name="T115" fmla="*/ 124 h 534"/>
                    <a:gd name="T116" fmla="*/ 550 w 760"/>
                    <a:gd name="T117" fmla="*/ 76 h 534"/>
                    <a:gd name="T118" fmla="*/ 577 w 760"/>
                    <a:gd name="T119" fmla="*/ 13 h 534"/>
                    <a:gd name="T120" fmla="*/ 559 w 760"/>
                    <a:gd name="T121" fmla="*/ 6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60" h="534">
                      <a:moveTo>
                        <a:pt x="557" y="0"/>
                      </a:moveTo>
                      <a:lnTo>
                        <a:pt x="550" y="2"/>
                      </a:lnTo>
                      <a:lnTo>
                        <a:pt x="550" y="2"/>
                      </a:lnTo>
                      <a:lnTo>
                        <a:pt x="542" y="4"/>
                      </a:lnTo>
                      <a:lnTo>
                        <a:pt x="537" y="4"/>
                      </a:lnTo>
                      <a:lnTo>
                        <a:pt x="529" y="6"/>
                      </a:lnTo>
                      <a:lnTo>
                        <a:pt x="529" y="8"/>
                      </a:lnTo>
                      <a:lnTo>
                        <a:pt x="528" y="11"/>
                      </a:lnTo>
                      <a:lnTo>
                        <a:pt x="528" y="15"/>
                      </a:lnTo>
                      <a:lnTo>
                        <a:pt x="526" y="19"/>
                      </a:lnTo>
                      <a:lnTo>
                        <a:pt x="517" y="22"/>
                      </a:lnTo>
                      <a:lnTo>
                        <a:pt x="505" y="26"/>
                      </a:lnTo>
                      <a:lnTo>
                        <a:pt x="496" y="30"/>
                      </a:lnTo>
                      <a:lnTo>
                        <a:pt x="485" y="34"/>
                      </a:lnTo>
                      <a:lnTo>
                        <a:pt x="476" y="37"/>
                      </a:lnTo>
                      <a:lnTo>
                        <a:pt x="465" y="41"/>
                      </a:lnTo>
                      <a:lnTo>
                        <a:pt x="456" y="45"/>
                      </a:lnTo>
                      <a:lnTo>
                        <a:pt x="446" y="48"/>
                      </a:lnTo>
                      <a:lnTo>
                        <a:pt x="437" y="52"/>
                      </a:lnTo>
                      <a:lnTo>
                        <a:pt x="428" y="58"/>
                      </a:lnTo>
                      <a:lnTo>
                        <a:pt x="424" y="61"/>
                      </a:lnTo>
                      <a:lnTo>
                        <a:pt x="419" y="63"/>
                      </a:lnTo>
                      <a:lnTo>
                        <a:pt x="415" y="67"/>
                      </a:lnTo>
                      <a:lnTo>
                        <a:pt x="415" y="67"/>
                      </a:lnTo>
                      <a:lnTo>
                        <a:pt x="411" y="70"/>
                      </a:lnTo>
                      <a:lnTo>
                        <a:pt x="411" y="74"/>
                      </a:lnTo>
                      <a:lnTo>
                        <a:pt x="413" y="78"/>
                      </a:lnTo>
                      <a:lnTo>
                        <a:pt x="415" y="83"/>
                      </a:lnTo>
                      <a:lnTo>
                        <a:pt x="415" y="89"/>
                      </a:lnTo>
                      <a:lnTo>
                        <a:pt x="415" y="89"/>
                      </a:lnTo>
                      <a:lnTo>
                        <a:pt x="408" y="89"/>
                      </a:lnTo>
                      <a:lnTo>
                        <a:pt x="402" y="89"/>
                      </a:lnTo>
                      <a:lnTo>
                        <a:pt x="395" y="89"/>
                      </a:lnTo>
                      <a:lnTo>
                        <a:pt x="389" y="89"/>
                      </a:lnTo>
                      <a:lnTo>
                        <a:pt x="384" y="91"/>
                      </a:lnTo>
                      <a:lnTo>
                        <a:pt x="378" y="91"/>
                      </a:lnTo>
                      <a:lnTo>
                        <a:pt x="373" y="93"/>
                      </a:lnTo>
                      <a:lnTo>
                        <a:pt x="367" y="93"/>
                      </a:lnTo>
                      <a:lnTo>
                        <a:pt x="358" y="96"/>
                      </a:lnTo>
                      <a:lnTo>
                        <a:pt x="347" y="100"/>
                      </a:lnTo>
                      <a:lnTo>
                        <a:pt x="334" y="102"/>
                      </a:lnTo>
                      <a:lnTo>
                        <a:pt x="323" y="106"/>
                      </a:lnTo>
                      <a:lnTo>
                        <a:pt x="323" y="111"/>
                      </a:lnTo>
                      <a:lnTo>
                        <a:pt x="323" y="117"/>
                      </a:lnTo>
                      <a:lnTo>
                        <a:pt x="321" y="117"/>
                      </a:lnTo>
                      <a:lnTo>
                        <a:pt x="315" y="117"/>
                      </a:lnTo>
                      <a:lnTo>
                        <a:pt x="312" y="117"/>
                      </a:lnTo>
                      <a:lnTo>
                        <a:pt x="312" y="120"/>
                      </a:lnTo>
                      <a:lnTo>
                        <a:pt x="312" y="128"/>
                      </a:lnTo>
                      <a:lnTo>
                        <a:pt x="312" y="128"/>
                      </a:lnTo>
                      <a:lnTo>
                        <a:pt x="306" y="128"/>
                      </a:lnTo>
                      <a:lnTo>
                        <a:pt x="302" y="130"/>
                      </a:lnTo>
                      <a:lnTo>
                        <a:pt x="297" y="130"/>
                      </a:lnTo>
                      <a:lnTo>
                        <a:pt x="297" y="130"/>
                      </a:lnTo>
                      <a:lnTo>
                        <a:pt x="291" y="131"/>
                      </a:lnTo>
                      <a:lnTo>
                        <a:pt x="291" y="131"/>
                      </a:lnTo>
                      <a:lnTo>
                        <a:pt x="290" y="126"/>
                      </a:lnTo>
                      <a:lnTo>
                        <a:pt x="290" y="126"/>
                      </a:lnTo>
                      <a:lnTo>
                        <a:pt x="288" y="122"/>
                      </a:lnTo>
                      <a:lnTo>
                        <a:pt x="280" y="122"/>
                      </a:lnTo>
                      <a:lnTo>
                        <a:pt x="271" y="124"/>
                      </a:lnTo>
                      <a:lnTo>
                        <a:pt x="262" y="126"/>
                      </a:lnTo>
                      <a:lnTo>
                        <a:pt x="253" y="126"/>
                      </a:lnTo>
                      <a:lnTo>
                        <a:pt x="243" y="128"/>
                      </a:lnTo>
                      <a:lnTo>
                        <a:pt x="234" y="130"/>
                      </a:lnTo>
                      <a:lnTo>
                        <a:pt x="225" y="130"/>
                      </a:lnTo>
                      <a:lnTo>
                        <a:pt x="216" y="131"/>
                      </a:lnTo>
                      <a:lnTo>
                        <a:pt x="216" y="131"/>
                      </a:lnTo>
                      <a:lnTo>
                        <a:pt x="214" y="130"/>
                      </a:lnTo>
                      <a:lnTo>
                        <a:pt x="212" y="128"/>
                      </a:lnTo>
                      <a:lnTo>
                        <a:pt x="212" y="126"/>
                      </a:lnTo>
                      <a:lnTo>
                        <a:pt x="210" y="124"/>
                      </a:lnTo>
                      <a:lnTo>
                        <a:pt x="205" y="120"/>
                      </a:lnTo>
                      <a:lnTo>
                        <a:pt x="201" y="117"/>
                      </a:lnTo>
                      <a:lnTo>
                        <a:pt x="195" y="115"/>
                      </a:lnTo>
                      <a:lnTo>
                        <a:pt x="190" y="113"/>
                      </a:lnTo>
                      <a:lnTo>
                        <a:pt x="184" y="111"/>
                      </a:lnTo>
                      <a:lnTo>
                        <a:pt x="179" y="111"/>
                      </a:lnTo>
                      <a:lnTo>
                        <a:pt x="166" y="109"/>
                      </a:lnTo>
                      <a:lnTo>
                        <a:pt x="155" y="107"/>
                      </a:lnTo>
                      <a:lnTo>
                        <a:pt x="144" y="107"/>
                      </a:lnTo>
                      <a:lnTo>
                        <a:pt x="134" y="107"/>
                      </a:lnTo>
                      <a:lnTo>
                        <a:pt x="133" y="111"/>
                      </a:lnTo>
                      <a:lnTo>
                        <a:pt x="131" y="117"/>
                      </a:lnTo>
                      <a:lnTo>
                        <a:pt x="129" y="117"/>
                      </a:lnTo>
                      <a:lnTo>
                        <a:pt x="122" y="115"/>
                      </a:lnTo>
                      <a:lnTo>
                        <a:pt x="116" y="113"/>
                      </a:lnTo>
                      <a:lnTo>
                        <a:pt x="109" y="111"/>
                      </a:lnTo>
                      <a:lnTo>
                        <a:pt x="101" y="109"/>
                      </a:lnTo>
                      <a:lnTo>
                        <a:pt x="94" y="107"/>
                      </a:lnTo>
                      <a:lnTo>
                        <a:pt x="87" y="107"/>
                      </a:lnTo>
                      <a:lnTo>
                        <a:pt x="79" y="106"/>
                      </a:lnTo>
                      <a:lnTo>
                        <a:pt x="72" y="106"/>
                      </a:lnTo>
                      <a:lnTo>
                        <a:pt x="59" y="106"/>
                      </a:lnTo>
                      <a:lnTo>
                        <a:pt x="44" y="106"/>
                      </a:lnTo>
                      <a:lnTo>
                        <a:pt x="29" y="106"/>
                      </a:lnTo>
                      <a:lnTo>
                        <a:pt x="15" y="107"/>
                      </a:lnTo>
                      <a:lnTo>
                        <a:pt x="15" y="109"/>
                      </a:lnTo>
                      <a:lnTo>
                        <a:pt x="13" y="113"/>
                      </a:lnTo>
                      <a:lnTo>
                        <a:pt x="13" y="115"/>
                      </a:lnTo>
                      <a:lnTo>
                        <a:pt x="11" y="118"/>
                      </a:lnTo>
                      <a:lnTo>
                        <a:pt x="11" y="118"/>
                      </a:lnTo>
                      <a:lnTo>
                        <a:pt x="7" y="120"/>
                      </a:lnTo>
                      <a:lnTo>
                        <a:pt x="5" y="120"/>
                      </a:lnTo>
                      <a:lnTo>
                        <a:pt x="2" y="122"/>
                      </a:lnTo>
                      <a:lnTo>
                        <a:pt x="0" y="122"/>
                      </a:lnTo>
                      <a:lnTo>
                        <a:pt x="0" y="130"/>
                      </a:lnTo>
                      <a:lnTo>
                        <a:pt x="2" y="139"/>
                      </a:lnTo>
                      <a:lnTo>
                        <a:pt x="3" y="146"/>
                      </a:lnTo>
                      <a:lnTo>
                        <a:pt x="3" y="155"/>
                      </a:lnTo>
                      <a:lnTo>
                        <a:pt x="13" y="155"/>
                      </a:lnTo>
                      <a:lnTo>
                        <a:pt x="24" y="157"/>
                      </a:lnTo>
                      <a:lnTo>
                        <a:pt x="33" y="159"/>
                      </a:lnTo>
                      <a:lnTo>
                        <a:pt x="42" y="159"/>
                      </a:lnTo>
                      <a:lnTo>
                        <a:pt x="42" y="161"/>
                      </a:lnTo>
                      <a:lnTo>
                        <a:pt x="42" y="163"/>
                      </a:lnTo>
                      <a:lnTo>
                        <a:pt x="40" y="166"/>
                      </a:lnTo>
                      <a:lnTo>
                        <a:pt x="39" y="170"/>
                      </a:lnTo>
                      <a:lnTo>
                        <a:pt x="39" y="174"/>
                      </a:lnTo>
                      <a:lnTo>
                        <a:pt x="39" y="174"/>
                      </a:lnTo>
                      <a:lnTo>
                        <a:pt x="35" y="174"/>
                      </a:lnTo>
                      <a:lnTo>
                        <a:pt x="31" y="176"/>
                      </a:lnTo>
                      <a:lnTo>
                        <a:pt x="29" y="176"/>
                      </a:lnTo>
                      <a:lnTo>
                        <a:pt x="27" y="177"/>
                      </a:lnTo>
                      <a:lnTo>
                        <a:pt x="27" y="181"/>
                      </a:lnTo>
                      <a:lnTo>
                        <a:pt x="27" y="185"/>
                      </a:lnTo>
                      <a:lnTo>
                        <a:pt x="27" y="189"/>
                      </a:lnTo>
                      <a:lnTo>
                        <a:pt x="27" y="192"/>
                      </a:lnTo>
                      <a:lnTo>
                        <a:pt x="33" y="194"/>
                      </a:lnTo>
                      <a:lnTo>
                        <a:pt x="40" y="194"/>
                      </a:lnTo>
                      <a:lnTo>
                        <a:pt x="46" y="196"/>
                      </a:lnTo>
                      <a:lnTo>
                        <a:pt x="53" y="198"/>
                      </a:lnTo>
                      <a:lnTo>
                        <a:pt x="53" y="192"/>
                      </a:lnTo>
                      <a:lnTo>
                        <a:pt x="53" y="187"/>
                      </a:lnTo>
                      <a:lnTo>
                        <a:pt x="53" y="187"/>
                      </a:lnTo>
                      <a:lnTo>
                        <a:pt x="59" y="185"/>
                      </a:lnTo>
                      <a:lnTo>
                        <a:pt x="63" y="181"/>
                      </a:lnTo>
                      <a:lnTo>
                        <a:pt x="63" y="181"/>
                      </a:lnTo>
                      <a:lnTo>
                        <a:pt x="66" y="181"/>
                      </a:lnTo>
                      <a:lnTo>
                        <a:pt x="70" y="179"/>
                      </a:lnTo>
                      <a:lnTo>
                        <a:pt x="70" y="179"/>
                      </a:lnTo>
                      <a:lnTo>
                        <a:pt x="74" y="179"/>
                      </a:lnTo>
                      <a:lnTo>
                        <a:pt x="74" y="179"/>
                      </a:lnTo>
                      <a:lnTo>
                        <a:pt x="77" y="179"/>
                      </a:lnTo>
                      <a:lnTo>
                        <a:pt x="77" y="179"/>
                      </a:lnTo>
                      <a:lnTo>
                        <a:pt x="81" y="179"/>
                      </a:lnTo>
                      <a:lnTo>
                        <a:pt x="88" y="179"/>
                      </a:lnTo>
                      <a:lnTo>
                        <a:pt x="90" y="187"/>
                      </a:lnTo>
                      <a:lnTo>
                        <a:pt x="94" y="194"/>
                      </a:lnTo>
                      <a:lnTo>
                        <a:pt x="98" y="201"/>
                      </a:lnTo>
                      <a:lnTo>
                        <a:pt x="99" y="207"/>
                      </a:lnTo>
                      <a:lnTo>
                        <a:pt x="103" y="205"/>
                      </a:lnTo>
                      <a:lnTo>
                        <a:pt x="107" y="201"/>
                      </a:lnTo>
                      <a:lnTo>
                        <a:pt x="107" y="201"/>
                      </a:lnTo>
                      <a:lnTo>
                        <a:pt x="110" y="201"/>
                      </a:lnTo>
                      <a:lnTo>
                        <a:pt x="114" y="201"/>
                      </a:lnTo>
                      <a:lnTo>
                        <a:pt x="118" y="201"/>
                      </a:lnTo>
                      <a:lnTo>
                        <a:pt x="122" y="203"/>
                      </a:lnTo>
                      <a:lnTo>
                        <a:pt x="125" y="211"/>
                      </a:lnTo>
                      <a:lnTo>
                        <a:pt x="129" y="218"/>
                      </a:lnTo>
                      <a:lnTo>
                        <a:pt x="131" y="224"/>
                      </a:lnTo>
                      <a:lnTo>
                        <a:pt x="131" y="224"/>
                      </a:lnTo>
                      <a:lnTo>
                        <a:pt x="133" y="231"/>
                      </a:lnTo>
                      <a:lnTo>
                        <a:pt x="134" y="238"/>
                      </a:lnTo>
                      <a:lnTo>
                        <a:pt x="134" y="246"/>
                      </a:lnTo>
                      <a:lnTo>
                        <a:pt x="136" y="253"/>
                      </a:lnTo>
                      <a:lnTo>
                        <a:pt x="136" y="253"/>
                      </a:lnTo>
                      <a:lnTo>
                        <a:pt x="136" y="261"/>
                      </a:lnTo>
                      <a:lnTo>
                        <a:pt x="142" y="264"/>
                      </a:lnTo>
                      <a:lnTo>
                        <a:pt x="147" y="266"/>
                      </a:lnTo>
                      <a:lnTo>
                        <a:pt x="153" y="270"/>
                      </a:lnTo>
                      <a:lnTo>
                        <a:pt x="158" y="273"/>
                      </a:lnTo>
                      <a:lnTo>
                        <a:pt x="158" y="273"/>
                      </a:lnTo>
                      <a:lnTo>
                        <a:pt x="158" y="281"/>
                      </a:lnTo>
                      <a:lnTo>
                        <a:pt x="158" y="286"/>
                      </a:lnTo>
                      <a:lnTo>
                        <a:pt x="158" y="286"/>
                      </a:lnTo>
                      <a:lnTo>
                        <a:pt x="155" y="285"/>
                      </a:lnTo>
                      <a:lnTo>
                        <a:pt x="151" y="285"/>
                      </a:lnTo>
                      <a:lnTo>
                        <a:pt x="147" y="283"/>
                      </a:lnTo>
                      <a:lnTo>
                        <a:pt x="146" y="283"/>
                      </a:lnTo>
                      <a:lnTo>
                        <a:pt x="146" y="292"/>
                      </a:lnTo>
                      <a:lnTo>
                        <a:pt x="147" y="301"/>
                      </a:lnTo>
                      <a:lnTo>
                        <a:pt x="147" y="312"/>
                      </a:lnTo>
                      <a:lnTo>
                        <a:pt x="147" y="323"/>
                      </a:lnTo>
                      <a:lnTo>
                        <a:pt x="151" y="323"/>
                      </a:lnTo>
                      <a:lnTo>
                        <a:pt x="155" y="323"/>
                      </a:lnTo>
                      <a:lnTo>
                        <a:pt x="158" y="323"/>
                      </a:lnTo>
                      <a:lnTo>
                        <a:pt x="164" y="323"/>
                      </a:lnTo>
                      <a:lnTo>
                        <a:pt x="164" y="323"/>
                      </a:lnTo>
                      <a:lnTo>
                        <a:pt x="166" y="331"/>
                      </a:lnTo>
                      <a:lnTo>
                        <a:pt x="168" y="336"/>
                      </a:lnTo>
                      <a:lnTo>
                        <a:pt x="168" y="344"/>
                      </a:lnTo>
                      <a:lnTo>
                        <a:pt x="170" y="349"/>
                      </a:lnTo>
                      <a:lnTo>
                        <a:pt x="173" y="349"/>
                      </a:lnTo>
                      <a:lnTo>
                        <a:pt x="177" y="349"/>
                      </a:lnTo>
                      <a:lnTo>
                        <a:pt x="181" y="349"/>
                      </a:lnTo>
                      <a:lnTo>
                        <a:pt x="186" y="349"/>
                      </a:lnTo>
                      <a:lnTo>
                        <a:pt x="194" y="349"/>
                      </a:lnTo>
                      <a:lnTo>
                        <a:pt x="203" y="347"/>
                      </a:lnTo>
                      <a:lnTo>
                        <a:pt x="210" y="344"/>
                      </a:lnTo>
                      <a:lnTo>
                        <a:pt x="216" y="340"/>
                      </a:lnTo>
                      <a:lnTo>
                        <a:pt x="223" y="338"/>
                      </a:lnTo>
                      <a:lnTo>
                        <a:pt x="230" y="333"/>
                      </a:lnTo>
                      <a:lnTo>
                        <a:pt x="238" y="329"/>
                      </a:lnTo>
                      <a:lnTo>
                        <a:pt x="245" y="325"/>
                      </a:lnTo>
                      <a:lnTo>
                        <a:pt x="245" y="325"/>
                      </a:lnTo>
                      <a:lnTo>
                        <a:pt x="253" y="325"/>
                      </a:lnTo>
                      <a:lnTo>
                        <a:pt x="256" y="325"/>
                      </a:lnTo>
                      <a:lnTo>
                        <a:pt x="262" y="325"/>
                      </a:lnTo>
                      <a:lnTo>
                        <a:pt x="262" y="325"/>
                      </a:lnTo>
                      <a:lnTo>
                        <a:pt x="267" y="327"/>
                      </a:lnTo>
                      <a:lnTo>
                        <a:pt x="275" y="329"/>
                      </a:lnTo>
                      <a:lnTo>
                        <a:pt x="284" y="331"/>
                      </a:lnTo>
                      <a:lnTo>
                        <a:pt x="297" y="333"/>
                      </a:lnTo>
                      <a:lnTo>
                        <a:pt x="312" y="336"/>
                      </a:lnTo>
                      <a:lnTo>
                        <a:pt x="314" y="333"/>
                      </a:lnTo>
                      <a:lnTo>
                        <a:pt x="314" y="333"/>
                      </a:lnTo>
                      <a:lnTo>
                        <a:pt x="314" y="331"/>
                      </a:lnTo>
                      <a:lnTo>
                        <a:pt x="314" y="331"/>
                      </a:lnTo>
                      <a:lnTo>
                        <a:pt x="315" y="327"/>
                      </a:lnTo>
                      <a:lnTo>
                        <a:pt x="317" y="321"/>
                      </a:lnTo>
                      <a:lnTo>
                        <a:pt x="317" y="321"/>
                      </a:lnTo>
                      <a:lnTo>
                        <a:pt x="326" y="323"/>
                      </a:lnTo>
                      <a:lnTo>
                        <a:pt x="334" y="323"/>
                      </a:lnTo>
                      <a:lnTo>
                        <a:pt x="343" y="325"/>
                      </a:lnTo>
                      <a:lnTo>
                        <a:pt x="352" y="325"/>
                      </a:lnTo>
                      <a:lnTo>
                        <a:pt x="352" y="327"/>
                      </a:lnTo>
                      <a:lnTo>
                        <a:pt x="354" y="329"/>
                      </a:lnTo>
                      <a:lnTo>
                        <a:pt x="356" y="333"/>
                      </a:lnTo>
                      <a:lnTo>
                        <a:pt x="358" y="336"/>
                      </a:lnTo>
                      <a:lnTo>
                        <a:pt x="358" y="338"/>
                      </a:lnTo>
                      <a:lnTo>
                        <a:pt x="360" y="334"/>
                      </a:lnTo>
                      <a:lnTo>
                        <a:pt x="360" y="334"/>
                      </a:lnTo>
                      <a:lnTo>
                        <a:pt x="363" y="333"/>
                      </a:lnTo>
                      <a:lnTo>
                        <a:pt x="363" y="333"/>
                      </a:lnTo>
                      <a:lnTo>
                        <a:pt x="367" y="334"/>
                      </a:lnTo>
                      <a:lnTo>
                        <a:pt x="369" y="338"/>
                      </a:lnTo>
                      <a:lnTo>
                        <a:pt x="371" y="334"/>
                      </a:lnTo>
                      <a:lnTo>
                        <a:pt x="374" y="331"/>
                      </a:lnTo>
                      <a:lnTo>
                        <a:pt x="374" y="333"/>
                      </a:lnTo>
                      <a:lnTo>
                        <a:pt x="376" y="336"/>
                      </a:lnTo>
                      <a:lnTo>
                        <a:pt x="376" y="342"/>
                      </a:lnTo>
                      <a:lnTo>
                        <a:pt x="378" y="345"/>
                      </a:lnTo>
                      <a:lnTo>
                        <a:pt x="378" y="349"/>
                      </a:lnTo>
                      <a:lnTo>
                        <a:pt x="385" y="351"/>
                      </a:lnTo>
                      <a:lnTo>
                        <a:pt x="391" y="355"/>
                      </a:lnTo>
                      <a:lnTo>
                        <a:pt x="398" y="356"/>
                      </a:lnTo>
                      <a:lnTo>
                        <a:pt x="406" y="360"/>
                      </a:lnTo>
                      <a:lnTo>
                        <a:pt x="406" y="360"/>
                      </a:lnTo>
                      <a:lnTo>
                        <a:pt x="406" y="366"/>
                      </a:lnTo>
                      <a:lnTo>
                        <a:pt x="406" y="371"/>
                      </a:lnTo>
                      <a:lnTo>
                        <a:pt x="411" y="369"/>
                      </a:lnTo>
                      <a:lnTo>
                        <a:pt x="417" y="369"/>
                      </a:lnTo>
                      <a:lnTo>
                        <a:pt x="417" y="371"/>
                      </a:lnTo>
                      <a:lnTo>
                        <a:pt x="419" y="375"/>
                      </a:lnTo>
                      <a:lnTo>
                        <a:pt x="421" y="379"/>
                      </a:lnTo>
                      <a:lnTo>
                        <a:pt x="424" y="384"/>
                      </a:lnTo>
                      <a:lnTo>
                        <a:pt x="426" y="388"/>
                      </a:lnTo>
                      <a:lnTo>
                        <a:pt x="432" y="395"/>
                      </a:lnTo>
                      <a:lnTo>
                        <a:pt x="437" y="403"/>
                      </a:lnTo>
                      <a:lnTo>
                        <a:pt x="443" y="410"/>
                      </a:lnTo>
                      <a:lnTo>
                        <a:pt x="448" y="419"/>
                      </a:lnTo>
                      <a:lnTo>
                        <a:pt x="450" y="423"/>
                      </a:lnTo>
                      <a:lnTo>
                        <a:pt x="450" y="423"/>
                      </a:lnTo>
                      <a:lnTo>
                        <a:pt x="452" y="427"/>
                      </a:lnTo>
                      <a:lnTo>
                        <a:pt x="452" y="427"/>
                      </a:lnTo>
                      <a:lnTo>
                        <a:pt x="454" y="432"/>
                      </a:lnTo>
                      <a:lnTo>
                        <a:pt x="456" y="436"/>
                      </a:lnTo>
                      <a:lnTo>
                        <a:pt x="456" y="436"/>
                      </a:lnTo>
                      <a:lnTo>
                        <a:pt x="457" y="436"/>
                      </a:lnTo>
                      <a:lnTo>
                        <a:pt x="457" y="436"/>
                      </a:lnTo>
                      <a:lnTo>
                        <a:pt x="459" y="434"/>
                      </a:lnTo>
                      <a:lnTo>
                        <a:pt x="459" y="434"/>
                      </a:lnTo>
                      <a:lnTo>
                        <a:pt x="459" y="432"/>
                      </a:lnTo>
                      <a:lnTo>
                        <a:pt x="459" y="428"/>
                      </a:lnTo>
                      <a:lnTo>
                        <a:pt x="459" y="425"/>
                      </a:lnTo>
                      <a:lnTo>
                        <a:pt x="461" y="425"/>
                      </a:lnTo>
                      <a:lnTo>
                        <a:pt x="463" y="425"/>
                      </a:lnTo>
                      <a:lnTo>
                        <a:pt x="463" y="425"/>
                      </a:lnTo>
                      <a:lnTo>
                        <a:pt x="465" y="427"/>
                      </a:lnTo>
                      <a:lnTo>
                        <a:pt x="465" y="427"/>
                      </a:lnTo>
                      <a:lnTo>
                        <a:pt x="467" y="430"/>
                      </a:lnTo>
                      <a:lnTo>
                        <a:pt x="470" y="432"/>
                      </a:lnTo>
                      <a:lnTo>
                        <a:pt x="478" y="441"/>
                      </a:lnTo>
                      <a:lnTo>
                        <a:pt x="485" y="452"/>
                      </a:lnTo>
                      <a:lnTo>
                        <a:pt x="493" y="464"/>
                      </a:lnTo>
                      <a:lnTo>
                        <a:pt x="498" y="475"/>
                      </a:lnTo>
                      <a:lnTo>
                        <a:pt x="498" y="475"/>
                      </a:lnTo>
                      <a:lnTo>
                        <a:pt x="500" y="478"/>
                      </a:lnTo>
                      <a:lnTo>
                        <a:pt x="504" y="484"/>
                      </a:lnTo>
                      <a:lnTo>
                        <a:pt x="504" y="488"/>
                      </a:lnTo>
                      <a:lnTo>
                        <a:pt x="504" y="488"/>
                      </a:lnTo>
                      <a:lnTo>
                        <a:pt x="505" y="489"/>
                      </a:lnTo>
                      <a:lnTo>
                        <a:pt x="509" y="491"/>
                      </a:lnTo>
                      <a:lnTo>
                        <a:pt x="509" y="491"/>
                      </a:lnTo>
                      <a:lnTo>
                        <a:pt x="515" y="493"/>
                      </a:lnTo>
                      <a:lnTo>
                        <a:pt x="522" y="495"/>
                      </a:lnTo>
                      <a:lnTo>
                        <a:pt x="528" y="495"/>
                      </a:lnTo>
                      <a:lnTo>
                        <a:pt x="529" y="504"/>
                      </a:lnTo>
                      <a:lnTo>
                        <a:pt x="533" y="512"/>
                      </a:lnTo>
                      <a:lnTo>
                        <a:pt x="535" y="521"/>
                      </a:lnTo>
                      <a:lnTo>
                        <a:pt x="539" y="528"/>
                      </a:lnTo>
                      <a:lnTo>
                        <a:pt x="548" y="530"/>
                      </a:lnTo>
                      <a:lnTo>
                        <a:pt x="559" y="530"/>
                      </a:lnTo>
                      <a:lnTo>
                        <a:pt x="570" y="532"/>
                      </a:lnTo>
                      <a:lnTo>
                        <a:pt x="581" y="534"/>
                      </a:lnTo>
                      <a:lnTo>
                        <a:pt x="581" y="528"/>
                      </a:lnTo>
                      <a:lnTo>
                        <a:pt x="581" y="523"/>
                      </a:lnTo>
                      <a:lnTo>
                        <a:pt x="598" y="523"/>
                      </a:lnTo>
                      <a:lnTo>
                        <a:pt x="611" y="521"/>
                      </a:lnTo>
                      <a:lnTo>
                        <a:pt x="620" y="521"/>
                      </a:lnTo>
                      <a:lnTo>
                        <a:pt x="625" y="519"/>
                      </a:lnTo>
                      <a:lnTo>
                        <a:pt x="631" y="519"/>
                      </a:lnTo>
                      <a:lnTo>
                        <a:pt x="635" y="517"/>
                      </a:lnTo>
                      <a:lnTo>
                        <a:pt x="640" y="515"/>
                      </a:lnTo>
                      <a:lnTo>
                        <a:pt x="644" y="513"/>
                      </a:lnTo>
                      <a:lnTo>
                        <a:pt x="655" y="519"/>
                      </a:lnTo>
                      <a:lnTo>
                        <a:pt x="664" y="523"/>
                      </a:lnTo>
                      <a:lnTo>
                        <a:pt x="673" y="524"/>
                      </a:lnTo>
                      <a:lnTo>
                        <a:pt x="681" y="526"/>
                      </a:lnTo>
                      <a:lnTo>
                        <a:pt x="688" y="526"/>
                      </a:lnTo>
                      <a:lnTo>
                        <a:pt x="697" y="528"/>
                      </a:lnTo>
                      <a:lnTo>
                        <a:pt x="707" y="528"/>
                      </a:lnTo>
                      <a:lnTo>
                        <a:pt x="718" y="526"/>
                      </a:lnTo>
                      <a:lnTo>
                        <a:pt x="718" y="517"/>
                      </a:lnTo>
                      <a:lnTo>
                        <a:pt x="720" y="508"/>
                      </a:lnTo>
                      <a:lnTo>
                        <a:pt x="721" y="499"/>
                      </a:lnTo>
                      <a:lnTo>
                        <a:pt x="723" y="489"/>
                      </a:lnTo>
                      <a:lnTo>
                        <a:pt x="723" y="489"/>
                      </a:lnTo>
                      <a:lnTo>
                        <a:pt x="731" y="489"/>
                      </a:lnTo>
                      <a:lnTo>
                        <a:pt x="732" y="488"/>
                      </a:lnTo>
                      <a:lnTo>
                        <a:pt x="734" y="488"/>
                      </a:lnTo>
                      <a:lnTo>
                        <a:pt x="734" y="488"/>
                      </a:lnTo>
                      <a:lnTo>
                        <a:pt x="734" y="486"/>
                      </a:lnTo>
                      <a:lnTo>
                        <a:pt x="734" y="486"/>
                      </a:lnTo>
                      <a:lnTo>
                        <a:pt x="734" y="475"/>
                      </a:lnTo>
                      <a:lnTo>
                        <a:pt x="734" y="465"/>
                      </a:lnTo>
                      <a:lnTo>
                        <a:pt x="734" y="456"/>
                      </a:lnTo>
                      <a:lnTo>
                        <a:pt x="734" y="447"/>
                      </a:lnTo>
                      <a:lnTo>
                        <a:pt x="729" y="447"/>
                      </a:lnTo>
                      <a:lnTo>
                        <a:pt x="723" y="447"/>
                      </a:lnTo>
                      <a:lnTo>
                        <a:pt x="716" y="436"/>
                      </a:lnTo>
                      <a:lnTo>
                        <a:pt x="712" y="428"/>
                      </a:lnTo>
                      <a:lnTo>
                        <a:pt x="708" y="425"/>
                      </a:lnTo>
                      <a:lnTo>
                        <a:pt x="707" y="423"/>
                      </a:lnTo>
                      <a:lnTo>
                        <a:pt x="705" y="419"/>
                      </a:lnTo>
                      <a:lnTo>
                        <a:pt x="701" y="417"/>
                      </a:lnTo>
                      <a:lnTo>
                        <a:pt x="699" y="416"/>
                      </a:lnTo>
                      <a:lnTo>
                        <a:pt x="696" y="414"/>
                      </a:lnTo>
                      <a:lnTo>
                        <a:pt x="694" y="412"/>
                      </a:lnTo>
                      <a:lnTo>
                        <a:pt x="690" y="412"/>
                      </a:lnTo>
                      <a:lnTo>
                        <a:pt x="681" y="408"/>
                      </a:lnTo>
                      <a:lnTo>
                        <a:pt x="668" y="404"/>
                      </a:lnTo>
                      <a:lnTo>
                        <a:pt x="668" y="404"/>
                      </a:lnTo>
                      <a:lnTo>
                        <a:pt x="670" y="401"/>
                      </a:lnTo>
                      <a:lnTo>
                        <a:pt x="672" y="397"/>
                      </a:lnTo>
                      <a:lnTo>
                        <a:pt x="672" y="397"/>
                      </a:lnTo>
                      <a:lnTo>
                        <a:pt x="672" y="395"/>
                      </a:lnTo>
                      <a:lnTo>
                        <a:pt x="672" y="395"/>
                      </a:lnTo>
                      <a:lnTo>
                        <a:pt x="672" y="393"/>
                      </a:lnTo>
                      <a:lnTo>
                        <a:pt x="670" y="393"/>
                      </a:lnTo>
                      <a:lnTo>
                        <a:pt x="664" y="395"/>
                      </a:lnTo>
                      <a:lnTo>
                        <a:pt x="660" y="395"/>
                      </a:lnTo>
                      <a:lnTo>
                        <a:pt x="655" y="397"/>
                      </a:lnTo>
                      <a:lnTo>
                        <a:pt x="655" y="395"/>
                      </a:lnTo>
                      <a:lnTo>
                        <a:pt x="653" y="390"/>
                      </a:lnTo>
                      <a:lnTo>
                        <a:pt x="651" y="386"/>
                      </a:lnTo>
                      <a:lnTo>
                        <a:pt x="651" y="386"/>
                      </a:lnTo>
                      <a:lnTo>
                        <a:pt x="649" y="380"/>
                      </a:lnTo>
                      <a:lnTo>
                        <a:pt x="646" y="373"/>
                      </a:lnTo>
                      <a:lnTo>
                        <a:pt x="648" y="373"/>
                      </a:lnTo>
                      <a:lnTo>
                        <a:pt x="651" y="371"/>
                      </a:lnTo>
                      <a:lnTo>
                        <a:pt x="651" y="371"/>
                      </a:lnTo>
                      <a:lnTo>
                        <a:pt x="657" y="369"/>
                      </a:lnTo>
                      <a:lnTo>
                        <a:pt x="657" y="362"/>
                      </a:lnTo>
                      <a:lnTo>
                        <a:pt x="657" y="353"/>
                      </a:lnTo>
                      <a:lnTo>
                        <a:pt x="659" y="344"/>
                      </a:lnTo>
                      <a:lnTo>
                        <a:pt x="659" y="336"/>
                      </a:lnTo>
                      <a:lnTo>
                        <a:pt x="659" y="333"/>
                      </a:lnTo>
                      <a:lnTo>
                        <a:pt x="657" y="329"/>
                      </a:lnTo>
                      <a:lnTo>
                        <a:pt x="657" y="325"/>
                      </a:lnTo>
                      <a:lnTo>
                        <a:pt x="657" y="321"/>
                      </a:lnTo>
                      <a:lnTo>
                        <a:pt x="657" y="321"/>
                      </a:lnTo>
                      <a:lnTo>
                        <a:pt x="655" y="316"/>
                      </a:lnTo>
                      <a:lnTo>
                        <a:pt x="655" y="312"/>
                      </a:lnTo>
                      <a:lnTo>
                        <a:pt x="653" y="309"/>
                      </a:lnTo>
                      <a:lnTo>
                        <a:pt x="653" y="309"/>
                      </a:lnTo>
                      <a:lnTo>
                        <a:pt x="649" y="305"/>
                      </a:lnTo>
                      <a:lnTo>
                        <a:pt x="651" y="303"/>
                      </a:lnTo>
                      <a:lnTo>
                        <a:pt x="657" y="303"/>
                      </a:lnTo>
                      <a:lnTo>
                        <a:pt x="660" y="301"/>
                      </a:lnTo>
                      <a:lnTo>
                        <a:pt x="664" y="297"/>
                      </a:lnTo>
                      <a:lnTo>
                        <a:pt x="668" y="294"/>
                      </a:lnTo>
                      <a:lnTo>
                        <a:pt x="672" y="290"/>
                      </a:lnTo>
                      <a:lnTo>
                        <a:pt x="673" y="286"/>
                      </a:lnTo>
                      <a:lnTo>
                        <a:pt x="677" y="283"/>
                      </a:lnTo>
                      <a:lnTo>
                        <a:pt x="679" y="277"/>
                      </a:lnTo>
                      <a:lnTo>
                        <a:pt x="684" y="268"/>
                      </a:lnTo>
                      <a:lnTo>
                        <a:pt x="688" y="259"/>
                      </a:lnTo>
                      <a:lnTo>
                        <a:pt x="690" y="248"/>
                      </a:lnTo>
                      <a:lnTo>
                        <a:pt x="696" y="238"/>
                      </a:lnTo>
                      <a:lnTo>
                        <a:pt x="696" y="238"/>
                      </a:lnTo>
                      <a:lnTo>
                        <a:pt x="699" y="238"/>
                      </a:lnTo>
                      <a:lnTo>
                        <a:pt x="701" y="237"/>
                      </a:lnTo>
                      <a:lnTo>
                        <a:pt x="705" y="235"/>
                      </a:lnTo>
                      <a:lnTo>
                        <a:pt x="707" y="233"/>
                      </a:lnTo>
                      <a:lnTo>
                        <a:pt x="708" y="231"/>
                      </a:lnTo>
                      <a:lnTo>
                        <a:pt x="710" y="229"/>
                      </a:lnTo>
                      <a:lnTo>
                        <a:pt x="712" y="225"/>
                      </a:lnTo>
                      <a:lnTo>
                        <a:pt x="712" y="225"/>
                      </a:lnTo>
                      <a:lnTo>
                        <a:pt x="712" y="224"/>
                      </a:lnTo>
                      <a:lnTo>
                        <a:pt x="710" y="222"/>
                      </a:lnTo>
                      <a:lnTo>
                        <a:pt x="707" y="220"/>
                      </a:lnTo>
                      <a:lnTo>
                        <a:pt x="703" y="220"/>
                      </a:lnTo>
                      <a:lnTo>
                        <a:pt x="699" y="218"/>
                      </a:lnTo>
                      <a:lnTo>
                        <a:pt x="699" y="218"/>
                      </a:lnTo>
                      <a:lnTo>
                        <a:pt x="697" y="213"/>
                      </a:lnTo>
                      <a:lnTo>
                        <a:pt x="697" y="207"/>
                      </a:lnTo>
                      <a:lnTo>
                        <a:pt x="696" y="201"/>
                      </a:lnTo>
                      <a:lnTo>
                        <a:pt x="694" y="196"/>
                      </a:lnTo>
                      <a:lnTo>
                        <a:pt x="696" y="194"/>
                      </a:lnTo>
                      <a:lnTo>
                        <a:pt x="703" y="194"/>
                      </a:lnTo>
                      <a:lnTo>
                        <a:pt x="710" y="194"/>
                      </a:lnTo>
                      <a:lnTo>
                        <a:pt x="720" y="192"/>
                      </a:lnTo>
                      <a:lnTo>
                        <a:pt x="727" y="192"/>
                      </a:lnTo>
                      <a:lnTo>
                        <a:pt x="736" y="192"/>
                      </a:lnTo>
                      <a:lnTo>
                        <a:pt x="744" y="190"/>
                      </a:lnTo>
                      <a:lnTo>
                        <a:pt x="753" y="190"/>
                      </a:lnTo>
                      <a:lnTo>
                        <a:pt x="760" y="189"/>
                      </a:lnTo>
                      <a:lnTo>
                        <a:pt x="758" y="181"/>
                      </a:lnTo>
                      <a:lnTo>
                        <a:pt x="756" y="174"/>
                      </a:lnTo>
                      <a:lnTo>
                        <a:pt x="755" y="165"/>
                      </a:lnTo>
                      <a:lnTo>
                        <a:pt x="755" y="157"/>
                      </a:lnTo>
                      <a:lnTo>
                        <a:pt x="749" y="157"/>
                      </a:lnTo>
                      <a:lnTo>
                        <a:pt x="744" y="157"/>
                      </a:lnTo>
                      <a:lnTo>
                        <a:pt x="740" y="144"/>
                      </a:lnTo>
                      <a:lnTo>
                        <a:pt x="738" y="130"/>
                      </a:lnTo>
                      <a:lnTo>
                        <a:pt x="734" y="117"/>
                      </a:lnTo>
                      <a:lnTo>
                        <a:pt x="732" y="104"/>
                      </a:lnTo>
                      <a:lnTo>
                        <a:pt x="727" y="104"/>
                      </a:lnTo>
                      <a:lnTo>
                        <a:pt x="721" y="104"/>
                      </a:lnTo>
                      <a:lnTo>
                        <a:pt x="721" y="102"/>
                      </a:lnTo>
                      <a:lnTo>
                        <a:pt x="721" y="98"/>
                      </a:lnTo>
                      <a:lnTo>
                        <a:pt x="721" y="93"/>
                      </a:lnTo>
                      <a:lnTo>
                        <a:pt x="718" y="93"/>
                      </a:lnTo>
                      <a:lnTo>
                        <a:pt x="714" y="93"/>
                      </a:lnTo>
                      <a:lnTo>
                        <a:pt x="710" y="93"/>
                      </a:lnTo>
                      <a:lnTo>
                        <a:pt x="707" y="93"/>
                      </a:lnTo>
                      <a:lnTo>
                        <a:pt x="705" y="100"/>
                      </a:lnTo>
                      <a:lnTo>
                        <a:pt x="703" y="106"/>
                      </a:lnTo>
                      <a:lnTo>
                        <a:pt x="703" y="106"/>
                      </a:lnTo>
                      <a:lnTo>
                        <a:pt x="701" y="109"/>
                      </a:lnTo>
                      <a:lnTo>
                        <a:pt x="701" y="111"/>
                      </a:lnTo>
                      <a:lnTo>
                        <a:pt x="701" y="111"/>
                      </a:lnTo>
                      <a:lnTo>
                        <a:pt x="699" y="115"/>
                      </a:lnTo>
                      <a:lnTo>
                        <a:pt x="699" y="117"/>
                      </a:lnTo>
                      <a:lnTo>
                        <a:pt x="699" y="117"/>
                      </a:lnTo>
                      <a:lnTo>
                        <a:pt x="697" y="118"/>
                      </a:lnTo>
                      <a:lnTo>
                        <a:pt x="697" y="120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4" y="122"/>
                      </a:lnTo>
                      <a:lnTo>
                        <a:pt x="692" y="122"/>
                      </a:lnTo>
                      <a:lnTo>
                        <a:pt x="690" y="124"/>
                      </a:lnTo>
                      <a:lnTo>
                        <a:pt x="688" y="126"/>
                      </a:lnTo>
                      <a:lnTo>
                        <a:pt x="688" y="126"/>
                      </a:lnTo>
                      <a:lnTo>
                        <a:pt x="684" y="126"/>
                      </a:lnTo>
                      <a:lnTo>
                        <a:pt x="684" y="126"/>
                      </a:lnTo>
                      <a:lnTo>
                        <a:pt x="681" y="126"/>
                      </a:lnTo>
                      <a:lnTo>
                        <a:pt x="677" y="128"/>
                      </a:lnTo>
                      <a:lnTo>
                        <a:pt x="673" y="135"/>
                      </a:lnTo>
                      <a:lnTo>
                        <a:pt x="670" y="142"/>
                      </a:lnTo>
                      <a:lnTo>
                        <a:pt x="668" y="150"/>
                      </a:lnTo>
                      <a:lnTo>
                        <a:pt x="662" y="159"/>
                      </a:lnTo>
                      <a:lnTo>
                        <a:pt x="662" y="159"/>
                      </a:lnTo>
                      <a:lnTo>
                        <a:pt x="659" y="161"/>
                      </a:lnTo>
                      <a:lnTo>
                        <a:pt x="659" y="161"/>
                      </a:lnTo>
                      <a:lnTo>
                        <a:pt x="655" y="161"/>
                      </a:lnTo>
                      <a:lnTo>
                        <a:pt x="649" y="163"/>
                      </a:lnTo>
                      <a:lnTo>
                        <a:pt x="646" y="163"/>
                      </a:lnTo>
                      <a:lnTo>
                        <a:pt x="646" y="168"/>
                      </a:lnTo>
                      <a:lnTo>
                        <a:pt x="646" y="174"/>
                      </a:lnTo>
                      <a:lnTo>
                        <a:pt x="646" y="174"/>
                      </a:lnTo>
                      <a:lnTo>
                        <a:pt x="640" y="176"/>
                      </a:lnTo>
                      <a:lnTo>
                        <a:pt x="635" y="177"/>
                      </a:lnTo>
                      <a:lnTo>
                        <a:pt x="629" y="179"/>
                      </a:lnTo>
                      <a:lnTo>
                        <a:pt x="624" y="179"/>
                      </a:lnTo>
                      <a:lnTo>
                        <a:pt x="624" y="185"/>
                      </a:lnTo>
                      <a:lnTo>
                        <a:pt x="624" y="192"/>
                      </a:lnTo>
                      <a:lnTo>
                        <a:pt x="624" y="192"/>
                      </a:lnTo>
                      <a:lnTo>
                        <a:pt x="620" y="190"/>
                      </a:lnTo>
                      <a:lnTo>
                        <a:pt x="616" y="189"/>
                      </a:lnTo>
                      <a:lnTo>
                        <a:pt x="614" y="189"/>
                      </a:lnTo>
                      <a:lnTo>
                        <a:pt x="611" y="187"/>
                      </a:lnTo>
                      <a:lnTo>
                        <a:pt x="609" y="190"/>
                      </a:lnTo>
                      <a:lnTo>
                        <a:pt x="607" y="198"/>
                      </a:lnTo>
                      <a:lnTo>
                        <a:pt x="607" y="198"/>
                      </a:lnTo>
                      <a:lnTo>
                        <a:pt x="603" y="198"/>
                      </a:lnTo>
                      <a:lnTo>
                        <a:pt x="600" y="198"/>
                      </a:lnTo>
                      <a:lnTo>
                        <a:pt x="594" y="198"/>
                      </a:lnTo>
                      <a:lnTo>
                        <a:pt x="590" y="198"/>
                      </a:lnTo>
                      <a:lnTo>
                        <a:pt x="585" y="187"/>
                      </a:lnTo>
                      <a:lnTo>
                        <a:pt x="579" y="177"/>
                      </a:lnTo>
                      <a:lnTo>
                        <a:pt x="574" y="168"/>
                      </a:lnTo>
                      <a:lnTo>
                        <a:pt x="574" y="168"/>
                      </a:lnTo>
                      <a:lnTo>
                        <a:pt x="570" y="159"/>
                      </a:lnTo>
                      <a:lnTo>
                        <a:pt x="559" y="163"/>
                      </a:lnTo>
                      <a:lnTo>
                        <a:pt x="548" y="165"/>
                      </a:lnTo>
                      <a:lnTo>
                        <a:pt x="537" y="166"/>
                      </a:lnTo>
                      <a:lnTo>
                        <a:pt x="524" y="170"/>
                      </a:lnTo>
                      <a:lnTo>
                        <a:pt x="524" y="168"/>
                      </a:lnTo>
                      <a:lnTo>
                        <a:pt x="526" y="161"/>
                      </a:lnTo>
                      <a:lnTo>
                        <a:pt x="526" y="152"/>
                      </a:lnTo>
                      <a:lnTo>
                        <a:pt x="528" y="142"/>
                      </a:lnTo>
                      <a:lnTo>
                        <a:pt x="528" y="133"/>
                      </a:lnTo>
                      <a:lnTo>
                        <a:pt x="528" y="133"/>
                      </a:lnTo>
                      <a:lnTo>
                        <a:pt x="531" y="133"/>
                      </a:lnTo>
                      <a:lnTo>
                        <a:pt x="531" y="133"/>
                      </a:lnTo>
                      <a:lnTo>
                        <a:pt x="535" y="131"/>
                      </a:lnTo>
                      <a:lnTo>
                        <a:pt x="537" y="131"/>
                      </a:lnTo>
                      <a:lnTo>
                        <a:pt x="540" y="131"/>
                      </a:lnTo>
                      <a:lnTo>
                        <a:pt x="540" y="124"/>
                      </a:lnTo>
                      <a:lnTo>
                        <a:pt x="540" y="115"/>
                      </a:lnTo>
                      <a:lnTo>
                        <a:pt x="542" y="109"/>
                      </a:lnTo>
                      <a:lnTo>
                        <a:pt x="542" y="102"/>
                      </a:lnTo>
                      <a:lnTo>
                        <a:pt x="542" y="102"/>
                      </a:lnTo>
                      <a:lnTo>
                        <a:pt x="544" y="94"/>
                      </a:lnTo>
                      <a:lnTo>
                        <a:pt x="546" y="89"/>
                      </a:lnTo>
                      <a:lnTo>
                        <a:pt x="548" y="83"/>
                      </a:lnTo>
                      <a:lnTo>
                        <a:pt x="548" y="83"/>
                      </a:lnTo>
                      <a:lnTo>
                        <a:pt x="550" y="76"/>
                      </a:lnTo>
                      <a:lnTo>
                        <a:pt x="553" y="63"/>
                      </a:lnTo>
                      <a:lnTo>
                        <a:pt x="557" y="50"/>
                      </a:lnTo>
                      <a:lnTo>
                        <a:pt x="563" y="37"/>
                      </a:lnTo>
                      <a:lnTo>
                        <a:pt x="568" y="21"/>
                      </a:lnTo>
                      <a:lnTo>
                        <a:pt x="568" y="21"/>
                      </a:lnTo>
                      <a:lnTo>
                        <a:pt x="574" y="21"/>
                      </a:lnTo>
                      <a:lnTo>
                        <a:pt x="577" y="21"/>
                      </a:lnTo>
                      <a:lnTo>
                        <a:pt x="577" y="17"/>
                      </a:lnTo>
                      <a:lnTo>
                        <a:pt x="577" y="13"/>
                      </a:lnTo>
                      <a:lnTo>
                        <a:pt x="577" y="10"/>
                      </a:lnTo>
                      <a:lnTo>
                        <a:pt x="577" y="6"/>
                      </a:lnTo>
                      <a:lnTo>
                        <a:pt x="574" y="6"/>
                      </a:lnTo>
                      <a:lnTo>
                        <a:pt x="570" y="8"/>
                      </a:lnTo>
                      <a:lnTo>
                        <a:pt x="566" y="10"/>
                      </a:lnTo>
                      <a:lnTo>
                        <a:pt x="561" y="10"/>
                      </a:lnTo>
                      <a:lnTo>
                        <a:pt x="561" y="10"/>
                      </a:lnTo>
                      <a:lnTo>
                        <a:pt x="559" y="6"/>
                      </a:lnTo>
                      <a:lnTo>
                        <a:pt x="559" y="6"/>
                      </a:lnTo>
                      <a:lnTo>
                        <a:pt x="557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7" name="Freeform 2991"/>
                <p:cNvSpPr>
                  <a:spLocks/>
                </p:cNvSpPr>
                <p:nvPr/>
              </p:nvSpPr>
              <p:spPr bwMode="auto">
                <a:xfrm>
                  <a:off x="4153" y="2643"/>
                  <a:ext cx="12" cy="3"/>
                </a:xfrm>
                <a:custGeom>
                  <a:avLst/>
                  <a:gdLst>
                    <a:gd name="T0" fmla="*/ 0 w 12"/>
                    <a:gd name="T1" fmla="*/ 0 h 3"/>
                    <a:gd name="T2" fmla="*/ 0 w 12"/>
                    <a:gd name="T3" fmla="*/ 0 h 3"/>
                    <a:gd name="T4" fmla="*/ 1 w 12"/>
                    <a:gd name="T5" fmla="*/ 0 h 3"/>
                    <a:gd name="T6" fmla="*/ 5 w 12"/>
                    <a:gd name="T7" fmla="*/ 2 h 3"/>
                    <a:gd name="T8" fmla="*/ 9 w 12"/>
                    <a:gd name="T9" fmla="*/ 2 h 3"/>
                    <a:gd name="T10" fmla="*/ 12 w 12"/>
                    <a:gd name="T11" fmla="*/ 3 h 3"/>
                    <a:gd name="T12" fmla="*/ 12 w 12"/>
                    <a:gd name="T13" fmla="*/ 3 h 3"/>
                    <a:gd name="T14" fmla="*/ 12 w 12"/>
                    <a:gd name="T15" fmla="*/ 3 h 3"/>
                    <a:gd name="T16" fmla="*/ 9 w 12"/>
                    <a:gd name="T17" fmla="*/ 2 h 3"/>
                    <a:gd name="T18" fmla="*/ 5 w 12"/>
                    <a:gd name="T19" fmla="*/ 2 h 3"/>
                    <a:gd name="T20" fmla="*/ 1 w 12"/>
                    <a:gd name="T21" fmla="*/ 0 h 3"/>
                    <a:gd name="T22" fmla="*/ 0 w 12"/>
                    <a:gd name="T2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9" y="2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8" name="Freeform 2992"/>
                <p:cNvSpPr>
                  <a:spLocks/>
                </p:cNvSpPr>
                <p:nvPr/>
              </p:nvSpPr>
              <p:spPr bwMode="auto">
                <a:xfrm>
                  <a:off x="4153" y="2643"/>
                  <a:ext cx="12" cy="3"/>
                </a:xfrm>
                <a:custGeom>
                  <a:avLst/>
                  <a:gdLst>
                    <a:gd name="T0" fmla="*/ 0 w 12"/>
                    <a:gd name="T1" fmla="*/ 0 h 3"/>
                    <a:gd name="T2" fmla="*/ 0 w 12"/>
                    <a:gd name="T3" fmla="*/ 0 h 3"/>
                    <a:gd name="T4" fmla="*/ 1 w 12"/>
                    <a:gd name="T5" fmla="*/ 0 h 3"/>
                    <a:gd name="T6" fmla="*/ 5 w 12"/>
                    <a:gd name="T7" fmla="*/ 2 h 3"/>
                    <a:gd name="T8" fmla="*/ 9 w 12"/>
                    <a:gd name="T9" fmla="*/ 2 h 3"/>
                    <a:gd name="T10" fmla="*/ 12 w 12"/>
                    <a:gd name="T11" fmla="*/ 3 h 3"/>
                    <a:gd name="T12" fmla="*/ 12 w 12"/>
                    <a:gd name="T13" fmla="*/ 3 h 3"/>
                    <a:gd name="T14" fmla="*/ 12 w 12"/>
                    <a:gd name="T15" fmla="*/ 3 h 3"/>
                    <a:gd name="T16" fmla="*/ 9 w 12"/>
                    <a:gd name="T17" fmla="*/ 2 h 3"/>
                    <a:gd name="T18" fmla="*/ 5 w 12"/>
                    <a:gd name="T19" fmla="*/ 2 h 3"/>
                    <a:gd name="T20" fmla="*/ 1 w 12"/>
                    <a:gd name="T21" fmla="*/ 0 h 3"/>
                    <a:gd name="T22" fmla="*/ 0 w 12"/>
                    <a:gd name="T2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9" y="2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79" name="Freeform 2993"/>
                <p:cNvSpPr>
                  <a:spLocks/>
                </p:cNvSpPr>
                <p:nvPr/>
              </p:nvSpPr>
              <p:spPr bwMode="auto">
                <a:xfrm>
                  <a:off x="4675" y="2764"/>
                  <a:ext cx="66" cy="82"/>
                </a:xfrm>
                <a:custGeom>
                  <a:avLst/>
                  <a:gdLst>
                    <a:gd name="T0" fmla="*/ 0 w 66"/>
                    <a:gd name="T1" fmla="*/ 0 h 82"/>
                    <a:gd name="T2" fmla="*/ 0 w 66"/>
                    <a:gd name="T3" fmla="*/ 0 h 82"/>
                    <a:gd name="T4" fmla="*/ 13 w 66"/>
                    <a:gd name="T5" fmla="*/ 4 h 82"/>
                    <a:gd name="T6" fmla="*/ 22 w 66"/>
                    <a:gd name="T7" fmla="*/ 8 h 82"/>
                    <a:gd name="T8" fmla="*/ 26 w 66"/>
                    <a:gd name="T9" fmla="*/ 8 h 82"/>
                    <a:gd name="T10" fmla="*/ 28 w 66"/>
                    <a:gd name="T11" fmla="*/ 10 h 82"/>
                    <a:gd name="T12" fmla="*/ 31 w 66"/>
                    <a:gd name="T13" fmla="*/ 12 h 82"/>
                    <a:gd name="T14" fmla="*/ 33 w 66"/>
                    <a:gd name="T15" fmla="*/ 13 h 82"/>
                    <a:gd name="T16" fmla="*/ 37 w 66"/>
                    <a:gd name="T17" fmla="*/ 15 h 82"/>
                    <a:gd name="T18" fmla="*/ 39 w 66"/>
                    <a:gd name="T19" fmla="*/ 19 h 82"/>
                    <a:gd name="T20" fmla="*/ 40 w 66"/>
                    <a:gd name="T21" fmla="*/ 21 h 82"/>
                    <a:gd name="T22" fmla="*/ 44 w 66"/>
                    <a:gd name="T23" fmla="*/ 24 h 82"/>
                    <a:gd name="T24" fmla="*/ 48 w 66"/>
                    <a:gd name="T25" fmla="*/ 32 h 82"/>
                    <a:gd name="T26" fmla="*/ 55 w 66"/>
                    <a:gd name="T27" fmla="*/ 43 h 82"/>
                    <a:gd name="T28" fmla="*/ 61 w 66"/>
                    <a:gd name="T29" fmla="*/ 43 h 82"/>
                    <a:gd name="T30" fmla="*/ 66 w 66"/>
                    <a:gd name="T31" fmla="*/ 43 h 82"/>
                    <a:gd name="T32" fmla="*/ 66 w 66"/>
                    <a:gd name="T33" fmla="*/ 52 h 82"/>
                    <a:gd name="T34" fmla="*/ 66 w 66"/>
                    <a:gd name="T35" fmla="*/ 61 h 82"/>
                    <a:gd name="T36" fmla="*/ 66 w 66"/>
                    <a:gd name="T37" fmla="*/ 71 h 82"/>
                    <a:gd name="T38" fmla="*/ 66 w 66"/>
                    <a:gd name="T39" fmla="*/ 82 h 82"/>
                    <a:gd name="T40" fmla="*/ 66 w 66"/>
                    <a:gd name="T41" fmla="*/ 80 h 82"/>
                    <a:gd name="T42" fmla="*/ 66 w 66"/>
                    <a:gd name="T43" fmla="*/ 71 h 82"/>
                    <a:gd name="T44" fmla="*/ 66 w 66"/>
                    <a:gd name="T45" fmla="*/ 61 h 82"/>
                    <a:gd name="T46" fmla="*/ 66 w 66"/>
                    <a:gd name="T47" fmla="*/ 52 h 82"/>
                    <a:gd name="T48" fmla="*/ 66 w 66"/>
                    <a:gd name="T49" fmla="*/ 43 h 82"/>
                    <a:gd name="T50" fmla="*/ 61 w 66"/>
                    <a:gd name="T51" fmla="*/ 43 h 82"/>
                    <a:gd name="T52" fmla="*/ 55 w 66"/>
                    <a:gd name="T53" fmla="*/ 43 h 82"/>
                    <a:gd name="T54" fmla="*/ 48 w 66"/>
                    <a:gd name="T55" fmla="*/ 32 h 82"/>
                    <a:gd name="T56" fmla="*/ 44 w 66"/>
                    <a:gd name="T57" fmla="*/ 24 h 82"/>
                    <a:gd name="T58" fmla="*/ 40 w 66"/>
                    <a:gd name="T59" fmla="*/ 21 h 82"/>
                    <a:gd name="T60" fmla="*/ 39 w 66"/>
                    <a:gd name="T61" fmla="*/ 19 h 82"/>
                    <a:gd name="T62" fmla="*/ 37 w 66"/>
                    <a:gd name="T63" fmla="*/ 15 h 82"/>
                    <a:gd name="T64" fmla="*/ 33 w 66"/>
                    <a:gd name="T65" fmla="*/ 13 h 82"/>
                    <a:gd name="T66" fmla="*/ 31 w 66"/>
                    <a:gd name="T67" fmla="*/ 12 h 82"/>
                    <a:gd name="T68" fmla="*/ 28 w 66"/>
                    <a:gd name="T69" fmla="*/ 10 h 82"/>
                    <a:gd name="T70" fmla="*/ 26 w 66"/>
                    <a:gd name="T71" fmla="*/ 8 h 82"/>
                    <a:gd name="T72" fmla="*/ 22 w 66"/>
                    <a:gd name="T73" fmla="*/ 8 h 82"/>
                    <a:gd name="T74" fmla="*/ 13 w 66"/>
                    <a:gd name="T75" fmla="*/ 4 h 82"/>
                    <a:gd name="T76" fmla="*/ 0 w 66"/>
                    <a:gd name="T77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6" h="8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3" y="4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28" y="10"/>
                      </a:lnTo>
                      <a:lnTo>
                        <a:pt x="31" y="12"/>
                      </a:lnTo>
                      <a:lnTo>
                        <a:pt x="33" y="13"/>
                      </a:lnTo>
                      <a:lnTo>
                        <a:pt x="37" y="15"/>
                      </a:lnTo>
                      <a:lnTo>
                        <a:pt x="39" y="19"/>
                      </a:lnTo>
                      <a:lnTo>
                        <a:pt x="40" y="21"/>
                      </a:lnTo>
                      <a:lnTo>
                        <a:pt x="44" y="24"/>
                      </a:lnTo>
                      <a:lnTo>
                        <a:pt x="48" y="32"/>
                      </a:lnTo>
                      <a:lnTo>
                        <a:pt x="55" y="43"/>
                      </a:lnTo>
                      <a:lnTo>
                        <a:pt x="61" y="43"/>
                      </a:lnTo>
                      <a:lnTo>
                        <a:pt x="66" y="43"/>
                      </a:lnTo>
                      <a:lnTo>
                        <a:pt x="66" y="52"/>
                      </a:lnTo>
                      <a:lnTo>
                        <a:pt x="66" y="61"/>
                      </a:lnTo>
                      <a:lnTo>
                        <a:pt x="66" y="71"/>
                      </a:lnTo>
                      <a:lnTo>
                        <a:pt x="66" y="82"/>
                      </a:lnTo>
                      <a:lnTo>
                        <a:pt x="66" y="80"/>
                      </a:lnTo>
                      <a:lnTo>
                        <a:pt x="66" y="71"/>
                      </a:lnTo>
                      <a:lnTo>
                        <a:pt x="66" y="61"/>
                      </a:lnTo>
                      <a:lnTo>
                        <a:pt x="66" y="52"/>
                      </a:lnTo>
                      <a:lnTo>
                        <a:pt x="66" y="43"/>
                      </a:lnTo>
                      <a:lnTo>
                        <a:pt x="61" y="43"/>
                      </a:lnTo>
                      <a:lnTo>
                        <a:pt x="55" y="43"/>
                      </a:lnTo>
                      <a:lnTo>
                        <a:pt x="48" y="32"/>
                      </a:lnTo>
                      <a:lnTo>
                        <a:pt x="44" y="24"/>
                      </a:lnTo>
                      <a:lnTo>
                        <a:pt x="40" y="21"/>
                      </a:lnTo>
                      <a:lnTo>
                        <a:pt x="39" y="19"/>
                      </a:lnTo>
                      <a:lnTo>
                        <a:pt x="37" y="15"/>
                      </a:lnTo>
                      <a:lnTo>
                        <a:pt x="33" y="13"/>
                      </a:lnTo>
                      <a:lnTo>
                        <a:pt x="31" y="12"/>
                      </a:lnTo>
                      <a:lnTo>
                        <a:pt x="28" y="10"/>
                      </a:lnTo>
                      <a:lnTo>
                        <a:pt x="26" y="8"/>
                      </a:lnTo>
                      <a:lnTo>
                        <a:pt x="22" y="8"/>
                      </a:lnTo>
                      <a:lnTo>
                        <a:pt x="13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0" name="Freeform 2994"/>
                <p:cNvSpPr>
                  <a:spLocks/>
                </p:cNvSpPr>
                <p:nvPr/>
              </p:nvSpPr>
              <p:spPr bwMode="auto">
                <a:xfrm>
                  <a:off x="4675" y="2764"/>
                  <a:ext cx="66" cy="82"/>
                </a:xfrm>
                <a:custGeom>
                  <a:avLst/>
                  <a:gdLst>
                    <a:gd name="T0" fmla="*/ 0 w 66"/>
                    <a:gd name="T1" fmla="*/ 0 h 82"/>
                    <a:gd name="T2" fmla="*/ 0 w 66"/>
                    <a:gd name="T3" fmla="*/ 0 h 82"/>
                    <a:gd name="T4" fmla="*/ 13 w 66"/>
                    <a:gd name="T5" fmla="*/ 4 h 82"/>
                    <a:gd name="T6" fmla="*/ 22 w 66"/>
                    <a:gd name="T7" fmla="*/ 8 h 82"/>
                    <a:gd name="T8" fmla="*/ 26 w 66"/>
                    <a:gd name="T9" fmla="*/ 8 h 82"/>
                    <a:gd name="T10" fmla="*/ 28 w 66"/>
                    <a:gd name="T11" fmla="*/ 10 h 82"/>
                    <a:gd name="T12" fmla="*/ 31 w 66"/>
                    <a:gd name="T13" fmla="*/ 12 h 82"/>
                    <a:gd name="T14" fmla="*/ 33 w 66"/>
                    <a:gd name="T15" fmla="*/ 13 h 82"/>
                    <a:gd name="T16" fmla="*/ 37 w 66"/>
                    <a:gd name="T17" fmla="*/ 15 h 82"/>
                    <a:gd name="T18" fmla="*/ 39 w 66"/>
                    <a:gd name="T19" fmla="*/ 19 h 82"/>
                    <a:gd name="T20" fmla="*/ 40 w 66"/>
                    <a:gd name="T21" fmla="*/ 21 h 82"/>
                    <a:gd name="T22" fmla="*/ 44 w 66"/>
                    <a:gd name="T23" fmla="*/ 24 h 82"/>
                    <a:gd name="T24" fmla="*/ 48 w 66"/>
                    <a:gd name="T25" fmla="*/ 32 h 82"/>
                    <a:gd name="T26" fmla="*/ 55 w 66"/>
                    <a:gd name="T27" fmla="*/ 43 h 82"/>
                    <a:gd name="T28" fmla="*/ 61 w 66"/>
                    <a:gd name="T29" fmla="*/ 43 h 82"/>
                    <a:gd name="T30" fmla="*/ 66 w 66"/>
                    <a:gd name="T31" fmla="*/ 43 h 82"/>
                    <a:gd name="T32" fmla="*/ 66 w 66"/>
                    <a:gd name="T33" fmla="*/ 52 h 82"/>
                    <a:gd name="T34" fmla="*/ 66 w 66"/>
                    <a:gd name="T35" fmla="*/ 61 h 82"/>
                    <a:gd name="T36" fmla="*/ 66 w 66"/>
                    <a:gd name="T37" fmla="*/ 71 h 82"/>
                    <a:gd name="T38" fmla="*/ 66 w 66"/>
                    <a:gd name="T39" fmla="*/ 82 h 82"/>
                    <a:gd name="T40" fmla="*/ 66 w 66"/>
                    <a:gd name="T41" fmla="*/ 80 h 82"/>
                    <a:gd name="T42" fmla="*/ 66 w 66"/>
                    <a:gd name="T43" fmla="*/ 71 h 82"/>
                    <a:gd name="T44" fmla="*/ 66 w 66"/>
                    <a:gd name="T45" fmla="*/ 61 h 82"/>
                    <a:gd name="T46" fmla="*/ 66 w 66"/>
                    <a:gd name="T47" fmla="*/ 52 h 82"/>
                    <a:gd name="T48" fmla="*/ 66 w 66"/>
                    <a:gd name="T49" fmla="*/ 43 h 82"/>
                    <a:gd name="T50" fmla="*/ 61 w 66"/>
                    <a:gd name="T51" fmla="*/ 43 h 82"/>
                    <a:gd name="T52" fmla="*/ 55 w 66"/>
                    <a:gd name="T53" fmla="*/ 43 h 82"/>
                    <a:gd name="T54" fmla="*/ 48 w 66"/>
                    <a:gd name="T55" fmla="*/ 32 h 82"/>
                    <a:gd name="T56" fmla="*/ 44 w 66"/>
                    <a:gd name="T57" fmla="*/ 24 h 82"/>
                    <a:gd name="T58" fmla="*/ 40 w 66"/>
                    <a:gd name="T59" fmla="*/ 21 h 82"/>
                    <a:gd name="T60" fmla="*/ 39 w 66"/>
                    <a:gd name="T61" fmla="*/ 19 h 82"/>
                    <a:gd name="T62" fmla="*/ 37 w 66"/>
                    <a:gd name="T63" fmla="*/ 15 h 82"/>
                    <a:gd name="T64" fmla="*/ 33 w 66"/>
                    <a:gd name="T65" fmla="*/ 13 h 82"/>
                    <a:gd name="T66" fmla="*/ 31 w 66"/>
                    <a:gd name="T67" fmla="*/ 12 h 82"/>
                    <a:gd name="T68" fmla="*/ 28 w 66"/>
                    <a:gd name="T69" fmla="*/ 10 h 82"/>
                    <a:gd name="T70" fmla="*/ 26 w 66"/>
                    <a:gd name="T71" fmla="*/ 8 h 82"/>
                    <a:gd name="T72" fmla="*/ 22 w 66"/>
                    <a:gd name="T73" fmla="*/ 8 h 82"/>
                    <a:gd name="T74" fmla="*/ 13 w 66"/>
                    <a:gd name="T75" fmla="*/ 4 h 82"/>
                    <a:gd name="T76" fmla="*/ 0 w 66"/>
                    <a:gd name="T77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6" h="8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3" y="4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28" y="10"/>
                      </a:lnTo>
                      <a:lnTo>
                        <a:pt x="31" y="12"/>
                      </a:lnTo>
                      <a:lnTo>
                        <a:pt x="33" y="13"/>
                      </a:lnTo>
                      <a:lnTo>
                        <a:pt x="37" y="15"/>
                      </a:lnTo>
                      <a:lnTo>
                        <a:pt x="39" y="19"/>
                      </a:lnTo>
                      <a:lnTo>
                        <a:pt x="40" y="21"/>
                      </a:lnTo>
                      <a:lnTo>
                        <a:pt x="44" y="24"/>
                      </a:lnTo>
                      <a:lnTo>
                        <a:pt x="48" y="32"/>
                      </a:lnTo>
                      <a:lnTo>
                        <a:pt x="55" y="43"/>
                      </a:lnTo>
                      <a:lnTo>
                        <a:pt x="61" y="43"/>
                      </a:lnTo>
                      <a:lnTo>
                        <a:pt x="66" y="43"/>
                      </a:lnTo>
                      <a:lnTo>
                        <a:pt x="66" y="52"/>
                      </a:lnTo>
                      <a:lnTo>
                        <a:pt x="66" y="61"/>
                      </a:lnTo>
                      <a:lnTo>
                        <a:pt x="66" y="71"/>
                      </a:lnTo>
                      <a:lnTo>
                        <a:pt x="66" y="82"/>
                      </a:lnTo>
                      <a:lnTo>
                        <a:pt x="66" y="80"/>
                      </a:lnTo>
                      <a:lnTo>
                        <a:pt x="66" y="71"/>
                      </a:lnTo>
                      <a:lnTo>
                        <a:pt x="66" y="61"/>
                      </a:lnTo>
                      <a:lnTo>
                        <a:pt x="66" y="52"/>
                      </a:lnTo>
                      <a:lnTo>
                        <a:pt x="66" y="43"/>
                      </a:lnTo>
                      <a:lnTo>
                        <a:pt x="61" y="43"/>
                      </a:lnTo>
                      <a:lnTo>
                        <a:pt x="55" y="43"/>
                      </a:lnTo>
                      <a:lnTo>
                        <a:pt x="48" y="32"/>
                      </a:lnTo>
                      <a:lnTo>
                        <a:pt x="44" y="24"/>
                      </a:lnTo>
                      <a:lnTo>
                        <a:pt x="40" y="21"/>
                      </a:lnTo>
                      <a:lnTo>
                        <a:pt x="39" y="19"/>
                      </a:lnTo>
                      <a:lnTo>
                        <a:pt x="37" y="15"/>
                      </a:lnTo>
                      <a:lnTo>
                        <a:pt x="33" y="13"/>
                      </a:lnTo>
                      <a:lnTo>
                        <a:pt x="31" y="12"/>
                      </a:lnTo>
                      <a:lnTo>
                        <a:pt x="28" y="10"/>
                      </a:lnTo>
                      <a:lnTo>
                        <a:pt x="26" y="8"/>
                      </a:lnTo>
                      <a:lnTo>
                        <a:pt x="22" y="8"/>
                      </a:lnTo>
                      <a:lnTo>
                        <a:pt x="13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1" name="Freeform 2995"/>
                <p:cNvSpPr>
                  <a:spLocks noEditPoints="1"/>
                </p:cNvSpPr>
                <p:nvPr/>
              </p:nvSpPr>
              <p:spPr bwMode="auto">
                <a:xfrm>
                  <a:off x="4153" y="2519"/>
                  <a:ext cx="478" cy="127"/>
                </a:xfrm>
                <a:custGeom>
                  <a:avLst/>
                  <a:gdLst>
                    <a:gd name="T0" fmla="*/ 0 w 478"/>
                    <a:gd name="T1" fmla="*/ 124 h 127"/>
                    <a:gd name="T2" fmla="*/ 0 w 478"/>
                    <a:gd name="T3" fmla="*/ 124 h 127"/>
                    <a:gd name="T4" fmla="*/ 1 w 478"/>
                    <a:gd name="T5" fmla="*/ 124 h 127"/>
                    <a:gd name="T6" fmla="*/ 5 w 478"/>
                    <a:gd name="T7" fmla="*/ 126 h 127"/>
                    <a:gd name="T8" fmla="*/ 9 w 478"/>
                    <a:gd name="T9" fmla="*/ 126 h 127"/>
                    <a:gd name="T10" fmla="*/ 12 w 478"/>
                    <a:gd name="T11" fmla="*/ 127 h 127"/>
                    <a:gd name="T12" fmla="*/ 12 w 478"/>
                    <a:gd name="T13" fmla="*/ 127 h 127"/>
                    <a:gd name="T14" fmla="*/ 12 w 478"/>
                    <a:gd name="T15" fmla="*/ 127 h 127"/>
                    <a:gd name="T16" fmla="*/ 9 w 478"/>
                    <a:gd name="T17" fmla="*/ 126 h 127"/>
                    <a:gd name="T18" fmla="*/ 5 w 478"/>
                    <a:gd name="T19" fmla="*/ 126 h 127"/>
                    <a:gd name="T20" fmla="*/ 1 w 478"/>
                    <a:gd name="T21" fmla="*/ 124 h 127"/>
                    <a:gd name="T22" fmla="*/ 0 w 478"/>
                    <a:gd name="T23" fmla="*/ 124 h 127"/>
                    <a:gd name="T24" fmla="*/ 424 w 478"/>
                    <a:gd name="T25" fmla="*/ 0 h 127"/>
                    <a:gd name="T26" fmla="*/ 413 w 478"/>
                    <a:gd name="T27" fmla="*/ 4 h 127"/>
                    <a:gd name="T28" fmla="*/ 402 w 478"/>
                    <a:gd name="T29" fmla="*/ 6 h 127"/>
                    <a:gd name="T30" fmla="*/ 391 w 478"/>
                    <a:gd name="T31" fmla="*/ 7 h 127"/>
                    <a:gd name="T32" fmla="*/ 378 w 478"/>
                    <a:gd name="T33" fmla="*/ 11 h 127"/>
                    <a:gd name="T34" fmla="*/ 391 w 478"/>
                    <a:gd name="T35" fmla="*/ 7 h 127"/>
                    <a:gd name="T36" fmla="*/ 402 w 478"/>
                    <a:gd name="T37" fmla="*/ 6 h 127"/>
                    <a:gd name="T38" fmla="*/ 413 w 478"/>
                    <a:gd name="T39" fmla="*/ 4 h 127"/>
                    <a:gd name="T40" fmla="*/ 424 w 478"/>
                    <a:gd name="T41" fmla="*/ 0 h 127"/>
                    <a:gd name="T42" fmla="*/ 428 w 478"/>
                    <a:gd name="T43" fmla="*/ 9 h 127"/>
                    <a:gd name="T44" fmla="*/ 428 w 478"/>
                    <a:gd name="T45" fmla="*/ 9 h 127"/>
                    <a:gd name="T46" fmla="*/ 433 w 478"/>
                    <a:gd name="T47" fmla="*/ 18 h 127"/>
                    <a:gd name="T48" fmla="*/ 439 w 478"/>
                    <a:gd name="T49" fmla="*/ 28 h 127"/>
                    <a:gd name="T50" fmla="*/ 444 w 478"/>
                    <a:gd name="T51" fmla="*/ 39 h 127"/>
                    <a:gd name="T52" fmla="*/ 448 w 478"/>
                    <a:gd name="T53" fmla="*/ 39 h 127"/>
                    <a:gd name="T54" fmla="*/ 454 w 478"/>
                    <a:gd name="T55" fmla="*/ 39 h 127"/>
                    <a:gd name="T56" fmla="*/ 457 w 478"/>
                    <a:gd name="T57" fmla="*/ 39 h 127"/>
                    <a:gd name="T58" fmla="*/ 461 w 478"/>
                    <a:gd name="T59" fmla="*/ 39 h 127"/>
                    <a:gd name="T60" fmla="*/ 461 w 478"/>
                    <a:gd name="T61" fmla="*/ 39 h 127"/>
                    <a:gd name="T62" fmla="*/ 463 w 478"/>
                    <a:gd name="T63" fmla="*/ 31 h 127"/>
                    <a:gd name="T64" fmla="*/ 465 w 478"/>
                    <a:gd name="T65" fmla="*/ 28 h 127"/>
                    <a:gd name="T66" fmla="*/ 468 w 478"/>
                    <a:gd name="T67" fmla="*/ 30 h 127"/>
                    <a:gd name="T68" fmla="*/ 470 w 478"/>
                    <a:gd name="T69" fmla="*/ 30 h 127"/>
                    <a:gd name="T70" fmla="*/ 474 w 478"/>
                    <a:gd name="T71" fmla="*/ 31 h 127"/>
                    <a:gd name="T72" fmla="*/ 478 w 478"/>
                    <a:gd name="T73" fmla="*/ 33 h 127"/>
                    <a:gd name="T74" fmla="*/ 478 w 478"/>
                    <a:gd name="T75" fmla="*/ 33 h 127"/>
                    <a:gd name="T76" fmla="*/ 478 w 478"/>
                    <a:gd name="T77" fmla="*/ 33 h 127"/>
                    <a:gd name="T78" fmla="*/ 474 w 478"/>
                    <a:gd name="T79" fmla="*/ 31 h 127"/>
                    <a:gd name="T80" fmla="*/ 470 w 478"/>
                    <a:gd name="T81" fmla="*/ 30 h 127"/>
                    <a:gd name="T82" fmla="*/ 468 w 478"/>
                    <a:gd name="T83" fmla="*/ 30 h 127"/>
                    <a:gd name="T84" fmla="*/ 465 w 478"/>
                    <a:gd name="T85" fmla="*/ 28 h 127"/>
                    <a:gd name="T86" fmla="*/ 463 w 478"/>
                    <a:gd name="T87" fmla="*/ 31 h 127"/>
                    <a:gd name="T88" fmla="*/ 461 w 478"/>
                    <a:gd name="T89" fmla="*/ 39 h 127"/>
                    <a:gd name="T90" fmla="*/ 461 w 478"/>
                    <a:gd name="T91" fmla="*/ 39 h 127"/>
                    <a:gd name="T92" fmla="*/ 457 w 478"/>
                    <a:gd name="T93" fmla="*/ 39 h 127"/>
                    <a:gd name="T94" fmla="*/ 454 w 478"/>
                    <a:gd name="T95" fmla="*/ 39 h 127"/>
                    <a:gd name="T96" fmla="*/ 448 w 478"/>
                    <a:gd name="T97" fmla="*/ 39 h 127"/>
                    <a:gd name="T98" fmla="*/ 444 w 478"/>
                    <a:gd name="T99" fmla="*/ 39 h 127"/>
                    <a:gd name="T100" fmla="*/ 439 w 478"/>
                    <a:gd name="T101" fmla="*/ 28 h 127"/>
                    <a:gd name="T102" fmla="*/ 433 w 478"/>
                    <a:gd name="T103" fmla="*/ 18 h 127"/>
                    <a:gd name="T104" fmla="*/ 428 w 478"/>
                    <a:gd name="T105" fmla="*/ 9 h 127"/>
                    <a:gd name="T106" fmla="*/ 428 w 478"/>
                    <a:gd name="T107" fmla="*/ 9 h 127"/>
                    <a:gd name="T108" fmla="*/ 424 w 478"/>
                    <a:gd name="T109" fmla="*/ 0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478" h="127">
                      <a:moveTo>
                        <a:pt x="0" y="124"/>
                      </a:moveTo>
                      <a:lnTo>
                        <a:pt x="0" y="124"/>
                      </a:lnTo>
                      <a:lnTo>
                        <a:pt x="1" y="124"/>
                      </a:lnTo>
                      <a:lnTo>
                        <a:pt x="5" y="126"/>
                      </a:lnTo>
                      <a:lnTo>
                        <a:pt x="9" y="126"/>
                      </a:lnTo>
                      <a:lnTo>
                        <a:pt x="12" y="127"/>
                      </a:lnTo>
                      <a:lnTo>
                        <a:pt x="12" y="127"/>
                      </a:lnTo>
                      <a:lnTo>
                        <a:pt x="12" y="127"/>
                      </a:lnTo>
                      <a:lnTo>
                        <a:pt x="9" y="126"/>
                      </a:lnTo>
                      <a:lnTo>
                        <a:pt x="5" y="126"/>
                      </a:lnTo>
                      <a:lnTo>
                        <a:pt x="1" y="124"/>
                      </a:lnTo>
                      <a:lnTo>
                        <a:pt x="0" y="124"/>
                      </a:lnTo>
                      <a:close/>
                      <a:moveTo>
                        <a:pt x="424" y="0"/>
                      </a:moveTo>
                      <a:lnTo>
                        <a:pt x="413" y="4"/>
                      </a:lnTo>
                      <a:lnTo>
                        <a:pt x="402" y="6"/>
                      </a:lnTo>
                      <a:lnTo>
                        <a:pt x="391" y="7"/>
                      </a:lnTo>
                      <a:lnTo>
                        <a:pt x="378" y="11"/>
                      </a:lnTo>
                      <a:lnTo>
                        <a:pt x="391" y="7"/>
                      </a:lnTo>
                      <a:lnTo>
                        <a:pt x="402" y="6"/>
                      </a:lnTo>
                      <a:lnTo>
                        <a:pt x="413" y="4"/>
                      </a:lnTo>
                      <a:lnTo>
                        <a:pt x="424" y="0"/>
                      </a:lnTo>
                      <a:lnTo>
                        <a:pt x="428" y="9"/>
                      </a:lnTo>
                      <a:lnTo>
                        <a:pt x="428" y="9"/>
                      </a:lnTo>
                      <a:lnTo>
                        <a:pt x="433" y="18"/>
                      </a:lnTo>
                      <a:lnTo>
                        <a:pt x="439" y="28"/>
                      </a:lnTo>
                      <a:lnTo>
                        <a:pt x="444" y="39"/>
                      </a:lnTo>
                      <a:lnTo>
                        <a:pt x="448" y="39"/>
                      </a:lnTo>
                      <a:lnTo>
                        <a:pt x="454" y="39"/>
                      </a:lnTo>
                      <a:lnTo>
                        <a:pt x="457" y="39"/>
                      </a:lnTo>
                      <a:lnTo>
                        <a:pt x="461" y="39"/>
                      </a:lnTo>
                      <a:lnTo>
                        <a:pt x="461" y="39"/>
                      </a:lnTo>
                      <a:lnTo>
                        <a:pt x="463" y="31"/>
                      </a:lnTo>
                      <a:lnTo>
                        <a:pt x="465" y="28"/>
                      </a:lnTo>
                      <a:lnTo>
                        <a:pt x="468" y="30"/>
                      </a:lnTo>
                      <a:lnTo>
                        <a:pt x="470" y="30"/>
                      </a:lnTo>
                      <a:lnTo>
                        <a:pt x="474" y="31"/>
                      </a:lnTo>
                      <a:lnTo>
                        <a:pt x="478" y="33"/>
                      </a:lnTo>
                      <a:lnTo>
                        <a:pt x="478" y="33"/>
                      </a:lnTo>
                      <a:lnTo>
                        <a:pt x="478" y="33"/>
                      </a:lnTo>
                      <a:lnTo>
                        <a:pt x="474" y="31"/>
                      </a:lnTo>
                      <a:lnTo>
                        <a:pt x="470" y="30"/>
                      </a:lnTo>
                      <a:lnTo>
                        <a:pt x="468" y="30"/>
                      </a:lnTo>
                      <a:lnTo>
                        <a:pt x="465" y="28"/>
                      </a:lnTo>
                      <a:lnTo>
                        <a:pt x="463" y="31"/>
                      </a:lnTo>
                      <a:lnTo>
                        <a:pt x="461" y="39"/>
                      </a:lnTo>
                      <a:lnTo>
                        <a:pt x="461" y="39"/>
                      </a:lnTo>
                      <a:lnTo>
                        <a:pt x="457" y="39"/>
                      </a:lnTo>
                      <a:lnTo>
                        <a:pt x="454" y="39"/>
                      </a:lnTo>
                      <a:lnTo>
                        <a:pt x="448" y="39"/>
                      </a:lnTo>
                      <a:lnTo>
                        <a:pt x="444" y="39"/>
                      </a:lnTo>
                      <a:lnTo>
                        <a:pt x="439" y="28"/>
                      </a:lnTo>
                      <a:lnTo>
                        <a:pt x="433" y="18"/>
                      </a:lnTo>
                      <a:lnTo>
                        <a:pt x="428" y="9"/>
                      </a:lnTo>
                      <a:lnTo>
                        <a:pt x="428" y="9"/>
                      </a:lnTo>
                      <a:lnTo>
                        <a:pt x="42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2" name="Freeform 2996"/>
                <p:cNvSpPr>
                  <a:spLocks/>
                </p:cNvSpPr>
                <p:nvPr/>
              </p:nvSpPr>
              <p:spPr bwMode="auto">
                <a:xfrm>
                  <a:off x="4153" y="2643"/>
                  <a:ext cx="12" cy="3"/>
                </a:xfrm>
                <a:custGeom>
                  <a:avLst/>
                  <a:gdLst>
                    <a:gd name="T0" fmla="*/ 0 w 12"/>
                    <a:gd name="T1" fmla="*/ 0 h 3"/>
                    <a:gd name="T2" fmla="*/ 0 w 12"/>
                    <a:gd name="T3" fmla="*/ 0 h 3"/>
                    <a:gd name="T4" fmla="*/ 1 w 12"/>
                    <a:gd name="T5" fmla="*/ 0 h 3"/>
                    <a:gd name="T6" fmla="*/ 5 w 12"/>
                    <a:gd name="T7" fmla="*/ 2 h 3"/>
                    <a:gd name="T8" fmla="*/ 9 w 12"/>
                    <a:gd name="T9" fmla="*/ 2 h 3"/>
                    <a:gd name="T10" fmla="*/ 12 w 12"/>
                    <a:gd name="T11" fmla="*/ 3 h 3"/>
                    <a:gd name="T12" fmla="*/ 12 w 12"/>
                    <a:gd name="T13" fmla="*/ 3 h 3"/>
                    <a:gd name="T14" fmla="*/ 12 w 12"/>
                    <a:gd name="T15" fmla="*/ 3 h 3"/>
                    <a:gd name="T16" fmla="*/ 9 w 12"/>
                    <a:gd name="T17" fmla="*/ 2 h 3"/>
                    <a:gd name="T18" fmla="*/ 5 w 12"/>
                    <a:gd name="T19" fmla="*/ 2 h 3"/>
                    <a:gd name="T20" fmla="*/ 1 w 12"/>
                    <a:gd name="T21" fmla="*/ 0 h 3"/>
                    <a:gd name="T22" fmla="*/ 0 w 12"/>
                    <a:gd name="T2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9" y="2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3" name="Freeform 2997"/>
                <p:cNvSpPr>
                  <a:spLocks/>
                </p:cNvSpPr>
                <p:nvPr/>
              </p:nvSpPr>
              <p:spPr bwMode="auto">
                <a:xfrm>
                  <a:off x="4531" y="2519"/>
                  <a:ext cx="100" cy="39"/>
                </a:xfrm>
                <a:custGeom>
                  <a:avLst/>
                  <a:gdLst>
                    <a:gd name="T0" fmla="*/ 46 w 100"/>
                    <a:gd name="T1" fmla="*/ 0 h 39"/>
                    <a:gd name="T2" fmla="*/ 35 w 100"/>
                    <a:gd name="T3" fmla="*/ 4 h 39"/>
                    <a:gd name="T4" fmla="*/ 24 w 100"/>
                    <a:gd name="T5" fmla="*/ 6 h 39"/>
                    <a:gd name="T6" fmla="*/ 13 w 100"/>
                    <a:gd name="T7" fmla="*/ 7 h 39"/>
                    <a:gd name="T8" fmla="*/ 0 w 100"/>
                    <a:gd name="T9" fmla="*/ 11 h 39"/>
                    <a:gd name="T10" fmla="*/ 13 w 100"/>
                    <a:gd name="T11" fmla="*/ 7 h 39"/>
                    <a:gd name="T12" fmla="*/ 24 w 100"/>
                    <a:gd name="T13" fmla="*/ 6 h 39"/>
                    <a:gd name="T14" fmla="*/ 35 w 100"/>
                    <a:gd name="T15" fmla="*/ 4 h 39"/>
                    <a:gd name="T16" fmla="*/ 46 w 100"/>
                    <a:gd name="T17" fmla="*/ 0 h 39"/>
                    <a:gd name="T18" fmla="*/ 50 w 100"/>
                    <a:gd name="T19" fmla="*/ 9 h 39"/>
                    <a:gd name="T20" fmla="*/ 50 w 100"/>
                    <a:gd name="T21" fmla="*/ 9 h 39"/>
                    <a:gd name="T22" fmla="*/ 55 w 100"/>
                    <a:gd name="T23" fmla="*/ 18 h 39"/>
                    <a:gd name="T24" fmla="*/ 61 w 100"/>
                    <a:gd name="T25" fmla="*/ 28 h 39"/>
                    <a:gd name="T26" fmla="*/ 66 w 100"/>
                    <a:gd name="T27" fmla="*/ 39 h 39"/>
                    <a:gd name="T28" fmla="*/ 70 w 100"/>
                    <a:gd name="T29" fmla="*/ 39 h 39"/>
                    <a:gd name="T30" fmla="*/ 76 w 100"/>
                    <a:gd name="T31" fmla="*/ 39 h 39"/>
                    <a:gd name="T32" fmla="*/ 79 w 100"/>
                    <a:gd name="T33" fmla="*/ 39 h 39"/>
                    <a:gd name="T34" fmla="*/ 83 w 100"/>
                    <a:gd name="T35" fmla="*/ 39 h 39"/>
                    <a:gd name="T36" fmla="*/ 83 w 100"/>
                    <a:gd name="T37" fmla="*/ 39 h 39"/>
                    <a:gd name="T38" fmla="*/ 85 w 100"/>
                    <a:gd name="T39" fmla="*/ 31 h 39"/>
                    <a:gd name="T40" fmla="*/ 87 w 100"/>
                    <a:gd name="T41" fmla="*/ 28 h 39"/>
                    <a:gd name="T42" fmla="*/ 90 w 100"/>
                    <a:gd name="T43" fmla="*/ 30 h 39"/>
                    <a:gd name="T44" fmla="*/ 92 w 100"/>
                    <a:gd name="T45" fmla="*/ 30 h 39"/>
                    <a:gd name="T46" fmla="*/ 96 w 100"/>
                    <a:gd name="T47" fmla="*/ 31 h 39"/>
                    <a:gd name="T48" fmla="*/ 100 w 100"/>
                    <a:gd name="T49" fmla="*/ 33 h 39"/>
                    <a:gd name="T50" fmla="*/ 100 w 100"/>
                    <a:gd name="T51" fmla="*/ 33 h 39"/>
                    <a:gd name="T52" fmla="*/ 100 w 100"/>
                    <a:gd name="T53" fmla="*/ 33 h 39"/>
                    <a:gd name="T54" fmla="*/ 96 w 100"/>
                    <a:gd name="T55" fmla="*/ 31 h 39"/>
                    <a:gd name="T56" fmla="*/ 92 w 100"/>
                    <a:gd name="T57" fmla="*/ 30 h 39"/>
                    <a:gd name="T58" fmla="*/ 90 w 100"/>
                    <a:gd name="T59" fmla="*/ 30 h 39"/>
                    <a:gd name="T60" fmla="*/ 87 w 100"/>
                    <a:gd name="T61" fmla="*/ 28 h 39"/>
                    <a:gd name="T62" fmla="*/ 85 w 100"/>
                    <a:gd name="T63" fmla="*/ 31 h 39"/>
                    <a:gd name="T64" fmla="*/ 83 w 100"/>
                    <a:gd name="T65" fmla="*/ 39 h 39"/>
                    <a:gd name="T66" fmla="*/ 83 w 100"/>
                    <a:gd name="T67" fmla="*/ 39 h 39"/>
                    <a:gd name="T68" fmla="*/ 79 w 100"/>
                    <a:gd name="T69" fmla="*/ 39 h 39"/>
                    <a:gd name="T70" fmla="*/ 76 w 100"/>
                    <a:gd name="T71" fmla="*/ 39 h 39"/>
                    <a:gd name="T72" fmla="*/ 70 w 100"/>
                    <a:gd name="T73" fmla="*/ 39 h 39"/>
                    <a:gd name="T74" fmla="*/ 66 w 100"/>
                    <a:gd name="T75" fmla="*/ 39 h 39"/>
                    <a:gd name="T76" fmla="*/ 61 w 100"/>
                    <a:gd name="T77" fmla="*/ 28 h 39"/>
                    <a:gd name="T78" fmla="*/ 55 w 100"/>
                    <a:gd name="T79" fmla="*/ 18 h 39"/>
                    <a:gd name="T80" fmla="*/ 50 w 100"/>
                    <a:gd name="T81" fmla="*/ 9 h 39"/>
                    <a:gd name="T82" fmla="*/ 50 w 100"/>
                    <a:gd name="T83" fmla="*/ 9 h 39"/>
                    <a:gd name="T84" fmla="*/ 46 w 100"/>
                    <a:gd name="T85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0" h="39">
                      <a:moveTo>
                        <a:pt x="46" y="0"/>
                      </a:moveTo>
                      <a:lnTo>
                        <a:pt x="35" y="4"/>
                      </a:lnTo>
                      <a:lnTo>
                        <a:pt x="24" y="6"/>
                      </a:lnTo>
                      <a:lnTo>
                        <a:pt x="13" y="7"/>
                      </a:lnTo>
                      <a:lnTo>
                        <a:pt x="0" y="11"/>
                      </a:lnTo>
                      <a:lnTo>
                        <a:pt x="13" y="7"/>
                      </a:lnTo>
                      <a:lnTo>
                        <a:pt x="24" y="6"/>
                      </a:lnTo>
                      <a:lnTo>
                        <a:pt x="35" y="4"/>
                      </a:lnTo>
                      <a:lnTo>
                        <a:pt x="46" y="0"/>
                      </a:lnTo>
                      <a:lnTo>
                        <a:pt x="50" y="9"/>
                      </a:lnTo>
                      <a:lnTo>
                        <a:pt x="50" y="9"/>
                      </a:lnTo>
                      <a:lnTo>
                        <a:pt x="55" y="18"/>
                      </a:lnTo>
                      <a:lnTo>
                        <a:pt x="61" y="28"/>
                      </a:lnTo>
                      <a:lnTo>
                        <a:pt x="66" y="39"/>
                      </a:lnTo>
                      <a:lnTo>
                        <a:pt x="70" y="39"/>
                      </a:lnTo>
                      <a:lnTo>
                        <a:pt x="76" y="39"/>
                      </a:lnTo>
                      <a:lnTo>
                        <a:pt x="79" y="39"/>
                      </a:lnTo>
                      <a:lnTo>
                        <a:pt x="83" y="39"/>
                      </a:lnTo>
                      <a:lnTo>
                        <a:pt x="83" y="39"/>
                      </a:lnTo>
                      <a:lnTo>
                        <a:pt x="85" y="31"/>
                      </a:lnTo>
                      <a:lnTo>
                        <a:pt x="87" y="28"/>
                      </a:lnTo>
                      <a:lnTo>
                        <a:pt x="90" y="30"/>
                      </a:lnTo>
                      <a:lnTo>
                        <a:pt x="92" y="30"/>
                      </a:lnTo>
                      <a:lnTo>
                        <a:pt x="96" y="31"/>
                      </a:lnTo>
                      <a:lnTo>
                        <a:pt x="100" y="33"/>
                      </a:lnTo>
                      <a:lnTo>
                        <a:pt x="100" y="33"/>
                      </a:lnTo>
                      <a:lnTo>
                        <a:pt x="100" y="33"/>
                      </a:lnTo>
                      <a:lnTo>
                        <a:pt x="96" y="31"/>
                      </a:lnTo>
                      <a:lnTo>
                        <a:pt x="92" y="30"/>
                      </a:lnTo>
                      <a:lnTo>
                        <a:pt x="90" y="30"/>
                      </a:lnTo>
                      <a:lnTo>
                        <a:pt x="87" y="28"/>
                      </a:lnTo>
                      <a:lnTo>
                        <a:pt x="85" y="31"/>
                      </a:lnTo>
                      <a:lnTo>
                        <a:pt x="83" y="39"/>
                      </a:lnTo>
                      <a:lnTo>
                        <a:pt x="83" y="39"/>
                      </a:lnTo>
                      <a:lnTo>
                        <a:pt x="79" y="39"/>
                      </a:lnTo>
                      <a:lnTo>
                        <a:pt x="76" y="39"/>
                      </a:lnTo>
                      <a:lnTo>
                        <a:pt x="70" y="39"/>
                      </a:lnTo>
                      <a:lnTo>
                        <a:pt x="66" y="39"/>
                      </a:lnTo>
                      <a:lnTo>
                        <a:pt x="61" y="28"/>
                      </a:lnTo>
                      <a:lnTo>
                        <a:pt x="55" y="18"/>
                      </a:lnTo>
                      <a:lnTo>
                        <a:pt x="50" y="9"/>
                      </a:lnTo>
                      <a:lnTo>
                        <a:pt x="50" y="9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4" name="Freeform 2998"/>
                <p:cNvSpPr>
                  <a:spLocks/>
                </p:cNvSpPr>
                <p:nvPr/>
              </p:nvSpPr>
              <p:spPr bwMode="auto">
                <a:xfrm>
                  <a:off x="4330" y="2449"/>
                  <a:ext cx="92" cy="17"/>
                </a:xfrm>
                <a:custGeom>
                  <a:avLst/>
                  <a:gdLst>
                    <a:gd name="T0" fmla="*/ 85 w 92"/>
                    <a:gd name="T1" fmla="*/ 0 h 17"/>
                    <a:gd name="T2" fmla="*/ 79 w 92"/>
                    <a:gd name="T3" fmla="*/ 0 h 17"/>
                    <a:gd name="T4" fmla="*/ 72 w 92"/>
                    <a:gd name="T5" fmla="*/ 0 h 17"/>
                    <a:gd name="T6" fmla="*/ 66 w 92"/>
                    <a:gd name="T7" fmla="*/ 0 h 17"/>
                    <a:gd name="T8" fmla="*/ 61 w 92"/>
                    <a:gd name="T9" fmla="*/ 2 h 17"/>
                    <a:gd name="T10" fmla="*/ 55 w 92"/>
                    <a:gd name="T11" fmla="*/ 2 h 17"/>
                    <a:gd name="T12" fmla="*/ 50 w 92"/>
                    <a:gd name="T13" fmla="*/ 4 h 17"/>
                    <a:gd name="T14" fmla="*/ 44 w 92"/>
                    <a:gd name="T15" fmla="*/ 4 h 17"/>
                    <a:gd name="T16" fmla="*/ 35 w 92"/>
                    <a:gd name="T17" fmla="*/ 7 h 17"/>
                    <a:gd name="T18" fmla="*/ 24 w 92"/>
                    <a:gd name="T19" fmla="*/ 11 h 17"/>
                    <a:gd name="T20" fmla="*/ 11 w 92"/>
                    <a:gd name="T21" fmla="*/ 13 h 17"/>
                    <a:gd name="T22" fmla="*/ 0 w 92"/>
                    <a:gd name="T23" fmla="*/ 17 h 17"/>
                    <a:gd name="T24" fmla="*/ 11 w 92"/>
                    <a:gd name="T25" fmla="*/ 13 h 17"/>
                    <a:gd name="T26" fmla="*/ 24 w 92"/>
                    <a:gd name="T27" fmla="*/ 11 h 17"/>
                    <a:gd name="T28" fmla="*/ 35 w 92"/>
                    <a:gd name="T29" fmla="*/ 7 h 17"/>
                    <a:gd name="T30" fmla="*/ 44 w 92"/>
                    <a:gd name="T31" fmla="*/ 4 h 17"/>
                    <a:gd name="T32" fmla="*/ 50 w 92"/>
                    <a:gd name="T33" fmla="*/ 4 h 17"/>
                    <a:gd name="T34" fmla="*/ 55 w 92"/>
                    <a:gd name="T35" fmla="*/ 2 h 17"/>
                    <a:gd name="T36" fmla="*/ 61 w 92"/>
                    <a:gd name="T37" fmla="*/ 2 h 17"/>
                    <a:gd name="T38" fmla="*/ 66 w 92"/>
                    <a:gd name="T39" fmla="*/ 0 h 17"/>
                    <a:gd name="T40" fmla="*/ 72 w 92"/>
                    <a:gd name="T41" fmla="*/ 0 h 17"/>
                    <a:gd name="T42" fmla="*/ 79 w 92"/>
                    <a:gd name="T43" fmla="*/ 0 h 17"/>
                    <a:gd name="T44" fmla="*/ 85 w 92"/>
                    <a:gd name="T45" fmla="*/ 0 h 17"/>
                    <a:gd name="T46" fmla="*/ 92 w 92"/>
                    <a:gd name="T47" fmla="*/ 0 h 17"/>
                    <a:gd name="T48" fmla="*/ 92 w 92"/>
                    <a:gd name="T49" fmla="*/ 0 h 17"/>
                    <a:gd name="T50" fmla="*/ 92 w 92"/>
                    <a:gd name="T51" fmla="*/ 0 h 17"/>
                    <a:gd name="T52" fmla="*/ 85 w 92"/>
                    <a:gd name="T5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92" h="17">
                      <a:moveTo>
                        <a:pt x="85" y="0"/>
                      </a:moveTo>
                      <a:lnTo>
                        <a:pt x="79" y="0"/>
                      </a:lnTo>
                      <a:lnTo>
                        <a:pt x="72" y="0"/>
                      </a:lnTo>
                      <a:lnTo>
                        <a:pt x="66" y="0"/>
                      </a:lnTo>
                      <a:lnTo>
                        <a:pt x="61" y="2"/>
                      </a:lnTo>
                      <a:lnTo>
                        <a:pt x="55" y="2"/>
                      </a:lnTo>
                      <a:lnTo>
                        <a:pt x="50" y="4"/>
                      </a:lnTo>
                      <a:lnTo>
                        <a:pt x="44" y="4"/>
                      </a:lnTo>
                      <a:lnTo>
                        <a:pt x="35" y="7"/>
                      </a:lnTo>
                      <a:lnTo>
                        <a:pt x="24" y="11"/>
                      </a:lnTo>
                      <a:lnTo>
                        <a:pt x="11" y="13"/>
                      </a:lnTo>
                      <a:lnTo>
                        <a:pt x="0" y="17"/>
                      </a:lnTo>
                      <a:lnTo>
                        <a:pt x="11" y="13"/>
                      </a:lnTo>
                      <a:lnTo>
                        <a:pt x="24" y="11"/>
                      </a:lnTo>
                      <a:lnTo>
                        <a:pt x="35" y="7"/>
                      </a:lnTo>
                      <a:lnTo>
                        <a:pt x="44" y="4"/>
                      </a:lnTo>
                      <a:lnTo>
                        <a:pt x="50" y="4"/>
                      </a:lnTo>
                      <a:lnTo>
                        <a:pt x="55" y="2"/>
                      </a:lnTo>
                      <a:lnTo>
                        <a:pt x="61" y="2"/>
                      </a:lnTo>
                      <a:lnTo>
                        <a:pt x="66" y="0"/>
                      </a:lnTo>
                      <a:lnTo>
                        <a:pt x="72" y="0"/>
                      </a:lnTo>
                      <a:lnTo>
                        <a:pt x="79" y="0"/>
                      </a:lnTo>
                      <a:lnTo>
                        <a:pt x="85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5" name="Freeform 2999"/>
                <p:cNvSpPr>
                  <a:spLocks/>
                </p:cNvSpPr>
                <p:nvPr/>
              </p:nvSpPr>
              <p:spPr bwMode="auto">
                <a:xfrm>
                  <a:off x="4330" y="2449"/>
                  <a:ext cx="92" cy="17"/>
                </a:xfrm>
                <a:custGeom>
                  <a:avLst/>
                  <a:gdLst>
                    <a:gd name="T0" fmla="*/ 85 w 92"/>
                    <a:gd name="T1" fmla="*/ 0 h 17"/>
                    <a:gd name="T2" fmla="*/ 79 w 92"/>
                    <a:gd name="T3" fmla="*/ 0 h 17"/>
                    <a:gd name="T4" fmla="*/ 72 w 92"/>
                    <a:gd name="T5" fmla="*/ 0 h 17"/>
                    <a:gd name="T6" fmla="*/ 66 w 92"/>
                    <a:gd name="T7" fmla="*/ 0 h 17"/>
                    <a:gd name="T8" fmla="*/ 61 w 92"/>
                    <a:gd name="T9" fmla="*/ 2 h 17"/>
                    <a:gd name="T10" fmla="*/ 55 w 92"/>
                    <a:gd name="T11" fmla="*/ 2 h 17"/>
                    <a:gd name="T12" fmla="*/ 50 w 92"/>
                    <a:gd name="T13" fmla="*/ 4 h 17"/>
                    <a:gd name="T14" fmla="*/ 44 w 92"/>
                    <a:gd name="T15" fmla="*/ 4 h 17"/>
                    <a:gd name="T16" fmla="*/ 35 w 92"/>
                    <a:gd name="T17" fmla="*/ 7 h 17"/>
                    <a:gd name="T18" fmla="*/ 24 w 92"/>
                    <a:gd name="T19" fmla="*/ 11 h 17"/>
                    <a:gd name="T20" fmla="*/ 11 w 92"/>
                    <a:gd name="T21" fmla="*/ 13 h 17"/>
                    <a:gd name="T22" fmla="*/ 0 w 92"/>
                    <a:gd name="T23" fmla="*/ 17 h 17"/>
                    <a:gd name="T24" fmla="*/ 11 w 92"/>
                    <a:gd name="T25" fmla="*/ 13 h 17"/>
                    <a:gd name="T26" fmla="*/ 24 w 92"/>
                    <a:gd name="T27" fmla="*/ 11 h 17"/>
                    <a:gd name="T28" fmla="*/ 35 w 92"/>
                    <a:gd name="T29" fmla="*/ 7 h 17"/>
                    <a:gd name="T30" fmla="*/ 44 w 92"/>
                    <a:gd name="T31" fmla="*/ 4 h 17"/>
                    <a:gd name="T32" fmla="*/ 50 w 92"/>
                    <a:gd name="T33" fmla="*/ 4 h 17"/>
                    <a:gd name="T34" fmla="*/ 55 w 92"/>
                    <a:gd name="T35" fmla="*/ 2 h 17"/>
                    <a:gd name="T36" fmla="*/ 61 w 92"/>
                    <a:gd name="T37" fmla="*/ 2 h 17"/>
                    <a:gd name="T38" fmla="*/ 66 w 92"/>
                    <a:gd name="T39" fmla="*/ 0 h 17"/>
                    <a:gd name="T40" fmla="*/ 72 w 92"/>
                    <a:gd name="T41" fmla="*/ 0 h 17"/>
                    <a:gd name="T42" fmla="*/ 79 w 92"/>
                    <a:gd name="T43" fmla="*/ 0 h 17"/>
                    <a:gd name="T44" fmla="*/ 85 w 92"/>
                    <a:gd name="T45" fmla="*/ 0 h 17"/>
                    <a:gd name="T46" fmla="*/ 92 w 92"/>
                    <a:gd name="T47" fmla="*/ 0 h 17"/>
                    <a:gd name="T48" fmla="*/ 92 w 92"/>
                    <a:gd name="T49" fmla="*/ 0 h 17"/>
                    <a:gd name="T50" fmla="*/ 92 w 92"/>
                    <a:gd name="T51" fmla="*/ 0 h 17"/>
                    <a:gd name="T52" fmla="*/ 85 w 92"/>
                    <a:gd name="T5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92" h="17">
                      <a:moveTo>
                        <a:pt x="85" y="0"/>
                      </a:moveTo>
                      <a:lnTo>
                        <a:pt x="79" y="0"/>
                      </a:lnTo>
                      <a:lnTo>
                        <a:pt x="72" y="0"/>
                      </a:lnTo>
                      <a:lnTo>
                        <a:pt x="66" y="0"/>
                      </a:lnTo>
                      <a:lnTo>
                        <a:pt x="61" y="2"/>
                      </a:lnTo>
                      <a:lnTo>
                        <a:pt x="55" y="2"/>
                      </a:lnTo>
                      <a:lnTo>
                        <a:pt x="50" y="4"/>
                      </a:lnTo>
                      <a:lnTo>
                        <a:pt x="44" y="4"/>
                      </a:lnTo>
                      <a:lnTo>
                        <a:pt x="35" y="7"/>
                      </a:lnTo>
                      <a:lnTo>
                        <a:pt x="24" y="11"/>
                      </a:lnTo>
                      <a:lnTo>
                        <a:pt x="11" y="13"/>
                      </a:lnTo>
                      <a:lnTo>
                        <a:pt x="0" y="17"/>
                      </a:lnTo>
                      <a:lnTo>
                        <a:pt x="11" y="13"/>
                      </a:lnTo>
                      <a:lnTo>
                        <a:pt x="24" y="11"/>
                      </a:lnTo>
                      <a:lnTo>
                        <a:pt x="35" y="7"/>
                      </a:lnTo>
                      <a:lnTo>
                        <a:pt x="44" y="4"/>
                      </a:lnTo>
                      <a:lnTo>
                        <a:pt x="50" y="4"/>
                      </a:lnTo>
                      <a:lnTo>
                        <a:pt x="55" y="2"/>
                      </a:lnTo>
                      <a:lnTo>
                        <a:pt x="61" y="2"/>
                      </a:lnTo>
                      <a:lnTo>
                        <a:pt x="66" y="0"/>
                      </a:lnTo>
                      <a:lnTo>
                        <a:pt x="72" y="0"/>
                      </a:lnTo>
                      <a:lnTo>
                        <a:pt x="79" y="0"/>
                      </a:lnTo>
                      <a:lnTo>
                        <a:pt x="85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6" name="Freeform 3000"/>
                <p:cNvSpPr>
                  <a:spLocks noEditPoints="1"/>
                </p:cNvSpPr>
                <p:nvPr/>
              </p:nvSpPr>
              <p:spPr bwMode="auto">
                <a:xfrm>
                  <a:off x="4555" y="2381"/>
                  <a:ext cx="214" cy="374"/>
                </a:xfrm>
                <a:custGeom>
                  <a:avLst/>
                  <a:gdLst>
                    <a:gd name="T0" fmla="*/ 100 w 214"/>
                    <a:gd name="T1" fmla="*/ 354 h 374"/>
                    <a:gd name="T2" fmla="*/ 103 w 214"/>
                    <a:gd name="T3" fmla="*/ 363 h 374"/>
                    <a:gd name="T4" fmla="*/ 109 w 214"/>
                    <a:gd name="T5" fmla="*/ 374 h 374"/>
                    <a:gd name="T6" fmla="*/ 116 w 214"/>
                    <a:gd name="T7" fmla="*/ 372 h 374"/>
                    <a:gd name="T8" fmla="*/ 127 w 214"/>
                    <a:gd name="T9" fmla="*/ 371 h 374"/>
                    <a:gd name="T10" fmla="*/ 116 w 214"/>
                    <a:gd name="T11" fmla="*/ 372 h 374"/>
                    <a:gd name="T12" fmla="*/ 109 w 214"/>
                    <a:gd name="T13" fmla="*/ 374 h 374"/>
                    <a:gd name="T14" fmla="*/ 103 w 214"/>
                    <a:gd name="T15" fmla="*/ 363 h 374"/>
                    <a:gd name="T16" fmla="*/ 100 w 214"/>
                    <a:gd name="T17" fmla="*/ 354 h 374"/>
                    <a:gd name="T18" fmla="*/ 111 w 214"/>
                    <a:gd name="T19" fmla="*/ 299 h 374"/>
                    <a:gd name="T20" fmla="*/ 111 w 214"/>
                    <a:gd name="T21" fmla="*/ 308 h 374"/>
                    <a:gd name="T22" fmla="*/ 111 w 214"/>
                    <a:gd name="T23" fmla="*/ 315 h 374"/>
                    <a:gd name="T24" fmla="*/ 111 w 214"/>
                    <a:gd name="T25" fmla="*/ 323 h 374"/>
                    <a:gd name="T26" fmla="*/ 111 w 214"/>
                    <a:gd name="T27" fmla="*/ 315 h 374"/>
                    <a:gd name="T28" fmla="*/ 111 w 214"/>
                    <a:gd name="T29" fmla="*/ 308 h 374"/>
                    <a:gd name="T30" fmla="*/ 111 w 214"/>
                    <a:gd name="T31" fmla="*/ 299 h 374"/>
                    <a:gd name="T32" fmla="*/ 162 w 214"/>
                    <a:gd name="T33" fmla="*/ 208 h 374"/>
                    <a:gd name="T34" fmla="*/ 159 w 214"/>
                    <a:gd name="T35" fmla="*/ 212 h 374"/>
                    <a:gd name="T36" fmla="*/ 153 w 214"/>
                    <a:gd name="T37" fmla="*/ 216 h 374"/>
                    <a:gd name="T38" fmla="*/ 148 w 214"/>
                    <a:gd name="T39" fmla="*/ 217 h 374"/>
                    <a:gd name="T40" fmla="*/ 142 w 214"/>
                    <a:gd name="T41" fmla="*/ 227 h 374"/>
                    <a:gd name="T42" fmla="*/ 136 w 214"/>
                    <a:gd name="T43" fmla="*/ 247 h 374"/>
                    <a:gd name="T44" fmla="*/ 129 w 214"/>
                    <a:gd name="T45" fmla="*/ 262 h 374"/>
                    <a:gd name="T46" fmla="*/ 124 w 214"/>
                    <a:gd name="T47" fmla="*/ 269 h 374"/>
                    <a:gd name="T48" fmla="*/ 116 w 214"/>
                    <a:gd name="T49" fmla="*/ 276 h 374"/>
                    <a:gd name="T50" fmla="*/ 109 w 214"/>
                    <a:gd name="T51" fmla="*/ 282 h 374"/>
                    <a:gd name="T52" fmla="*/ 101 w 214"/>
                    <a:gd name="T53" fmla="*/ 284 h 374"/>
                    <a:gd name="T54" fmla="*/ 109 w 214"/>
                    <a:gd name="T55" fmla="*/ 282 h 374"/>
                    <a:gd name="T56" fmla="*/ 116 w 214"/>
                    <a:gd name="T57" fmla="*/ 276 h 374"/>
                    <a:gd name="T58" fmla="*/ 124 w 214"/>
                    <a:gd name="T59" fmla="*/ 269 h 374"/>
                    <a:gd name="T60" fmla="*/ 129 w 214"/>
                    <a:gd name="T61" fmla="*/ 262 h 374"/>
                    <a:gd name="T62" fmla="*/ 136 w 214"/>
                    <a:gd name="T63" fmla="*/ 247 h 374"/>
                    <a:gd name="T64" fmla="*/ 142 w 214"/>
                    <a:gd name="T65" fmla="*/ 227 h 374"/>
                    <a:gd name="T66" fmla="*/ 148 w 214"/>
                    <a:gd name="T67" fmla="*/ 217 h 374"/>
                    <a:gd name="T68" fmla="*/ 153 w 214"/>
                    <a:gd name="T69" fmla="*/ 216 h 374"/>
                    <a:gd name="T70" fmla="*/ 159 w 214"/>
                    <a:gd name="T71" fmla="*/ 212 h 374"/>
                    <a:gd name="T72" fmla="*/ 162 w 214"/>
                    <a:gd name="T73" fmla="*/ 208 h 374"/>
                    <a:gd name="T74" fmla="*/ 194 w 214"/>
                    <a:gd name="T75" fmla="*/ 123 h 374"/>
                    <a:gd name="T76" fmla="*/ 197 w 214"/>
                    <a:gd name="T77" fmla="*/ 136 h 374"/>
                    <a:gd name="T78" fmla="*/ 207 w 214"/>
                    <a:gd name="T79" fmla="*/ 136 h 374"/>
                    <a:gd name="T80" fmla="*/ 208 w 214"/>
                    <a:gd name="T81" fmla="*/ 144 h 374"/>
                    <a:gd name="T82" fmla="*/ 212 w 214"/>
                    <a:gd name="T83" fmla="*/ 160 h 374"/>
                    <a:gd name="T84" fmla="*/ 212 w 214"/>
                    <a:gd name="T85" fmla="*/ 160 h 374"/>
                    <a:gd name="T86" fmla="*/ 208 w 214"/>
                    <a:gd name="T87" fmla="*/ 144 h 374"/>
                    <a:gd name="T88" fmla="*/ 207 w 214"/>
                    <a:gd name="T89" fmla="*/ 136 h 374"/>
                    <a:gd name="T90" fmla="*/ 197 w 214"/>
                    <a:gd name="T91" fmla="*/ 136 h 374"/>
                    <a:gd name="T92" fmla="*/ 29 w 214"/>
                    <a:gd name="T93" fmla="*/ 0 h 374"/>
                    <a:gd name="T94" fmla="*/ 20 w 214"/>
                    <a:gd name="T95" fmla="*/ 0 h 374"/>
                    <a:gd name="T96" fmla="*/ 15 w 214"/>
                    <a:gd name="T97" fmla="*/ 16 h 374"/>
                    <a:gd name="T98" fmla="*/ 5 w 214"/>
                    <a:gd name="T99" fmla="*/ 42 h 374"/>
                    <a:gd name="T100" fmla="*/ 0 w 214"/>
                    <a:gd name="T101" fmla="*/ 62 h 374"/>
                    <a:gd name="T102" fmla="*/ 5 w 214"/>
                    <a:gd name="T103" fmla="*/ 42 h 374"/>
                    <a:gd name="T104" fmla="*/ 15 w 214"/>
                    <a:gd name="T105" fmla="*/ 16 h 374"/>
                    <a:gd name="T106" fmla="*/ 20 w 214"/>
                    <a:gd name="T107" fmla="*/ 0 h 374"/>
                    <a:gd name="T108" fmla="*/ 29 w 214"/>
                    <a:gd name="T109" fmla="*/ 0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14" h="374">
                      <a:moveTo>
                        <a:pt x="100" y="354"/>
                      </a:moveTo>
                      <a:lnTo>
                        <a:pt x="100" y="354"/>
                      </a:lnTo>
                      <a:lnTo>
                        <a:pt x="101" y="358"/>
                      </a:lnTo>
                      <a:lnTo>
                        <a:pt x="103" y="363"/>
                      </a:lnTo>
                      <a:lnTo>
                        <a:pt x="107" y="369"/>
                      </a:lnTo>
                      <a:lnTo>
                        <a:pt x="109" y="374"/>
                      </a:lnTo>
                      <a:lnTo>
                        <a:pt x="112" y="372"/>
                      </a:lnTo>
                      <a:lnTo>
                        <a:pt x="116" y="372"/>
                      </a:lnTo>
                      <a:lnTo>
                        <a:pt x="122" y="371"/>
                      </a:lnTo>
                      <a:lnTo>
                        <a:pt x="127" y="371"/>
                      </a:lnTo>
                      <a:lnTo>
                        <a:pt x="122" y="371"/>
                      </a:lnTo>
                      <a:lnTo>
                        <a:pt x="116" y="372"/>
                      </a:lnTo>
                      <a:lnTo>
                        <a:pt x="112" y="372"/>
                      </a:lnTo>
                      <a:lnTo>
                        <a:pt x="109" y="374"/>
                      </a:lnTo>
                      <a:lnTo>
                        <a:pt x="107" y="369"/>
                      </a:lnTo>
                      <a:lnTo>
                        <a:pt x="103" y="363"/>
                      </a:lnTo>
                      <a:lnTo>
                        <a:pt x="101" y="358"/>
                      </a:lnTo>
                      <a:lnTo>
                        <a:pt x="100" y="354"/>
                      </a:lnTo>
                      <a:close/>
                      <a:moveTo>
                        <a:pt x="111" y="299"/>
                      </a:moveTo>
                      <a:lnTo>
                        <a:pt x="111" y="299"/>
                      </a:lnTo>
                      <a:lnTo>
                        <a:pt x="111" y="304"/>
                      </a:lnTo>
                      <a:lnTo>
                        <a:pt x="111" y="308"/>
                      </a:lnTo>
                      <a:lnTo>
                        <a:pt x="111" y="312"/>
                      </a:lnTo>
                      <a:lnTo>
                        <a:pt x="111" y="315"/>
                      </a:lnTo>
                      <a:lnTo>
                        <a:pt x="111" y="323"/>
                      </a:lnTo>
                      <a:lnTo>
                        <a:pt x="111" y="323"/>
                      </a:lnTo>
                      <a:lnTo>
                        <a:pt x="111" y="323"/>
                      </a:lnTo>
                      <a:lnTo>
                        <a:pt x="111" y="315"/>
                      </a:lnTo>
                      <a:lnTo>
                        <a:pt x="111" y="312"/>
                      </a:lnTo>
                      <a:lnTo>
                        <a:pt x="111" y="308"/>
                      </a:lnTo>
                      <a:lnTo>
                        <a:pt x="111" y="304"/>
                      </a:lnTo>
                      <a:lnTo>
                        <a:pt x="111" y="299"/>
                      </a:lnTo>
                      <a:close/>
                      <a:moveTo>
                        <a:pt x="164" y="204"/>
                      </a:moveTo>
                      <a:lnTo>
                        <a:pt x="162" y="208"/>
                      </a:lnTo>
                      <a:lnTo>
                        <a:pt x="160" y="210"/>
                      </a:lnTo>
                      <a:lnTo>
                        <a:pt x="159" y="212"/>
                      </a:lnTo>
                      <a:lnTo>
                        <a:pt x="157" y="214"/>
                      </a:lnTo>
                      <a:lnTo>
                        <a:pt x="153" y="216"/>
                      </a:lnTo>
                      <a:lnTo>
                        <a:pt x="151" y="217"/>
                      </a:lnTo>
                      <a:lnTo>
                        <a:pt x="148" y="217"/>
                      </a:lnTo>
                      <a:lnTo>
                        <a:pt x="148" y="217"/>
                      </a:lnTo>
                      <a:lnTo>
                        <a:pt x="142" y="227"/>
                      </a:lnTo>
                      <a:lnTo>
                        <a:pt x="140" y="238"/>
                      </a:lnTo>
                      <a:lnTo>
                        <a:pt x="136" y="247"/>
                      </a:lnTo>
                      <a:lnTo>
                        <a:pt x="131" y="256"/>
                      </a:lnTo>
                      <a:lnTo>
                        <a:pt x="129" y="262"/>
                      </a:lnTo>
                      <a:lnTo>
                        <a:pt x="125" y="265"/>
                      </a:lnTo>
                      <a:lnTo>
                        <a:pt x="124" y="269"/>
                      </a:lnTo>
                      <a:lnTo>
                        <a:pt x="120" y="273"/>
                      </a:lnTo>
                      <a:lnTo>
                        <a:pt x="116" y="276"/>
                      </a:lnTo>
                      <a:lnTo>
                        <a:pt x="112" y="280"/>
                      </a:lnTo>
                      <a:lnTo>
                        <a:pt x="109" y="282"/>
                      </a:lnTo>
                      <a:lnTo>
                        <a:pt x="103" y="282"/>
                      </a:lnTo>
                      <a:lnTo>
                        <a:pt x="101" y="284"/>
                      </a:lnTo>
                      <a:lnTo>
                        <a:pt x="103" y="282"/>
                      </a:lnTo>
                      <a:lnTo>
                        <a:pt x="109" y="282"/>
                      </a:lnTo>
                      <a:lnTo>
                        <a:pt x="112" y="280"/>
                      </a:lnTo>
                      <a:lnTo>
                        <a:pt x="116" y="276"/>
                      </a:lnTo>
                      <a:lnTo>
                        <a:pt x="120" y="273"/>
                      </a:lnTo>
                      <a:lnTo>
                        <a:pt x="124" y="269"/>
                      </a:lnTo>
                      <a:lnTo>
                        <a:pt x="125" y="265"/>
                      </a:lnTo>
                      <a:lnTo>
                        <a:pt x="129" y="262"/>
                      </a:lnTo>
                      <a:lnTo>
                        <a:pt x="131" y="256"/>
                      </a:lnTo>
                      <a:lnTo>
                        <a:pt x="136" y="247"/>
                      </a:lnTo>
                      <a:lnTo>
                        <a:pt x="140" y="238"/>
                      </a:lnTo>
                      <a:lnTo>
                        <a:pt x="142" y="227"/>
                      </a:lnTo>
                      <a:lnTo>
                        <a:pt x="148" y="217"/>
                      </a:lnTo>
                      <a:lnTo>
                        <a:pt x="148" y="217"/>
                      </a:lnTo>
                      <a:lnTo>
                        <a:pt x="151" y="217"/>
                      </a:lnTo>
                      <a:lnTo>
                        <a:pt x="153" y="216"/>
                      </a:lnTo>
                      <a:lnTo>
                        <a:pt x="157" y="214"/>
                      </a:lnTo>
                      <a:lnTo>
                        <a:pt x="159" y="212"/>
                      </a:lnTo>
                      <a:lnTo>
                        <a:pt x="160" y="210"/>
                      </a:lnTo>
                      <a:lnTo>
                        <a:pt x="162" y="208"/>
                      </a:lnTo>
                      <a:lnTo>
                        <a:pt x="164" y="204"/>
                      </a:lnTo>
                      <a:close/>
                      <a:moveTo>
                        <a:pt x="194" y="123"/>
                      </a:moveTo>
                      <a:lnTo>
                        <a:pt x="194" y="123"/>
                      </a:lnTo>
                      <a:lnTo>
                        <a:pt x="197" y="136"/>
                      </a:lnTo>
                      <a:lnTo>
                        <a:pt x="201" y="136"/>
                      </a:lnTo>
                      <a:lnTo>
                        <a:pt x="207" y="136"/>
                      </a:lnTo>
                      <a:lnTo>
                        <a:pt x="208" y="136"/>
                      </a:lnTo>
                      <a:lnTo>
                        <a:pt x="208" y="144"/>
                      </a:lnTo>
                      <a:lnTo>
                        <a:pt x="210" y="153"/>
                      </a:lnTo>
                      <a:lnTo>
                        <a:pt x="212" y="160"/>
                      </a:lnTo>
                      <a:lnTo>
                        <a:pt x="214" y="169"/>
                      </a:lnTo>
                      <a:lnTo>
                        <a:pt x="212" y="160"/>
                      </a:lnTo>
                      <a:lnTo>
                        <a:pt x="210" y="153"/>
                      </a:lnTo>
                      <a:lnTo>
                        <a:pt x="208" y="144"/>
                      </a:lnTo>
                      <a:lnTo>
                        <a:pt x="208" y="136"/>
                      </a:lnTo>
                      <a:lnTo>
                        <a:pt x="207" y="136"/>
                      </a:lnTo>
                      <a:lnTo>
                        <a:pt x="201" y="136"/>
                      </a:lnTo>
                      <a:lnTo>
                        <a:pt x="197" y="136"/>
                      </a:lnTo>
                      <a:lnTo>
                        <a:pt x="194" y="123"/>
                      </a:lnTo>
                      <a:close/>
                      <a:moveTo>
                        <a:pt x="29" y="0"/>
                      </a:moveTo>
                      <a:lnTo>
                        <a:pt x="26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5" y="16"/>
                      </a:lnTo>
                      <a:lnTo>
                        <a:pt x="9" y="29"/>
                      </a:lnTo>
                      <a:lnTo>
                        <a:pt x="5" y="42"/>
                      </a:lnTo>
                      <a:lnTo>
                        <a:pt x="2" y="55"/>
                      </a:lnTo>
                      <a:lnTo>
                        <a:pt x="0" y="62"/>
                      </a:lnTo>
                      <a:lnTo>
                        <a:pt x="2" y="55"/>
                      </a:lnTo>
                      <a:lnTo>
                        <a:pt x="5" y="42"/>
                      </a:lnTo>
                      <a:lnTo>
                        <a:pt x="9" y="29"/>
                      </a:lnTo>
                      <a:lnTo>
                        <a:pt x="15" y="16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6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7" name="Freeform 3001"/>
                <p:cNvSpPr>
                  <a:spLocks/>
                </p:cNvSpPr>
                <p:nvPr/>
              </p:nvSpPr>
              <p:spPr bwMode="auto">
                <a:xfrm>
                  <a:off x="4655" y="2735"/>
                  <a:ext cx="27" cy="20"/>
                </a:xfrm>
                <a:custGeom>
                  <a:avLst/>
                  <a:gdLst>
                    <a:gd name="T0" fmla="*/ 0 w 27"/>
                    <a:gd name="T1" fmla="*/ 0 h 20"/>
                    <a:gd name="T2" fmla="*/ 0 w 27"/>
                    <a:gd name="T3" fmla="*/ 0 h 20"/>
                    <a:gd name="T4" fmla="*/ 1 w 27"/>
                    <a:gd name="T5" fmla="*/ 4 h 20"/>
                    <a:gd name="T6" fmla="*/ 3 w 27"/>
                    <a:gd name="T7" fmla="*/ 9 h 20"/>
                    <a:gd name="T8" fmla="*/ 7 w 27"/>
                    <a:gd name="T9" fmla="*/ 15 h 20"/>
                    <a:gd name="T10" fmla="*/ 9 w 27"/>
                    <a:gd name="T11" fmla="*/ 20 h 20"/>
                    <a:gd name="T12" fmla="*/ 12 w 27"/>
                    <a:gd name="T13" fmla="*/ 18 h 20"/>
                    <a:gd name="T14" fmla="*/ 16 w 27"/>
                    <a:gd name="T15" fmla="*/ 18 h 20"/>
                    <a:gd name="T16" fmla="*/ 22 w 27"/>
                    <a:gd name="T17" fmla="*/ 17 h 20"/>
                    <a:gd name="T18" fmla="*/ 27 w 27"/>
                    <a:gd name="T19" fmla="*/ 17 h 20"/>
                    <a:gd name="T20" fmla="*/ 22 w 27"/>
                    <a:gd name="T21" fmla="*/ 17 h 20"/>
                    <a:gd name="T22" fmla="*/ 16 w 27"/>
                    <a:gd name="T23" fmla="*/ 18 h 20"/>
                    <a:gd name="T24" fmla="*/ 12 w 27"/>
                    <a:gd name="T25" fmla="*/ 18 h 20"/>
                    <a:gd name="T26" fmla="*/ 9 w 27"/>
                    <a:gd name="T27" fmla="*/ 20 h 20"/>
                    <a:gd name="T28" fmla="*/ 7 w 27"/>
                    <a:gd name="T29" fmla="*/ 15 h 20"/>
                    <a:gd name="T30" fmla="*/ 3 w 27"/>
                    <a:gd name="T31" fmla="*/ 9 h 20"/>
                    <a:gd name="T32" fmla="*/ 1 w 27"/>
                    <a:gd name="T33" fmla="*/ 4 h 20"/>
                    <a:gd name="T34" fmla="*/ 0 w 27"/>
                    <a:gd name="T35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7" h="2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3" y="9"/>
                      </a:lnTo>
                      <a:lnTo>
                        <a:pt x="7" y="15"/>
                      </a:lnTo>
                      <a:lnTo>
                        <a:pt x="9" y="20"/>
                      </a:lnTo>
                      <a:lnTo>
                        <a:pt x="12" y="18"/>
                      </a:lnTo>
                      <a:lnTo>
                        <a:pt x="16" y="18"/>
                      </a:lnTo>
                      <a:lnTo>
                        <a:pt x="22" y="17"/>
                      </a:lnTo>
                      <a:lnTo>
                        <a:pt x="27" y="17"/>
                      </a:lnTo>
                      <a:lnTo>
                        <a:pt x="22" y="17"/>
                      </a:lnTo>
                      <a:lnTo>
                        <a:pt x="16" y="18"/>
                      </a:lnTo>
                      <a:lnTo>
                        <a:pt x="12" y="18"/>
                      </a:lnTo>
                      <a:lnTo>
                        <a:pt x="9" y="20"/>
                      </a:lnTo>
                      <a:lnTo>
                        <a:pt x="7" y="15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8" name="Freeform 3002"/>
                <p:cNvSpPr>
                  <a:spLocks/>
                </p:cNvSpPr>
                <p:nvPr/>
              </p:nvSpPr>
              <p:spPr bwMode="auto">
                <a:xfrm>
                  <a:off x="4666" y="2680"/>
                  <a:ext cx="1" cy="24"/>
                </a:xfrm>
                <a:custGeom>
                  <a:avLst/>
                  <a:gdLst>
                    <a:gd name="T0" fmla="*/ 0 h 24"/>
                    <a:gd name="T1" fmla="*/ 0 h 24"/>
                    <a:gd name="T2" fmla="*/ 5 h 24"/>
                    <a:gd name="T3" fmla="*/ 9 h 24"/>
                    <a:gd name="T4" fmla="*/ 13 h 24"/>
                    <a:gd name="T5" fmla="*/ 16 h 24"/>
                    <a:gd name="T6" fmla="*/ 24 h 24"/>
                    <a:gd name="T7" fmla="*/ 24 h 24"/>
                    <a:gd name="T8" fmla="*/ 24 h 24"/>
                    <a:gd name="T9" fmla="*/ 16 h 24"/>
                    <a:gd name="T10" fmla="*/ 13 h 24"/>
                    <a:gd name="T11" fmla="*/ 9 h 24"/>
                    <a:gd name="T12" fmla="*/ 5 h 24"/>
                    <a:gd name="T13" fmla="*/ 0 h 2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</a:cxnLst>
                  <a:rect l="0" t="0" r="r" b="b"/>
                  <a:pathLst>
                    <a:path h="2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89" name="Freeform 3003"/>
                <p:cNvSpPr>
                  <a:spLocks/>
                </p:cNvSpPr>
                <p:nvPr/>
              </p:nvSpPr>
              <p:spPr bwMode="auto">
                <a:xfrm>
                  <a:off x="4656" y="2585"/>
                  <a:ext cx="63" cy="80"/>
                </a:xfrm>
                <a:custGeom>
                  <a:avLst/>
                  <a:gdLst>
                    <a:gd name="T0" fmla="*/ 63 w 63"/>
                    <a:gd name="T1" fmla="*/ 0 h 80"/>
                    <a:gd name="T2" fmla="*/ 61 w 63"/>
                    <a:gd name="T3" fmla="*/ 4 h 80"/>
                    <a:gd name="T4" fmla="*/ 59 w 63"/>
                    <a:gd name="T5" fmla="*/ 6 h 80"/>
                    <a:gd name="T6" fmla="*/ 58 w 63"/>
                    <a:gd name="T7" fmla="*/ 8 h 80"/>
                    <a:gd name="T8" fmla="*/ 56 w 63"/>
                    <a:gd name="T9" fmla="*/ 10 h 80"/>
                    <a:gd name="T10" fmla="*/ 52 w 63"/>
                    <a:gd name="T11" fmla="*/ 12 h 80"/>
                    <a:gd name="T12" fmla="*/ 50 w 63"/>
                    <a:gd name="T13" fmla="*/ 13 h 80"/>
                    <a:gd name="T14" fmla="*/ 47 w 63"/>
                    <a:gd name="T15" fmla="*/ 13 h 80"/>
                    <a:gd name="T16" fmla="*/ 47 w 63"/>
                    <a:gd name="T17" fmla="*/ 13 h 80"/>
                    <a:gd name="T18" fmla="*/ 41 w 63"/>
                    <a:gd name="T19" fmla="*/ 23 h 80"/>
                    <a:gd name="T20" fmla="*/ 39 w 63"/>
                    <a:gd name="T21" fmla="*/ 34 h 80"/>
                    <a:gd name="T22" fmla="*/ 35 w 63"/>
                    <a:gd name="T23" fmla="*/ 43 h 80"/>
                    <a:gd name="T24" fmla="*/ 30 w 63"/>
                    <a:gd name="T25" fmla="*/ 52 h 80"/>
                    <a:gd name="T26" fmla="*/ 28 w 63"/>
                    <a:gd name="T27" fmla="*/ 58 h 80"/>
                    <a:gd name="T28" fmla="*/ 24 w 63"/>
                    <a:gd name="T29" fmla="*/ 61 h 80"/>
                    <a:gd name="T30" fmla="*/ 23 w 63"/>
                    <a:gd name="T31" fmla="*/ 65 h 80"/>
                    <a:gd name="T32" fmla="*/ 19 w 63"/>
                    <a:gd name="T33" fmla="*/ 69 h 80"/>
                    <a:gd name="T34" fmla="*/ 15 w 63"/>
                    <a:gd name="T35" fmla="*/ 72 h 80"/>
                    <a:gd name="T36" fmla="*/ 11 w 63"/>
                    <a:gd name="T37" fmla="*/ 76 h 80"/>
                    <a:gd name="T38" fmla="*/ 8 w 63"/>
                    <a:gd name="T39" fmla="*/ 78 h 80"/>
                    <a:gd name="T40" fmla="*/ 2 w 63"/>
                    <a:gd name="T41" fmla="*/ 78 h 80"/>
                    <a:gd name="T42" fmla="*/ 0 w 63"/>
                    <a:gd name="T43" fmla="*/ 80 h 80"/>
                    <a:gd name="T44" fmla="*/ 2 w 63"/>
                    <a:gd name="T45" fmla="*/ 78 h 80"/>
                    <a:gd name="T46" fmla="*/ 8 w 63"/>
                    <a:gd name="T47" fmla="*/ 78 h 80"/>
                    <a:gd name="T48" fmla="*/ 11 w 63"/>
                    <a:gd name="T49" fmla="*/ 76 h 80"/>
                    <a:gd name="T50" fmla="*/ 15 w 63"/>
                    <a:gd name="T51" fmla="*/ 72 h 80"/>
                    <a:gd name="T52" fmla="*/ 19 w 63"/>
                    <a:gd name="T53" fmla="*/ 69 h 80"/>
                    <a:gd name="T54" fmla="*/ 23 w 63"/>
                    <a:gd name="T55" fmla="*/ 65 h 80"/>
                    <a:gd name="T56" fmla="*/ 24 w 63"/>
                    <a:gd name="T57" fmla="*/ 61 h 80"/>
                    <a:gd name="T58" fmla="*/ 28 w 63"/>
                    <a:gd name="T59" fmla="*/ 58 h 80"/>
                    <a:gd name="T60" fmla="*/ 30 w 63"/>
                    <a:gd name="T61" fmla="*/ 52 h 80"/>
                    <a:gd name="T62" fmla="*/ 35 w 63"/>
                    <a:gd name="T63" fmla="*/ 43 h 80"/>
                    <a:gd name="T64" fmla="*/ 39 w 63"/>
                    <a:gd name="T65" fmla="*/ 34 h 80"/>
                    <a:gd name="T66" fmla="*/ 41 w 63"/>
                    <a:gd name="T67" fmla="*/ 23 h 80"/>
                    <a:gd name="T68" fmla="*/ 47 w 63"/>
                    <a:gd name="T69" fmla="*/ 13 h 80"/>
                    <a:gd name="T70" fmla="*/ 47 w 63"/>
                    <a:gd name="T71" fmla="*/ 13 h 80"/>
                    <a:gd name="T72" fmla="*/ 50 w 63"/>
                    <a:gd name="T73" fmla="*/ 13 h 80"/>
                    <a:gd name="T74" fmla="*/ 52 w 63"/>
                    <a:gd name="T75" fmla="*/ 12 h 80"/>
                    <a:gd name="T76" fmla="*/ 56 w 63"/>
                    <a:gd name="T77" fmla="*/ 10 h 80"/>
                    <a:gd name="T78" fmla="*/ 58 w 63"/>
                    <a:gd name="T79" fmla="*/ 8 h 80"/>
                    <a:gd name="T80" fmla="*/ 59 w 63"/>
                    <a:gd name="T81" fmla="*/ 6 h 80"/>
                    <a:gd name="T82" fmla="*/ 61 w 63"/>
                    <a:gd name="T83" fmla="*/ 4 h 80"/>
                    <a:gd name="T84" fmla="*/ 63 w 63"/>
                    <a:gd name="T85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3" h="80">
                      <a:moveTo>
                        <a:pt x="63" y="0"/>
                      </a:moveTo>
                      <a:lnTo>
                        <a:pt x="61" y="4"/>
                      </a:lnTo>
                      <a:lnTo>
                        <a:pt x="59" y="6"/>
                      </a:lnTo>
                      <a:lnTo>
                        <a:pt x="58" y="8"/>
                      </a:lnTo>
                      <a:lnTo>
                        <a:pt x="56" y="10"/>
                      </a:lnTo>
                      <a:lnTo>
                        <a:pt x="52" y="12"/>
                      </a:lnTo>
                      <a:lnTo>
                        <a:pt x="50" y="13"/>
                      </a:lnTo>
                      <a:lnTo>
                        <a:pt x="47" y="13"/>
                      </a:lnTo>
                      <a:lnTo>
                        <a:pt x="47" y="13"/>
                      </a:lnTo>
                      <a:lnTo>
                        <a:pt x="41" y="23"/>
                      </a:lnTo>
                      <a:lnTo>
                        <a:pt x="39" y="34"/>
                      </a:lnTo>
                      <a:lnTo>
                        <a:pt x="35" y="43"/>
                      </a:lnTo>
                      <a:lnTo>
                        <a:pt x="30" y="52"/>
                      </a:lnTo>
                      <a:lnTo>
                        <a:pt x="28" y="58"/>
                      </a:lnTo>
                      <a:lnTo>
                        <a:pt x="24" y="61"/>
                      </a:lnTo>
                      <a:lnTo>
                        <a:pt x="23" y="65"/>
                      </a:lnTo>
                      <a:lnTo>
                        <a:pt x="19" y="69"/>
                      </a:lnTo>
                      <a:lnTo>
                        <a:pt x="15" y="72"/>
                      </a:lnTo>
                      <a:lnTo>
                        <a:pt x="11" y="76"/>
                      </a:lnTo>
                      <a:lnTo>
                        <a:pt x="8" y="78"/>
                      </a:lnTo>
                      <a:lnTo>
                        <a:pt x="2" y="78"/>
                      </a:lnTo>
                      <a:lnTo>
                        <a:pt x="0" y="80"/>
                      </a:lnTo>
                      <a:lnTo>
                        <a:pt x="2" y="78"/>
                      </a:lnTo>
                      <a:lnTo>
                        <a:pt x="8" y="78"/>
                      </a:lnTo>
                      <a:lnTo>
                        <a:pt x="11" y="76"/>
                      </a:lnTo>
                      <a:lnTo>
                        <a:pt x="15" y="72"/>
                      </a:lnTo>
                      <a:lnTo>
                        <a:pt x="19" y="69"/>
                      </a:lnTo>
                      <a:lnTo>
                        <a:pt x="23" y="65"/>
                      </a:lnTo>
                      <a:lnTo>
                        <a:pt x="24" y="61"/>
                      </a:lnTo>
                      <a:lnTo>
                        <a:pt x="28" y="58"/>
                      </a:lnTo>
                      <a:lnTo>
                        <a:pt x="30" y="52"/>
                      </a:lnTo>
                      <a:lnTo>
                        <a:pt x="35" y="43"/>
                      </a:lnTo>
                      <a:lnTo>
                        <a:pt x="39" y="34"/>
                      </a:lnTo>
                      <a:lnTo>
                        <a:pt x="41" y="23"/>
                      </a:lnTo>
                      <a:lnTo>
                        <a:pt x="47" y="13"/>
                      </a:lnTo>
                      <a:lnTo>
                        <a:pt x="47" y="13"/>
                      </a:lnTo>
                      <a:lnTo>
                        <a:pt x="50" y="13"/>
                      </a:lnTo>
                      <a:lnTo>
                        <a:pt x="52" y="12"/>
                      </a:lnTo>
                      <a:lnTo>
                        <a:pt x="56" y="10"/>
                      </a:lnTo>
                      <a:lnTo>
                        <a:pt x="58" y="8"/>
                      </a:lnTo>
                      <a:lnTo>
                        <a:pt x="59" y="6"/>
                      </a:lnTo>
                      <a:lnTo>
                        <a:pt x="61" y="4"/>
                      </a:lnTo>
                      <a:lnTo>
                        <a:pt x="6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0" name="Freeform 3004"/>
                <p:cNvSpPr>
                  <a:spLocks/>
                </p:cNvSpPr>
                <p:nvPr/>
              </p:nvSpPr>
              <p:spPr bwMode="auto">
                <a:xfrm>
                  <a:off x="4749" y="2504"/>
                  <a:ext cx="20" cy="46"/>
                </a:xfrm>
                <a:custGeom>
                  <a:avLst/>
                  <a:gdLst>
                    <a:gd name="T0" fmla="*/ 0 w 20"/>
                    <a:gd name="T1" fmla="*/ 0 h 46"/>
                    <a:gd name="T2" fmla="*/ 0 w 20"/>
                    <a:gd name="T3" fmla="*/ 0 h 46"/>
                    <a:gd name="T4" fmla="*/ 3 w 20"/>
                    <a:gd name="T5" fmla="*/ 13 h 46"/>
                    <a:gd name="T6" fmla="*/ 7 w 20"/>
                    <a:gd name="T7" fmla="*/ 13 h 46"/>
                    <a:gd name="T8" fmla="*/ 13 w 20"/>
                    <a:gd name="T9" fmla="*/ 13 h 46"/>
                    <a:gd name="T10" fmla="*/ 14 w 20"/>
                    <a:gd name="T11" fmla="*/ 13 h 46"/>
                    <a:gd name="T12" fmla="*/ 14 w 20"/>
                    <a:gd name="T13" fmla="*/ 21 h 46"/>
                    <a:gd name="T14" fmla="*/ 16 w 20"/>
                    <a:gd name="T15" fmla="*/ 30 h 46"/>
                    <a:gd name="T16" fmla="*/ 18 w 20"/>
                    <a:gd name="T17" fmla="*/ 37 h 46"/>
                    <a:gd name="T18" fmla="*/ 20 w 20"/>
                    <a:gd name="T19" fmla="*/ 46 h 46"/>
                    <a:gd name="T20" fmla="*/ 18 w 20"/>
                    <a:gd name="T21" fmla="*/ 37 h 46"/>
                    <a:gd name="T22" fmla="*/ 16 w 20"/>
                    <a:gd name="T23" fmla="*/ 30 h 46"/>
                    <a:gd name="T24" fmla="*/ 14 w 20"/>
                    <a:gd name="T25" fmla="*/ 21 h 46"/>
                    <a:gd name="T26" fmla="*/ 14 w 20"/>
                    <a:gd name="T27" fmla="*/ 13 h 46"/>
                    <a:gd name="T28" fmla="*/ 13 w 20"/>
                    <a:gd name="T29" fmla="*/ 13 h 46"/>
                    <a:gd name="T30" fmla="*/ 7 w 20"/>
                    <a:gd name="T31" fmla="*/ 13 h 46"/>
                    <a:gd name="T32" fmla="*/ 3 w 20"/>
                    <a:gd name="T33" fmla="*/ 13 h 46"/>
                    <a:gd name="T34" fmla="*/ 0 w 20"/>
                    <a:gd name="T3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0" h="4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13"/>
                      </a:lnTo>
                      <a:lnTo>
                        <a:pt x="7" y="13"/>
                      </a:lnTo>
                      <a:lnTo>
                        <a:pt x="13" y="13"/>
                      </a:lnTo>
                      <a:lnTo>
                        <a:pt x="14" y="13"/>
                      </a:lnTo>
                      <a:lnTo>
                        <a:pt x="14" y="21"/>
                      </a:lnTo>
                      <a:lnTo>
                        <a:pt x="16" y="30"/>
                      </a:lnTo>
                      <a:lnTo>
                        <a:pt x="18" y="37"/>
                      </a:lnTo>
                      <a:lnTo>
                        <a:pt x="20" y="46"/>
                      </a:lnTo>
                      <a:lnTo>
                        <a:pt x="18" y="37"/>
                      </a:lnTo>
                      <a:lnTo>
                        <a:pt x="16" y="30"/>
                      </a:lnTo>
                      <a:lnTo>
                        <a:pt x="14" y="21"/>
                      </a:lnTo>
                      <a:lnTo>
                        <a:pt x="14" y="13"/>
                      </a:lnTo>
                      <a:lnTo>
                        <a:pt x="13" y="13"/>
                      </a:lnTo>
                      <a:lnTo>
                        <a:pt x="7" y="13"/>
                      </a:lnTo>
                      <a:lnTo>
                        <a:pt x="3" y="1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1" name="Freeform 3005"/>
                <p:cNvSpPr>
                  <a:spLocks/>
                </p:cNvSpPr>
                <p:nvPr/>
              </p:nvSpPr>
              <p:spPr bwMode="auto">
                <a:xfrm>
                  <a:off x="4555" y="2381"/>
                  <a:ext cx="29" cy="62"/>
                </a:xfrm>
                <a:custGeom>
                  <a:avLst/>
                  <a:gdLst>
                    <a:gd name="T0" fmla="*/ 29 w 29"/>
                    <a:gd name="T1" fmla="*/ 0 h 62"/>
                    <a:gd name="T2" fmla="*/ 26 w 29"/>
                    <a:gd name="T3" fmla="*/ 0 h 62"/>
                    <a:gd name="T4" fmla="*/ 20 w 29"/>
                    <a:gd name="T5" fmla="*/ 0 h 62"/>
                    <a:gd name="T6" fmla="*/ 20 w 29"/>
                    <a:gd name="T7" fmla="*/ 0 h 62"/>
                    <a:gd name="T8" fmla="*/ 15 w 29"/>
                    <a:gd name="T9" fmla="*/ 16 h 62"/>
                    <a:gd name="T10" fmla="*/ 9 w 29"/>
                    <a:gd name="T11" fmla="*/ 29 h 62"/>
                    <a:gd name="T12" fmla="*/ 5 w 29"/>
                    <a:gd name="T13" fmla="*/ 42 h 62"/>
                    <a:gd name="T14" fmla="*/ 2 w 29"/>
                    <a:gd name="T15" fmla="*/ 55 h 62"/>
                    <a:gd name="T16" fmla="*/ 0 w 29"/>
                    <a:gd name="T17" fmla="*/ 62 h 62"/>
                    <a:gd name="T18" fmla="*/ 2 w 29"/>
                    <a:gd name="T19" fmla="*/ 55 h 62"/>
                    <a:gd name="T20" fmla="*/ 5 w 29"/>
                    <a:gd name="T21" fmla="*/ 42 h 62"/>
                    <a:gd name="T22" fmla="*/ 9 w 29"/>
                    <a:gd name="T23" fmla="*/ 29 h 62"/>
                    <a:gd name="T24" fmla="*/ 15 w 29"/>
                    <a:gd name="T25" fmla="*/ 16 h 62"/>
                    <a:gd name="T26" fmla="*/ 20 w 29"/>
                    <a:gd name="T27" fmla="*/ 0 h 62"/>
                    <a:gd name="T28" fmla="*/ 20 w 29"/>
                    <a:gd name="T29" fmla="*/ 0 h 62"/>
                    <a:gd name="T30" fmla="*/ 26 w 29"/>
                    <a:gd name="T31" fmla="*/ 0 h 62"/>
                    <a:gd name="T32" fmla="*/ 29 w 29"/>
                    <a:gd name="T3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9" h="62">
                      <a:moveTo>
                        <a:pt x="29" y="0"/>
                      </a:moveTo>
                      <a:lnTo>
                        <a:pt x="26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5" y="16"/>
                      </a:lnTo>
                      <a:lnTo>
                        <a:pt x="9" y="29"/>
                      </a:lnTo>
                      <a:lnTo>
                        <a:pt x="5" y="42"/>
                      </a:lnTo>
                      <a:lnTo>
                        <a:pt x="2" y="55"/>
                      </a:lnTo>
                      <a:lnTo>
                        <a:pt x="0" y="62"/>
                      </a:lnTo>
                      <a:lnTo>
                        <a:pt x="2" y="55"/>
                      </a:lnTo>
                      <a:lnTo>
                        <a:pt x="5" y="42"/>
                      </a:lnTo>
                      <a:lnTo>
                        <a:pt x="9" y="29"/>
                      </a:lnTo>
                      <a:lnTo>
                        <a:pt x="15" y="16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6" y="0"/>
                      </a:lnTo>
                      <a:lnTo>
                        <a:pt x="2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2" name="Freeform 3006"/>
                <p:cNvSpPr>
                  <a:spLocks/>
                </p:cNvSpPr>
                <p:nvPr/>
              </p:nvSpPr>
              <p:spPr bwMode="auto">
                <a:xfrm>
                  <a:off x="4005" y="2358"/>
                  <a:ext cx="764" cy="537"/>
                </a:xfrm>
                <a:custGeom>
                  <a:avLst/>
                  <a:gdLst>
                    <a:gd name="T0" fmla="*/ 498 w 764"/>
                    <a:gd name="T1" fmla="*/ 30 h 537"/>
                    <a:gd name="T2" fmla="*/ 552 w 764"/>
                    <a:gd name="T3" fmla="*/ 4 h 537"/>
                    <a:gd name="T4" fmla="*/ 576 w 764"/>
                    <a:gd name="T5" fmla="*/ 23 h 537"/>
                    <a:gd name="T6" fmla="*/ 542 w 764"/>
                    <a:gd name="T7" fmla="*/ 126 h 537"/>
                    <a:gd name="T8" fmla="*/ 561 w 764"/>
                    <a:gd name="T9" fmla="*/ 165 h 537"/>
                    <a:gd name="T10" fmla="*/ 618 w 764"/>
                    <a:gd name="T11" fmla="*/ 191 h 537"/>
                    <a:gd name="T12" fmla="*/ 661 w 764"/>
                    <a:gd name="T13" fmla="*/ 163 h 537"/>
                    <a:gd name="T14" fmla="*/ 679 w 764"/>
                    <a:gd name="T15" fmla="*/ 130 h 537"/>
                    <a:gd name="T16" fmla="*/ 701 w 764"/>
                    <a:gd name="T17" fmla="*/ 117 h 537"/>
                    <a:gd name="T18" fmla="*/ 723 w 764"/>
                    <a:gd name="T19" fmla="*/ 95 h 537"/>
                    <a:gd name="T20" fmla="*/ 762 w 764"/>
                    <a:gd name="T21" fmla="*/ 191 h 537"/>
                    <a:gd name="T22" fmla="*/ 705 w 764"/>
                    <a:gd name="T23" fmla="*/ 222 h 537"/>
                    <a:gd name="T24" fmla="*/ 690 w 764"/>
                    <a:gd name="T25" fmla="*/ 261 h 537"/>
                    <a:gd name="T26" fmla="*/ 657 w 764"/>
                    <a:gd name="T27" fmla="*/ 318 h 537"/>
                    <a:gd name="T28" fmla="*/ 651 w 764"/>
                    <a:gd name="T29" fmla="*/ 382 h 537"/>
                    <a:gd name="T30" fmla="*/ 670 w 764"/>
                    <a:gd name="T31" fmla="*/ 406 h 537"/>
                    <a:gd name="T32" fmla="*/ 736 w 764"/>
                    <a:gd name="T33" fmla="*/ 449 h 537"/>
                    <a:gd name="T34" fmla="*/ 720 w 764"/>
                    <a:gd name="T35" fmla="*/ 528 h 537"/>
                    <a:gd name="T36" fmla="*/ 600 w 764"/>
                    <a:gd name="T37" fmla="*/ 525 h 537"/>
                    <a:gd name="T38" fmla="*/ 511 w 764"/>
                    <a:gd name="T39" fmla="*/ 493 h 537"/>
                    <a:gd name="T40" fmla="*/ 465 w 764"/>
                    <a:gd name="T41" fmla="*/ 427 h 537"/>
                    <a:gd name="T42" fmla="*/ 452 w 764"/>
                    <a:gd name="T43" fmla="*/ 425 h 537"/>
                    <a:gd name="T44" fmla="*/ 408 w 764"/>
                    <a:gd name="T45" fmla="*/ 362 h 537"/>
                    <a:gd name="T46" fmla="*/ 365 w 764"/>
                    <a:gd name="T47" fmla="*/ 335 h 537"/>
                    <a:gd name="T48" fmla="*/ 316 w 764"/>
                    <a:gd name="T49" fmla="*/ 333 h 537"/>
                    <a:gd name="T50" fmla="*/ 240 w 764"/>
                    <a:gd name="T51" fmla="*/ 331 h 537"/>
                    <a:gd name="T52" fmla="*/ 166 w 764"/>
                    <a:gd name="T53" fmla="*/ 325 h 537"/>
                    <a:gd name="T54" fmla="*/ 160 w 764"/>
                    <a:gd name="T55" fmla="*/ 283 h 537"/>
                    <a:gd name="T56" fmla="*/ 127 w 764"/>
                    <a:gd name="T57" fmla="*/ 213 h 537"/>
                    <a:gd name="T58" fmla="*/ 79 w 764"/>
                    <a:gd name="T59" fmla="*/ 181 h 537"/>
                    <a:gd name="T60" fmla="*/ 35 w 764"/>
                    <a:gd name="T61" fmla="*/ 196 h 537"/>
                    <a:gd name="T62" fmla="*/ 44 w 764"/>
                    <a:gd name="T63" fmla="*/ 161 h 537"/>
                    <a:gd name="T64" fmla="*/ 0 w 764"/>
                    <a:gd name="T65" fmla="*/ 124 h 537"/>
                    <a:gd name="T66" fmla="*/ 39 w 764"/>
                    <a:gd name="T67" fmla="*/ 174 h 537"/>
                    <a:gd name="T68" fmla="*/ 55 w 764"/>
                    <a:gd name="T69" fmla="*/ 202 h 537"/>
                    <a:gd name="T70" fmla="*/ 94 w 764"/>
                    <a:gd name="T71" fmla="*/ 196 h 537"/>
                    <a:gd name="T72" fmla="*/ 136 w 764"/>
                    <a:gd name="T73" fmla="*/ 255 h 537"/>
                    <a:gd name="T74" fmla="*/ 148 w 764"/>
                    <a:gd name="T75" fmla="*/ 303 h 537"/>
                    <a:gd name="T76" fmla="*/ 188 w 764"/>
                    <a:gd name="T77" fmla="*/ 353 h 537"/>
                    <a:gd name="T78" fmla="*/ 277 w 764"/>
                    <a:gd name="T79" fmla="*/ 331 h 537"/>
                    <a:gd name="T80" fmla="*/ 352 w 764"/>
                    <a:gd name="T81" fmla="*/ 329 h 537"/>
                    <a:gd name="T82" fmla="*/ 376 w 764"/>
                    <a:gd name="T83" fmla="*/ 340 h 537"/>
                    <a:gd name="T84" fmla="*/ 423 w 764"/>
                    <a:gd name="T85" fmla="*/ 382 h 537"/>
                    <a:gd name="T86" fmla="*/ 459 w 764"/>
                    <a:gd name="T87" fmla="*/ 440 h 537"/>
                    <a:gd name="T88" fmla="*/ 478 w 764"/>
                    <a:gd name="T89" fmla="*/ 445 h 537"/>
                    <a:gd name="T90" fmla="*/ 535 w 764"/>
                    <a:gd name="T91" fmla="*/ 523 h 537"/>
                    <a:gd name="T92" fmla="*/ 638 w 764"/>
                    <a:gd name="T93" fmla="*/ 521 h 537"/>
                    <a:gd name="T94" fmla="*/ 733 w 764"/>
                    <a:gd name="T95" fmla="*/ 491 h 537"/>
                    <a:gd name="T96" fmla="*/ 738 w 764"/>
                    <a:gd name="T97" fmla="*/ 447 h 537"/>
                    <a:gd name="T98" fmla="*/ 692 w 764"/>
                    <a:gd name="T99" fmla="*/ 412 h 537"/>
                    <a:gd name="T100" fmla="*/ 653 w 764"/>
                    <a:gd name="T101" fmla="*/ 386 h 537"/>
                    <a:gd name="T102" fmla="*/ 659 w 764"/>
                    <a:gd name="T103" fmla="*/ 323 h 537"/>
                    <a:gd name="T104" fmla="*/ 672 w 764"/>
                    <a:gd name="T105" fmla="*/ 298 h 537"/>
                    <a:gd name="T106" fmla="*/ 707 w 764"/>
                    <a:gd name="T107" fmla="*/ 239 h 537"/>
                    <a:gd name="T108" fmla="*/ 699 w 764"/>
                    <a:gd name="T109" fmla="*/ 209 h 537"/>
                    <a:gd name="T110" fmla="*/ 758 w 764"/>
                    <a:gd name="T111" fmla="*/ 159 h 537"/>
                    <a:gd name="T112" fmla="*/ 725 w 764"/>
                    <a:gd name="T113" fmla="*/ 95 h 537"/>
                    <a:gd name="T114" fmla="*/ 696 w 764"/>
                    <a:gd name="T115" fmla="*/ 122 h 537"/>
                    <a:gd name="T116" fmla="*/ 651 w 764"/>
                    <a:gd name="T117" fmla="*/ 163 h 537"/>
                    <a:gd name="T118" fmla="*/ 613 w 764"/>
                    <a:gd name="T119" fmla="*/ 187 h 537"/>
                    <a:gd name="T120" fmla="*/ 537 w 764"/>
                    <a:gd name="T121" fmla="*/ 168 h 537"/>
                    <a:gd name="T122" fmla="*/ 548 w 764"/>
                    <a:gd name="T123" fmla="*/ 98 h 537"/>
                    <a:gd name="T124" fmla="*/ 581 w 764"/>
                    <a:gd name="T125" fmla="*/ 8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64" h="537">
                      <a:moveTo>
                        <a:pt x="559" y="0"/>
                      </a:moveTo>
                      <a:lnTo>
                        <a:pt x="552" y="2"/>
                      </a:lnTo>
                      <a:lnTo>
                        <a:pt x="544" y="4"/>
                      </a:lnTo>
                      <a:lnTo>
                        <a:pt x="539" y="4"/>
                      </a:lnTo>
                      <a:lnTo>
                        <a:pt x="531" y="6"/>
                      </a:lnTo>
                      <a:lnTo>
                        <a:pt x="531" y="6"/>
                      </a:lnTo>
                      <a:lnTo>
                        <a:pt x="530" y="10"/>
                      </a:lnTo>
                      <a:lnTo>
                        <a:pt x="528" y="13"/>
                      </a:lnTo>
                      <a:lnTo>
                        <a:pt x="528" y="13"/>
                      </a:lnTo>
                      <a:lnTo>
                        <a:pt x="528" y="15"/>
                      </a:lnTo>
                      <a:lnTo>
                        <a:pt x="528" y="15"/>
                      </a:lnTo>
                      <a:lnTo>
                        <a:pt x="526" y="19"/>
                      </a:lnTo>
                      <a:lnTo>
                        <a:pt x="517" y="23"/>
                      </a:lnTo>
                      <a:lnTo>
                        <a:pt x="507" y="26"/>
                      </a:lnTo>
                      <a:lnTo>
                        <a:pt x="498" y="30"/>
                      </a:lnTo>
                      <a:lnTo>
                        <a:pt x="489" y="34"/>
                      </a:lnTo>
                      <a:lnTo>
                        <a:pt x="489" y="36"/>
                      </a:lnTo>
                      <a:lnTo>
                        <a:pt x="478" y="39"/>
                      </a:lnTo>
                      <a:lnTo>
                        <a:pt x="487" y="36"/>
                      </a:lnTo>
                      <a:lnTo>
                        <a:pt x="498" y="32"/>
                      </a:lnTo>
                      <a:lnTo>
                        <a:pt x="507" y="28"/>
                      </a:lnTo>
                      <a:lnTo>
                        <a:pt x="519" y="24"/>
                      </a:lnTo>
                      <a:lnTo>
                        <a:pt x="528" y="21"/>
                      </a:lnTo>
                      <a:lnTo>
                        <a:pt x="530" y="17"/>
                      </a:lnTo>
                      <a:lnTo>
                        <a:pt x="530" y="13"/>
                      </a:lnTo>
                      <a:lnTo>
                        <a:pt x="531" y="10"/>
                      </a:lnTo>
                      <a:lnTo>
                        <a:pt x="531" y="8"/>
                      </a:lnTo>
                      <a:lnTo>
                        <a:pt x="539" y="6"/>
                      </a:lnTo>
                      <a:lnTo>
                        <a:pt x="544" y="6"/>
                      </a:lnTo>
                      <a:lnTo>
                        <a:pt x="552" y="4"/>
                      </a:lnTo>
                      <a:lnTo>
                        <a:pt x="552" y="4"/>
                      </a:lnTo>
                      <a:lnTo>
                        <a:pt x="559" y="2"/>
                      </a:lnTo>
                      <a:lnTo>
                        <a:pt x="561" y="8"/>
                      </a:lnTo>
                      <a:lnTo>
                        <a:pt x="561" y="8"/>
                      </a:lnTo>
                      <a:lnTo>
                        <a:pt x="563" y="12"/>
                      </a:lnTo>
                      <a:lnTo>
                        <a:pt x="563" y="12"/>
                      </a:lnTo>
                      <a:lnTo>
                        <a:pt x="568" y="12"/>
                      </a:lnTo>
                      <a:lnTo>
                        <a:pt x="572" y="10"/>
                      </a:lnTo>
                      <a:lnTo>
                        <a:pt x="576" y="8"/>
                      </a:lnTo>
                      <a:lnTo>
                        <a:pt x="579" y="8"/>
                      </a:lnTo>
                      <a:lnTo>
                        <a:pt x="579" y="12"/>
                      </a:lnTo>
                      <a:lnTo>
                        <a:pt x="579" y="15"/>
                      </a:lnTo>
                      <a:lnTo>
                        <a:pt x="579" y="19"/>
                      </a:lnTo>
                      <a:lnTo>
                        <a:pt x="579" y="23"/>
                      </a:lnTo>
                      <a:lnTo>
                        <a:pt x="576" y="23"/>
                      </a:lnTo>
                      <a:lnTo>
                        <a:pt x="570" y="23"/>
                      </a:lnTo>
                      <a:lnTo>
                        <a:pt x="570" y="23"/>
                      </a:lnTo>
                      <a:lnTo>
                        <a:pt x="565" y="39"/>
                      </a:lnTo>
                      <a:lnTo>
                        <a:pt x="559" y="52"/>
                      </a:lnTo>
                      <a:lnTo>
                        <a:pt x="555" y="65"/>
                      </a:lnTo>
                      <a:lnTo>
                        <a:pt x="552" y="78"/>
                      </a:lnTo>
                      <a:lnTo>
                        <a:pt x="550" y="85"/>
                      </a:lnTo>
                      <a:lnTo>
                        <a:pt x="550" y="85"/>
                      </a:lnTo>
                      <a:lnTo>
                        <a:pt x="548" y="91"/>
                      </a:lnTo>
                      <a:lnTo>
                        <a:pt x="546" y="96"/>
                      </a:lnTo>
                      <a:lnTo>
                        <a:pt x="544" y="104"/>
                      </a:lnTo>
                      <a:lnTo>
                        <a:pt x="544" y="104"/>
                      </a:lnTo>
                      <a:lnTo>
                        <a:pt x="544" y="111"/>
                      </a:lnTo>
                      <a:lnTo>
                        <a:pt x="542" y="117"/>
                      </a:lnTo>
                      <a:lnTo>
                        <a:pt x="542" y="126"/>
                      </a:lnTo>
                      <a:lnTo>
                        <a:pt x="542" y="133"/>
                      </a:lnTo>
                      <a:lnTo>
                        <a:pt x="539" y="133"/>
                      </a:lnTo>
                      <a:lnTo>
                        <a:pt x="537" y="133"/>
                      </a:lnTo>
                      <a:lnTo>
                        <a:pt x="533" y="135"/>
                      </a:lnTo>
                      <a:lnTo>
                        <a:pt x="533" y="135"/>
                      </a:lnTo>
                      <a:lnTo>
                        <a:pt x="530" y="135"/>
                      </a:lnTo>
                      <a:lnTo>
                        <a:pt x="530" y="135"/>
                      </a:lnTo>
                      <a:lnTo>
                        <a:pt x="530" y="144"/>
                      </a:lnTo>
                      <a:lnTo>
                        <a:pt x="528" y="154"/>
                      </a:lnTo>
                      <a:lnTo>
                        <a:pt x="528" y="163"/>
                      </a:lnTo>
                      <a:lnTo>
                        <a:pt x="526" y="170"/>
                      </a:lnTo>
                      <a:lnTo>
                        <a:pt x="526" y="172"/>
                      </a:lnTo>
                      <a:lnTo>
                        <a:pt x="539" y="168"/>
                      </a:lnTo>
                      <a:lnTo>
                        <a:pt x="550" y="167"/>
                      </a:lnTo>
                      <a:lnTo>
                        <a:pt x="561" y="165"/>
                      </a:lnTo>
                      <a:lnTo>
                        <a:pt x="572" y="161"/>
                      </a:lnTo>
                      <a:lnTo>
                        <a:pt x="576" y="170"/>
                      </a:lnTo>
                      <a:lnTo>
                        <a:pt x="576" y="170"/>
                      </a:lnTo>
                      <a:lnTo>
                        <a:pt x="581" y="179"/>
                      </a:lnTo>
                      <a:lnTo>
                        <a:pt x="587" y="189"/>
                      </a:lnTo>
                      <a:lnTo>
                        <a:pt x="592" y="200"/>
                      </a:lnTo>
                      <a:lnTo>
                        <a:pt x="596" y="200"/>
                      </a:lnTo>
                      <a:lnTo>
                        <a:pt x="602" y="200"/>
                      </a:lnTo>
                      <a:lnTo>
                        <a:pt x="605" y="200"/>
                      </a:lnTo>
                      <a:lnTo>
                        <a:pt x="609" y="200"/>
                      </a:lnTo>
                      <a:lnTo>
                        <a:pt x="609" y="200"/>
                      </a:lnTo>
                      <a:lnTo>
                        <a:pt x="611" y="192"/>
                      </a:lnTo>
                      <a:lnTo>
                        <a:pt x="613" y="189"/>
                      </a:lnTo>
                      <a:lnTo>
                        <a:pt x="616" y="191"/>
                      </a:lnTo>
                      <a:lnTo>
                        <a:pt x="618" y="191"/>
                      </a:lnTo>
                      <a:lnTo>
                        <a:pt x="622" y="192"/>
                      </a:lnTo>
                      <a:lnTo>
                        <a:pt x="626" y="194"/>
                      </a:lnTo>
                      <a:lnTo>
                        <a:pt x="626" y="194"/>
                      </a:lnTo>
                      <a:lnTo>
                        <a:pt x="626" y="187"/>
                      </a:lnTo>
                      <a:lnTo>
                        <a:pt x="626" y="181"/>
                      </a:lnTo>
                      <a:lnTo>
                        <a:pt x="631" y="181"/>
                      </a:lnTo>
                      <a:lnTo>
                        <a:pt x="637" y="179"/>
                      </a:lnTo>
                      <a:lnTo>
                        <a:pt x="642" y="178"/>
                      </a:lnTo>
                      <a:lnTo>
                        <a:pt x="648" y="176"/>
                      </a:lnTo>
                      <a:lnTo>
                        <a:pt x="648" y="176"/>
                      </a:lnTo>
                      <a:lnTo>
                        <a:pt x="648" y="170"/>
                      </a:lnTo>
                      <a:lnTo>
                        <a:pt x="648" y="165"/>
                      </a:lnTo>
                      <a:lnTo>
                        <a:pt x="651" y="165"/>
                      </a:lnTo>
                      <a:lnTo>
                        <a:pt x="657" y="163"/>
                      </a:lnTo>
                      <a:lnTo>
                        <a:pt x="661" y="163"/>
                      </a:lnTo>
                      <a:lnTo>
                        <a:pt x="661" y="163"/>
                      </a:lnTo>
                      <a:lnTo>
                        <a:pt x="664" y="161"/>
                      </a:lnTo>
                      <a:lnTo>
                        <a:pt x="664" y="161"/>
                      </a:lnTo>
                      <a:lnTo>
                        <a:pt x="670" y="152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5" y="137"/>
                      </a:lnTo>
                      <a:lnTo>
                        <a:pt x="675" y="135"/>
                      </a:lnTo>
                      <a:lnTo>
                        <a:pt x="675" y="137"/>
                      </a:lnTo>
                      <a:lnTo>
                        <a:pt x="675" y="135"/>
                      </a:lnTo>
                      <a:lnTo>
                        <a:pt x="675" y="137"/>
                      </a:lnTo>
                      <a:lnTo>
                        <a:pt x="679" y="130"/>
                      </a:lnTo>
                      <a:lnTo>
                        <a:pt x="683" y="128"/>
                      </a:lnTo>
                      <a:lnTo>
                        <a:pt x="686" y="128"/>
                      </a:lnTo>
                      <a:lnTo>
                        <a:pt x="686" y="128"/>
                      </a:lnTo>
                      <a:lnTo>
                        <a:pt x="690" y="128"/>
                      </a:lnTo>
                      <a:lnTo>
                        <a:pt x="690" y="128"/>
                      </a:lnTo>
                      <a:lnTo>
                        <a:pt x="692" y="126"/>
                      </a:lnTo>
                      <a:lnTo>
                        <a:pt x="694" y="124"/>
                      </a:lnTo>
                      <a:lnTo>
                        <a:pt x="696" y="124"/>
                      </a:lnTo>
                      <a:lnTo>
                        <a:pt x="698" y="124"/>
                      </a:lnTo>
                      <a:lnTo>
                        <a:pt x="698" y="124"/>
                      </a:lnTo>
                      <a:lnTo>
                        <a:pt x="699" y="122"/>
                      </a:lnTo>
                      <a:lnTo>
                        <a:pt x="699" y="120"/>
                      </a:lnTo>
                      <a:lnTo>
                        <a:pt x="701" y="119"/>
                      </a:lnTo>
                      <a:lnTo>
                        <a:pt x="701" y="119"/>
                      </a:lnTo>
                      <a:lnTo>
                        <a:pt x="701" y="117"/>
                      </a:lnTo>
                      <a:lnTo>
                        <a:pt x="703" y="113"/>
                      </a:lnTo>
                      <a:lnTo>
                        <a:pt x="703" y="113"/>
                      </a:lnTo>
                      <a:lnTo>
                        <a:pt x="703" y="111"/>
                      </a:lnTo>
                      <a:lnTo>
                        <a:pt x="705" y="108"/>
                      </a:lnTo>
                      <a:lnTo>
                        <a:pt x="705" y="108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9" y="95"/>
                      </a:lnTo>
                      <a:lnTo>
                        <a:pt x="712" y="95"/>
                      </a:lnTo>
                      <a:lnTo>
                        <a:pt x="716" y="95"/>
                      </a:lnTo>
                      <a:lnTo>
                        <a:pt x="720" y="95"/>
                      </a:lnTo>
                      <a:lnTo>
                        <a:pt x="723" y="95"/>
                      </a:lnTo>
                      <a:lnTo>
                        <a:pt x="723" y="100"/>
                      </a:lnTo>
                      <a:lnTo>
                        <a:pt x="723" y="104"/>
                      </a:lnTo>
                      <a:lnTo>
                        <a:pt x="723" y="106"/>
                      </a:lnTo>
                      <a:lnTo>
                        <a:pt x="729" y="106"/>
                      </a:lnTo>
                      <a:lnTo>
                        <a:pt x="734" y="106"/>
                      </a:lnTo>
                      <a:lnTo>
                        <a:pt x="736" y="119"/>
                      </a:lnTo>
                      <a:lnTo>
                        <a:pt x="740" y="132"/>
                      </a:lnTo>
                      <a:lnTo>
                        <a:pt x="742" y="146"/>
                      </a:lnTo>
                      <a:lnTo>
                        <a:pt x="746" y="159"/>
                      </a:lnTo>
                      <a:lnTo>
                        <a:pt x="751" y="159"/>
                      </a:lnTo>
                      <a:lnTo>
                        <a:pt x="757" y="159"/>
                      </a:lnTo>
                      <a:lnTo>
                        <a:pt x="757" y="167"/>
                      </a:lnTo>
                      <a:lnTo>
                        <a:pt x="758" y="176"/>
                      </a:lnTo>
                      <a:lnTo>
                        <a:pt x="760" y="183"/>
                      </a:lnTo>
                      <a:lnTo>
                        <a:pt x="762" y="191"/>
                      </a:lnTo>
                      <a:lnTo>
                        <a:pt x="755" y="192"/>
                      </a:lnTo>
                      <a:lnTo>
                        <a:pt x="746" y="192"/>
                      </a:lnTo>
                      <a:lnTo>
                        <a:pt x="738" y="194"/>
                      </a:lnTo>
                      <a:lnTo>
                        <a:pt x="729" y="194"/>
                      </a:lnTo>
                      <a:lnTo>
                        <a:pt x="722" y="194"/>
                      </a:lnTo>
                      <a:lnTo>
                        <a:pt x="712" y="196"/>
                      </a:lnTo>
                      <a:lnTo>
                        <a:pt x="705" y="196"/>
                      </a:lnTo>
                      <a:lnTo>
                        <a:pt x="698" y="196"/>
                      </a:lnTo>
                      <a:lnTo>
                        <a:pt x="696" y="198"/>
                      </a:lnTo>
                      <a:lnTo>
                        <a:pt x="698" y="203"/>
                      </a:lnTo>
                      <a:lnTo>
                        <a:pt x="699" y="209"/>
                      </a:lnTo>
                      <a:lnTo>
                        <a:pt x="699" y="215"/>
                      </a:lnTo>
                      <a:lnTo>
                        <a:pt x="701" y="220"/>
                      </a:lnTo>
                      <a:lnTo>
                        <a:pt x="701" y="220"/>
                      </a:lnTo>
                      <a:lnTo>
                        <a:pt x="705" y="222"/>
                      </a:lnTo>
                      <a:lnTo>
                        <a:pt x="709" y="222"/>
                      </a:lnTo>
                      <a:lnTo>
                        <a:pt x="712" y="224"/>
                      </a:lnTo>
                      <a:lnTo>
                        <a:pt x="714" y="226"/>
                      </a:lnTo>
                      <a:lnTo>
                        <a:pt x="714" y="227"/>
                      </a:lnTo>
                      <a:lnTo>
                        <a:pt x="714" y="227"/>
                      </a:lnTo>
                      <a:lnTo>
                        <a:pt x="712" y="231"/>
                      </a:lnTo>
                      <a:lnTo>
                        <a:pt x="710" y="233"/>
                      </a:lnTo>
                      <a:lnTo>
                        <a:pt x="709" y="235"/>
                      </a:lnTo>
                      <a:lnTo>
                        <a:pt x="707" y="237"/>
                      </a:lnTo>
                      <a:lnTo>
                        <a:pt x="703" y="239"/>
                      </a:lnTo>
                      <a:lnTo>
                        <a:pt x="701" y="240"/>
                      </a:lnTo>
                      <a:lnTo>
                        <a:pt x="698" y="240"/>
                      </a:lnTo>
                      <a:lnTo>
                        <a:pt x="698" y="240"/>
                      </a:lnTo>
                      <a:lnTo>
                        <a:pt x="692" y="250"/>
                      </a:lnTo>
                      <a:lnTo>
                        <a:pt x="690" y="261"/>
                      </a:lnTo>
                      <a:lnTo>
                        <a:pt x="686" y="270"/>
                      </a:lnTo>
                      <a:lnTo>
                        <a:pt x="681" y="279"/>
                      </a:lnTo>
                      <a:lnTo>
                        <a:pt x="679" y="285"/>
                      </a:lnTo>
                      <a:lnTo>
                        <a:pt x="675" y="288"/>
                      </a:lnTo>
                      <a:lnTo>
                        <a:pt x="674" y="292"/>
                      </a:lnTo>
                      <a:lnTo>
                        <a:pt x="670" y="296"/>
                      </a:lnTo>
                      <a:lnTo>
                        <a:pt x="666" y="299"/>
                      </a:lnTo>
                      <a:lnTo>
                        <a:pt x="662" y="303"/>
                      </a:lnTo>
                      <a:lnTo>
                        <a:pt x="659" y="305"/>
                      </a:lnTo>
                      <a:lnTo>
                        <a:pt x="653" y="305"/>
                      </a:lnTo>
                      <a:lnTo>
                        <a:pt x="651" y="307"/>
                      </a:lnTo>
                      <a:lnTo>
                        <a:pt x="655" y="311"/>
                      </a:lnTo>
                      <a:lnTo>
                        <a:pt x="655" y="311"/>
                      </a:lnTo>
                      <a:lnTo>
                        <a:pt x="657" y="314"/>
                      </a:lnTo>
                      <a:lnTo>
                        <a:pt x="657" y="318"/>
                      </a:lnTo>
                      <a:lnTo>
                        <a:pt x="659" y="323"/>
                      </a:lnTo>
                      <a:lnTo>
                        <a:pt x="659" y="323"/>
                      </a:lnTo>
                      <a:lnTo>
                        <a:pt x="659" y="327"/>
                      </a:lnTo>
                      <a:lnTo>
                        <a:pt x="659" y="331"/>
                      </a:lnTo>
                      <a:lnTo>
                        <a:pt x="661" y="335"/>
                      </a:lnTo>
                      <a:lnTo>
                        <a:pt x="661" y="338"/>
                      </a:lnTo>
                      <a:lnTo>
                        <a:pt x="661" y="346"/>
                      </a:lnTo>
                      <a:lnTo>
                        <a:pt x="659" y="355"/>
                      </a:lnTo>
                      <a:lnTo>
                        <a:pt x="659" y="364"/>
                      </a:lnTo>
                      <a:lnTo>
                        <a:pt x="659" y="371"/>
                      </a:lnTo>
                      <a:lnTo>
                        <a:pt x="653" y="373"/>
                      </a:lnTo>
                      <a:lnTo>
                        <a:pt x="653" y="373"/>
                      </a:lnTo>
                      <a:lnTo>
                        <a:pt x="650" y="375"/>
                      </a:lnTo>
                      <a:lnTo>
                        <a:pt x="648" y="375"/>
                      </a:lnTo>
                      <a:lnTo>
                        <a:pt x="651" y="382"/>
                      </a:lnTo>
                      <a:lnTo>
                        <a:pt x="653" y="388"/>
                      </a:lnTo>
                      <a:lnTo>
                        <a:pt x="653" y="388"/>
                      </a:lnTo>
                      <a:lnTo>
                        <a:pt x="655" y="392"/>
                      </a:lnTo>
                      <a:lnTo>
                        <a:pt x="657" y="397"/>
                      </a:lnTo>
                      <a:lnTo>
                        <a:pt x="657" y="399"/>
                      </a:lnTo>
                      <a:lnTo>
                        <a:pt x="662" y="397"/>
                      </a:lnTo>
                      <a:lnTo>
                        <a:pt x="666" y="397"/>
                      </a:lnTo>
                      <a:lnTo>
                        <a:pt x="672" y="395"/>
                      </a:lnTo>
                      <a:lnTo>
                        <a:pt x="674" y="395"/>
                      </a:lnTo>
                      <a:lnTo>
                        <a:pt x="674" y="397"/>
                      </a:lnTo>
                      <a:lnTo>
                        <a:pt x="674" y="397"/>
                      </a:lnTo>
                      <a:lnTo>
                        <a:pt x="674" y="399"/>
                      </a:lnTo>
                      <a:lnTo>
                        <a:pt x="674" y="399"/>
                      </a:lnTo>
                      <a:lnTo>
                        <a:pt x="672" y="403"/>
                      </a:lnTo>
                      <a:lnTo>
                        <a:pt x="670" y="406"/>
                      </a:lnTo>
                      <a:lnTo>
                        <a:pt x="670" y="406"/>
                      </a:lnTo>
                      <a:lnTo>
                        <a:pt x="683" y="410"/>
                      </a:lnTo>
                      <a:lnTo>
                        <a:pt x="692" y="414"/>
                      </a:lnTo>
                      <a:lnTo>
                        <a:pt x="696" y="414"/>
                      </a:lnTo>
                      <a:lnTo>
                        <a:pt x="698" y="416"/>
                      </a:lnTo>
                      <a:lnTo>
                        <a:pt x="701" y="418"/>
                      </a:lnTo>
                      <a:lnTo>
                        <a:pt x="703" y="419"/>
                      </a:lnTo>
                      <a:lnTo>
                        <a:pt x="707" y="421"/>
                      </a:lnTo>
                      <a:lnTo>
                        <a:pt x="709" y="425"/>
                      </a:lnTo>
                      <a:lnTo>
                        <a:pt x="710" y="427"/>
                      </a:lnTo>
                      <a:lnTo>
                        <a:pt x="714" y="430"/>
                      </a:lnTo>
                      <a:lnTo>
                        <a:pt x="718" y="438"/>
                      </a:lnTo>
                      <a:lnTo>
                        <a:pt x="725" y="449"/>
                      </a:lnTo>
                      <a:lnTo>
                        <a:pt x="731" y="449"/>
                      </a:lnTo>
                      <a:lnTo>
                        <a:pt x="736" y="449"/>
                      </a:lnTo>
                      <a:lnTo>
                        <a:pt x="736" y="458"/>
                      </a:lnTo>
                      <a:lnTo>
                        <a:pt x="736" y="467"/>
                      </a:lnTo>
                      <a:lnTo>
                        <a:pt x="736" y="477"/>
                      </a:lnTo>
                      <a:lnTo>
                        <a:pt x="736" y="486"/>
                      </a:lnTo>
                      <a:lnTo>
                        <a:pt x="736" y="488"/>
                      </a:lnTo>
                      <a:lnTo>
                        <a:pt x="736" y="490"/>
                      </a:lnTo>
                      <a:lnTo>
                        <a:pt x="736" y="490"/>
                      </a:lnTo>
                      <a:lnTo>
                        <a:pt x="734" y="490"/>
                      </a:lnTo>
                      <a:lnTo>
                        <a:pt x="733" y="491"/>
                      </a:lnTo>
                      <a:lnTo>
                        <a:pt x="725" y="491"/>
                      </a:lnTo>
                      <a:lnTo>
                        <a:pt x="725" y="491"/>
                      </a:lnTo>
                      <a:lnTo>
                        <a:pt x="723" y="501"/>
                      </a:lnTo>
                      <a:lnTo>
                        <a:pt x="722" y="510"/>
                      </a:lnTo>
                      <a:lnTo>
                        <a:pt x="720" y="519"/>
                      </a:lnTo>
                      <a:lnTo>
                        <a:pt x="720" y="528"/>
                      </a:lnTo>
                      <a:lnTo>
                        <a:pt x="709" y="530"/>
                      </a:lnTo>
                      <a:lnTo>
                        <a:pt x="699" y="530"/>
                      </a:lnTo>
                      <a:lnTo>
                        <a:pt x="690" y="528"/>
                      </a:lnTo>
                      <a:lnTo>
                        <a:pt x="683" y="528"/>
                      </a:lnTo>
                      <a:lnTo>
                        <a:pt x="675" y="526"/>
                      </a:lnTo>
                      <a:lnTo>
                        <a:pt x="666" y="525"/>
                      </a:lnTo>
                      <a:lnTo>
                        <a:pt x="657" y="521"/>
                      </a:lnTo>
                      <a:lnTo>
                        <a:pt x="646" y="515"/>
                      </a:lnTo>
                      <a:lnTo>
                        <a:pt x="642" y="517"/>
                      </a:lnTo>
                      <a:lnTo>
                        <a:pt x="637" y="519"/>
                      </a:lnTo>
                      <a:lnTo>
                        <a:pt x="633" y="521"/>
                      </a:lnTo>
                      <a:lnTo>
                        <a:pt x="627" y="521"/>
                      </a:lnTo>
                      <a:lnTo>
                        <a:pt x="622" y="523"/>
                      </a:lnTo>
                      <a:lnTo>
                        <a:pt x="613" y="523"/>
                      </a:lnTo>
                      <a:lnTo>
                        <a:pt x="600" y="525"/>
                      </a:lnTo>
                      <a:lnTo>
                        <a:pt x="583" y="525"/>
                      </a:lnTo>
                      <a:lnTo>
                        <a:pt x="583" y="530"/>
                      </a:lnTo>
                      <a:lnTo>
                        <a:pt x="583" y="536"/>
                      </a:lnTo>
                      <a:lnTo>
                        <a:pt x="572" y="534"/>
                      </a:lnTo>
                      <a:lnTo>
                        <a:pt x="561" y="532"/>
                      </a:lnTo>
                      <a:lnTo>
                        <a:pt x="550" y="532"/>
                      </a:lnTo>
                      <a:lnTo>
                        <a:pt x="541" y="530"/>
                      </a:lnTo>
                      <a:lnTo>
                        <a:pt x="537" y="523"/>
                      </a:lnTo>
                      <a:lnTo>
                        <a:pt x="535" y="514"/>
                      </a:lnTo>
                      <a:lnTo>
                        <a:pt x="531" y="506"/>
                      </a:lnTo>
                      <a:lnTo>
                        <a:pt x="530" y="497"/>
                      </a:lnTo>
                      <a:lnTo>
                        <a:pt x="524" y="497"/>
                      </a:lnTo>
                      <a:lnTo>
                        <a:pt x="517" y="495"/>
                      </a:lnTo>
                      <a:lnTo>
                        <a:pt x="511" y="493"/>
                      </a:lnTo>
                      <a:lnTo>
                        <a:pt x="511" y="493"/>
                      </a:lnTo>
                      <a:lnTo>
                        <a:pt x="507" y="491"/>
                      </a:lnTo>
                      <a:lnTo>
                        <a:pt x="506" y="490"/>
                      </a:lnTo>
                      <a:lnTo>
                        <a:pt x="506" y="490"/>
                      </a:lnTo>
                      <a:lnTo>
                        <a:pt x="506" y="486"/>
                      </a:lnTo>
                      <a:lnTo>
                        <a:pt x="502" y="480"/>
                      </a:lnTo>
                      <a:lnTo>
                        <a:pt x="500" y="477"/>
                      </a:lnTo>
                      <a:lnTo>
                        <a:pt x="500" y="477"/>
                      </a:lnTo>
                      <a:lnTo>
                        <a:pt x="495" y="466"/>
                      </a:lnTo>
                      <a:lnTo>
                        <a:pt x="487" y="454"/>
                      </a:lnTo>
                      <a:lnTo>
                        <a:pt x="480" y="443"/>
                      </a:lnTo>
                      <a:lnTo>
                        <a:pt x="472" y="434"/>
                      </a:lnTo>
                      <a:lnTo>
                        <a:pt x="469" y="432"/>
                      </a:lnTo>
                      <a:lnTo>
                        <a:pt x="467" y="429"/>
                      </a:lnTo>
                      <a:lnTo>
                        <a:pt x="467" y="429"/>
                      </a:lnTo>
                      <a:lnTo>
                        <a:pt x="465" y="427"/>
                      </a:lnTo>
                      <a:lnTo>
                        <a:pt x="465" y="427"/>
                      </a:lnTo>
                      <a:lnTo>
                        <a:pt x="463" y="427"/>
                      </a:lnTo>
                      <a:lnTo>
                        <a:pt x="461" y="427"/>
                      </a:lnTo>
                      <a:lnTo>
                        <a:pt x="461" y="430"/>
                      </a:lnTo>
                      <a:lnTo>
                        <a:pt x="461" y="434"/>
                      </a:lnTo>
                      <a:lnTo>
                        <a:pt x="461" y="436"/>
                      </a:lnTo>
                      <a:lnTo>
                        <a:pt x="461" y="436"/>
                      </a:lnTo>
                      <a:lnTo>
                        <a:pt x="459" y="438"/>
                      </a:lnTo>
                      <a:lnTo>
                        <a:pt x="459" y="438"/>
                      </a:lnTo>
                      <a:lnTo>
                        <a:pt x="458" y="438"/>
                      </a:lnTo>
                      <a:lnTo>
                        <a:pt x="458" y="438"/>
                      </a:lnTo>
                      <a:lnTo>
                        <a:pt x="456" y="434"/>
                      </a:lnTo>
                      <a:lnTo>
                        <a:pt x="454" y="429"/>
                      </a:lnTo>
                      <a:lnTo>
                        <a:pt x="454" y="429"/>
                      </a:lnTo>
                      <a:lnTo>
                        <a:pt x="452" y="425"/>
                      </a:lnTo>
                      <a:lnTo>
                        <a:pt x="452" y="425"/>
                      </a:lnTo>
                      <a:lnTo>
                        <a:pt x="450" y="421"/>
                      </a:lnTo>
                      <a:lnTo>
                        <a:pt x="445" y="412"/>
                      </a:lnTo>
                      <a:lnTo>
                        <a:pt x="439" y="405"/>
                      </a:lnTo>
                      <a:lnTo>
                        <a:pt x="434" y="397"/>
                      </a:lnTo>
                      <a:lnTo>
                        <a:pt x="428" y="390"/>
                      </a:lnTo>
                      <a:lnTo>
                        <a:pt x="426" y="386"/>
                      </a:lnTo>
                      <a:lnTo>
                        <a:pt x="423" y="381"/>
                      </a:lnTo>
                      <a:lnTo>
                        <a:pt x="421" y="377"/>
                      </a:lnTo>
                      <a:lnTo>
                        <a:pt x="419" y="373"/>
                      </a:lnTo>
                      <a:lnTo>
                        <a:pt x="419" y="371"/>
                      </a:lnTo>
                      <a:lnTo>
                        <a:pt x="413" y="371"/>
                      </a:lnTo>
                      <a:lnTo>
                        <a:pt x="408" y="373"/>
                      </a:lnTo>
                      <a:lnTo>
                        <a:pt x="408" y="368"/>
                      </a:lnTo>
                      <a:lnTo>
                        <a:pt x="408" y="362"/>
                      </a:lnTo>
                      <a:lnTo>
                        <a:pt x="408" y="362"/>
                      </a:lnTo>
                      <a:lnTo>
                        <a:pt x="400" y="358"/>
                      </a:lnTo>
                      <a:lnTo>
                        <a:pt x="393" y="357"/>
                      </a:lnTo>
                      <a:lnTo>
                        <a:pt x="387" y="353"/>
                      </a:lnTo>
                      <a:lnTo>
                        <a:pt x="380" y="351"/>
                      </a:lnTo>
                      <a:lnTo>
                        <a:pt x="380" y="347"/>
                      </a:lnTo>
                      <a:lnTo>
                        <a:pt x="378" y="344"/>
                      </a:lnTo>
                      <a:lnTo>
                        <a:pt x="378" y="338"/>
                      </a:lnTo>
                      <a:lnTo>
                        <a:pt x="376" y="335"/>
                      </a:lnTo>
                      <a:lnTo>
                        <a:pt x="376" y="333"/>
                      </a:lnTo>
                      <a:lnTo>
                        <a:pt x="373" y="336"/>
                      </a:lnTo>
                      <a:lnTo>
                        <a:pt x="371" y="340"/>
                      </a:lnTo>
                      <a:lnTo>
                        <a:pt x="369" y="336"/>
                      </a:lnTo>
                      <a:lnTo>
                        <a:pt x="365" y="335"/>
                      </a:lnTo>
                      <a:lnTo>
                        <a:pt x="365" y="335"/>
                      </a:lnTo>
                      <a:lnTo>
                        <a:pt x="362" y="336"/>
                      </a:lnTo>
                      <a:lnTo>
                        <a:pt x="362" y="336"/>
                      </a:lnTo>
                      <a:lnTo>
                        <a:pt x="360" y="340"/>
                      </a:lnTo>
                      <a:lnTo>
                        <a:pt x="360" y="338"/>
                      </a:lnTo>
                      <a:lnTo>
                        <a:pt x="358" y="335"/>
                      </a:lnTo>
                      <a:lnTo>
                        <a:pt x="356" y="331"/>
                      </a:lnTo>
                      <a:lnTo>
                        <a:pt x="354" y="329"/>
                      </a:lnTo>
                      <a:lnTo>
                        <a:pt x="354" y="327"/>
                      </a:lnTo>
                      <a:lnTo>
                        <a:pt x="345" y="327"/>
                      </a:lnTo>
                      <a:lnTo>
                        <a:pt x="336" y="325"/>
                      </a:lnTo>
                      <a:lnTo>
                        <a:pt x="328" y="325"/>
                      </a:lnTo>
                      <a:lnTo>
                        <a:pt x="319" y="323"/>
                      </a:lnTo>
                      <a:lnTo>
                        <a:pt x="319" y="323"/>
                      </a:lnTo>
                      <a:lnTo>
                        <a:pt x="317" y="329"/>
                      </a:lnTo>
                      <a:lnTo>
                        <a:pt x="316" y="333"/>
                      </a:lnTo>
                      <a:lnTo>
                        <a:pt x="316" y="333"/>
                      </a:lnTo>
                      <a:lnTo>
                        <a:pt x="316" y="335"/>
                      </a:lnTo>
                      <a:lnTo>
                        <a:pt x="316" y="335"/>
                      </a:lnTo>
                      <a:lnTo>
                        <a:pt x="314" y="338"/>
                      </a:lnTo>
                      <a:lnTo>
                        <a:pt x="299" y="335"/>
                      </a:lnTo>
                      <a:lnTo>
                        <a:pt x="286" y="333"/>
                      </a:lnTo>
                      <a:lnTo>
                        <a:pt x="277" y="331"/>
                      </a:lnTo>
                      <a:lnTo>
                        <a:pt x="269" y="329"/>
                      </a:lnTo>
                      <a:lnTo>
                        <a:pt x="264" y="327"/>
                      </a:lnTo>
                      <a:lnTo>
                        <a:pt x="264" y="327"/>
                      </a:lnTo>
                      <a:lnTo>
                        <a:pt x="258" y="327"/>
                      </a:lnTo>
                      <a:lnTo>
                        <a:pt x="255" y="327"/>
                      </a:lnTo>
                      <a:lnTo>
                        <a:pt x="247" y="327"/>
                      </a:lnTo>
                      <a:lnTo>
                        <a:pt x="247" y="327"/>
                      </a:lnTo>
                      <a:lnTo>
                        <a:pt x="240" y="331"/>
                      </a:lnTo>
                      <a:lnTo>
                        <a:pt x="232" y="335"/>
                      </a:lnTo>
                      <a:lnTo>
                        <a:pt x="225" y="340"/>
                      </a:lnTo>
                      <a:lnTo>
                        <a:pt x="218" y="342"/>
                      </a:lnTo>
                      <a:lnTo>
                        <a:pt x="212" y="346"/>
                      </a:lnTo>
                      <a:lnTo>
                        <a:pt x="205" y="349"/>
                      </a:lnTo>
                      <a:lnTo>
                        <a:pt x="196" y="351"/>
                      </a:lnTo>
                      <a:lnTo>
                        <a:pt x="188" y="351"/>
                      </a:lnTo>
                      <a:lnTo>
                        <a:pt x="183" y="351"/>
                      </a:lnTo>
                      <a:lnTo>
                        <a:pt x="179" y="351"/>
                      </a:lnTo>
                      <a:lnTo>
                        <a:pt x="175" y="351"/>
                      </a:lnTo>
                      <a:lnTo>
                        <a:pt x="172" y="351"/>
                      </a:lnTo>
                      <a:lnTo>
                        <a:pt x="170" y="346"/>
                      </a:lnTo>
                      <a:lnTo>
                        <a:pt x="170" y="338"/>
                      </a:lnTo>
                      <a:lnTo>
                        <a:pt x="168" y="333"/>
                      </a:lnTo>
                      <a:lnTo>
                        <a:pt x="166" y="325"/>
                      </a:lnTo>
                      <a:lnTo>
                        <a:pt x="166" y="325"/>
                      </a:lnTo>
                      <a:lnTo>
                        <a:pt x="160" y="325"/>
                      </a:lnTo>
                      <a:lnTo>
                        <a:pt x="157" y="325"/>
                      </a:lnTo>
                      <a:lnTo>
                        <a:pt x="153" y="325"/>
                      </a:lnTo>
                      <a:lnTo>
                        <a:pt x="149" y="325"/>
                      </a:lnTo>
                      <a:lnTo>
                        <a:pt x="149" y="314"/>
                      </a:lnTo>
                      <a:lnTo>
                        <a:pt x="149" y="303"/>
                      </a:lnTo>
                      <a:lnTo>
                        <a:pt x="148" y="294"/>
                      </a:lnTo>
                      <a:lnTo>
                        <a:pt x="148" y="285"/>
                      </a:lnTo>
                      <a:lnTo>
                        <a:pt x="149" y="285"/>
                      </a:lnTo>
                      <a:lnTo>
                        <a:pt x="153" y="287"/>
                      </a:lnTo>
                      <a:lnTo>
                        <a:pt x="157" y="287"/>
                      </a:lnTo>
                      <a:lnTo>
                        <a:pt x="160" y="288"/>
                      </a:lnTo>
                      <a:lnTo>
                        <a:pt x="160" y="288"/>
                      </a:lnTo>
                      <a:lnTo>
                        <a:pt x="160" y="283"/>
                      </a:lnTo>
                      <a:lnTo>
                        <a:pt x="160" y="275"/>
                      </a:lnTo>
                      <a:lnTo>
                        <a:pt x="160" y="275"/>
                      </a:lnTo>
                      <a:lnTo>
                        <a:pt x="155" y="272"/>
                      </a:lnTo>
                      <a:lnTo>
                        <a:pt x="149" y="268"/>
                      </a:lnTo>
                      <a:lnTo>
                        <a:pt x="144" y="266"/>
                      </a:lnTo>
                      <a:lnTo>
                        <a:pt x="138" y="263"/>
                      </a:lnTo>
                      <a:lnTo>
                        <a:pt x="138" y="255"/>
                      </a:lnTo>
                      <a:lnTo>
                        <a:pt x="138" y="255"/>
                      </a:lnTo>
                      <a:lnTo>
                        <a:pt x="136" y="248"/>
                      </a:lnTo>
                      <a:lnTo>
                        <a:pt x="136" y="240"/>
                      </a:lnTo>
                      <a:lnTo>
                        <a:pt x="135" y="233"/>
                      </a:lnTo>
                      <a:lnTo>
                        <a:pt x="133" y="226"/>
                      </a:lnTo>
                      <a:lnTo>
                        <a:pt x="133" y="226"/>
                      </a:lnTo>
                      <a:lnTo>
                        <a:pt x="131" y="220"/>
                      </a:lnTo>
                      <a:lnTo>
                        <a:pt x="127" y="213"/>
                      </a:lnTo>
                      <a:lnTo>
                        <a:pt x="124" y="205"/>
                      </a:lnTo>
                      <a:lnTo>
                        <a:pt x="120" y="203"/>
                      </a:lnTo>
                      <a:lnTo>
                        <a:pt x="116" y="203"/>
                      </a:lnTo>
                      <a:lnTo>
                        <a:pt x="112" y="203"/>
                      </a:lnTo>
                      <a:lnTo>
                        <a:pt x="109" y="203"/>
                      </a:lnTo>
                      <a:lnTo>
                        <a:pt x="109" y="203"/>
                      </a:lnTo>
                      <a:lnTo>
                        <a:pt x="105" y="207"/>
                      </a:lnTo>
                      <a:lnTo>
                        <a:pt x="101" y="209"/>
                      </a:lnTo>
                      <a:lnTo>
                        <a:pt x="100" y="203"/>
                      </a:lnTo>
                      <a:lnTo>
                        <a:pt x="96" y="196"/>
                      </a:lnTo>
                      <a:lnTo>
                        <a:pt x="92" y="189"/>
                      </a:lnTo>
                      <a:lnTo>
                        <a:pt x="90" y="181"/>
                      </a:lnTo>
                      <a:lnTo>
                        <a:pt x="83" y="181"/>
                      </a:lnTo>
                      <a:lnTo>
                        <a:pt x="79" y="181"/>
                      </a:lnTo>
                      <a:lnTo>
                        <a:pt x="79" y="181"/>
                      </a:lnTo>
                      <a:lnTo>
                        <a:pt x="76" y="181"/>
                      </a:lnTo>
                      <a:lnTo>
                        <a:pt x="76" y="181"/>
                      </a:lnTo>
                      <a:lnTo>
                        <a:pt x="72" y="181"/>
                      </a:lnTo>
                      <a:lnTo>
                        <a:pt x="72" y="181"/>
                      </a:lnTo>
                      <a:lnTo>
                        <a:pt x="68" y="183"/>
                      </a:lnTo>
                      <a:lnTo>
                        <a:pt x="65" y="183"/>
                      </a:lnTo>
                      <a:lnTo>
                        <a:pt x="65" y="183"/>
                      </a:lnTo>
                      <a:lnTo>
                        <a:pt x="61" y="187"/>
                      </a:lnTo>
                      <a:lnTo>
                        <a:pt x="55" y="189"/>
                      </a:lnTo>
                      <a:lnTo>
                        <a:pt x="55" y="189"/>
                      </a:lnTo>
                      <a:lnTo>
                        <a:pt x="55" y="194"/>
                      </a:lnTo>
                      <a:lnTo>
                        <a:pt x="55" y="200"/>
                      </a:lnTo>
                      <a:lnTo>
                        <a:pt x="48" y="198"/>
                      </a:lnTo>
                      <a:lnTo>
                        <a:pt x="42" y="196"/>
                      </a:lnTo>
                      <a:lnTo>
                        <a:pt x="35" y="196"/>
                      </a:lnTo>
                      <a:lnTo>
                        <a:pt x="29" y="194"/>
                      </a:lnTo>
                      <a:lnTo>
                        <a:pt x="29" y="191"/>
                      </a:lnTo>
                      <a:lnTo>
                        <a:pt x="29" y="187"/>
                      </a:lnTo>
                      <a:lnTo>
                        <a:pt x="29" y="183"/>
                      </a:lnTo>
                      <a:lnTo>
                        <a:pt x="29" y="179"/>
                      </a:lnTo>
                      <a:lnTo>
                        <a:pt x="31" y="178"/>
                      </a:lnTo>
                      <a:lnTo>
                        <a:pt x="33" y="178"/>
                      </a:lnTo>
                      <a:lnTo>
                        <a:pt x="37" y="176"/>
                      </a:lnTo>
                      <a:lnTo>
                        <a:pt x="41" y="176"/>
                      </a:lnTo>
                      <a:lnTo>
                        <a:pt x="41" y="176"/>
                      </a:lnTo>
                      <a:lnTo>
                        <a:pt x="41" y="172"/>
                      </a:lnTo>
                      <a:lnTo>
                        <a:pt x="42" y="168"/>
                      </a:lnTo>
                      <a:lnTo>
                        <a:pt x="44" y="165"/>
                      </a:lnTo>
                      <a:lnTo>
                        <a:pt x="44" y="163"/>
                      </a:lnTo>
                      <a:lnTo>
                        <a:pt x="44" y="161"/>
                      </a:lnTo>
                      <a:lnTo>
                        <a:pt x="35" y="161"/>
                      </a:lnTo>
                      <a:lnTo>
                        <a:pt x="26" y="159"/>
                      </a:lnTo>
                      <a:lnTo>
                        <a:pt x="15" y="157"/>
                      </a:lnTo>
                      <a:lnTo>
                        <a:pt x="5" y="157"/>
                      </a:lnTo>
                      <a:lnTo>
                        <a:pt x="5" y="148"/>
                      </a:lnTo>
                      <a:lnTo>
                        <a:pt x="4" y="148"/>
                      </a:lnTo>
                      <a:lnTo>
                        <a:pt x="5" y="148"/>
                      </a:lnTo>
                      <a:lnTo>
                        <a:pt x="4" y="148"/>
                      </a:lnTo>
                      <a:lnTo>
                        <a:pt x="5" y="148"/>
                      </a:lnTo>
                      <a:lnTo>
                        <a:pt x="4" y="141"/>
                      </a:lnTo>
                      <a:lnTo>
                        <a:pt x="2" y="132"/>
                      </a:lnTo>
                      <a:lnTo>
                        <a:pt x="2" y="124"/>
                      </a:lnTo>
                      <a:lnTo>
                        <a:pt x="0" y="126"/>
                      </a:lnTo>
                      <a:lnTo>
                        <a:pt x="0" y="126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2" y="133"/>
                      </a:lnTo>
                      <a:lnTo>
                        <a:pt x="2" y="141"/>
                      </a:lnTo>
                      <a:lnTo>
                        <a:pt x="4" y="148"/>
                      </a:lnTo>
                      <a:lnTo>
                        <a:pt x="4" y="148"/>
                      </a:lnTo>
                      <a:lnTo>
                        <a:pt x="5" y="157"/>
                      </a:lnTo>
                      <a:lnTo>
                        <a:pt x="15" y="159"/>
                      </a:lnTo>
                      <a:lnTo>
                        <a:pt x="24" y="161"/>
                      </a:lnTo>
                      <a:lnTo>
                        <a:pt x="35" y="161"/>
                      </a:lnTo>
                      <a:lnTo>
                        <a:pt x="42" y="163"/>
                      </a:lnTo>
                      <a:lnTo>
                        <a:pt x="42" y="165"/>
                      </a:lnTo>
                      <a:lnTo>
                        <a:pt x="41" y="168"/>
                      </a:lnTo>
                      <a:lnTo>
                        <a:pt x="41" y="170"/>
                      </a:lnTo>
                      <a:lnTo>
                        <a:pt x="41" y="170"/>
                      </a:lnTo>
                      <a:lnTo>
                        <a:pt x="39" y="174"/>
                      </a:lnTo>
                      <a:lnTo>
                        <a:pt x="37" y="174"/>
                      </a:lnTo>
                      <a:lnTo>
                        <a:pt x="37" y="174"/>
                      </a:lnTo>
                      <a:lnTo>
                        <a:pt x="33" y="176"/>
                      </a:lnTo>
                      <a:lnTo>
                        <a:pt x="31" y="176"/>
                      </a:lnTo>
                      <a:lnTo>
                        <a:pt x="28" y="178"/>
                      </a:lnTo>
                      <a:lnTo>
                        <a:pt x="28" y="178"/>
                      </a:lnTo>
                      <a:lnTo>
                        <a:pt x="28" y="183"/>
                      </a:lnTo>
                      <a:lnTo>
                        <a:pt x="28" y="187"/>
                      </a:lnTo>
                      <a:lnTo>
                        <a:pt x="28" y="191"/>
                      </a:lnTo>
                      <a:lnTo>
                        <a:pt x="28" y="196"/>
                      </a:lnTo>
                      <a:lnTo>
                        <a:pt x="28" y="196"/>
                      </a:lnTo>
                      <a:lnTo>
                        <a:pt x="35" y="198"/>
                      </a:lnTo>
                      <a:lnTo>
                        <a:pt x="41" y="198"/>
                      </a:lnTo>
                      <a:lnTo>
                        <a:pt x="48" y="200"/>
                      </a:lnTo>
                      <a:lnTo>
                        <a:pt x="55" y="202"/>
                      </a:lnTo>
                      <a:lnTo>
                        <a:pt x="55" y="202"/>
                      </a:lnTo>
                      <a:lnTo>
                        <a:pt x="55" y="194"/>
                      </a:lnTo>
                      <a:lnTo>
                        <a:pt x="55" y="191"/>
                      </a:lnTo>
                      <a:lnTo>
                        <a:pt x="61" y="187"/>
                      </a:lnTo>
                      <a:lnTo>
                        <a:pt x="65" y="185"/>
                      </a:lnTo>
                      <a:lnTo>
                        <a:pt x="68" y="183"/>
                      </a:lnTo>
                      <a:lnTo>
                        <a:pt x="72" y="183"/>
                      </a:lnTo>
                      <a:lnTo>
                        <a:pt x="76" y="183"/>
                      </a:lnTo>
                      <a:lnTo>
                        <a:pt x="79" y="183"/>
                      </a:lnTo>
                      <a:lnTo>
                        <a:pt x="83" y="183"/>
                      </a:lnTo>
                      <a:lnTo>
                        <a:pt x="89" y="183"/>
                      </a:lnTo>
                      <a:lnTo>
                        <a:pt x="92" y="191"/>
                      </a:lnTo>
                      <a:lnTo>
                        <a:pt x="92" y="191"/>
                      </a:lnTo>
                      <a:lnTo>
                        <a:pt x="94" y="196"/>
                      </a:lnTo>
                      <a:lnTo>
                        <a:pt x="94" y="196"/>
                      </a:lnTo>
                      <a:lnTo>
                        <a:pt x="98" y="203"/>
                      </a:lnTo>
                      <a:lnTo>
                        <a:pt x="101" y="213"/>
                      </a:lnTo>
                      <a:lnTo>
                        <a:pt x="105" y="207"/>
                      </a:lnTo>
                      <a:lnTo>
                        <a:pt x="109" y="205"/>
                      </a:lnTo>
                      <a:lnTo>
                        <a:pt x="112" y="205"/>
                      </a:lnTo>
                      <a:lnTo>
                        <a:pt x="116" y="205"/>
                      </a:lnTo>
                      <a:lnTo>
                        <a:pt x="120" y="205"/>
                      </a:lnTo>
                      <a:lnTo>
                        <a:pt x="124" y="205"/>
                      </a:lnTo>
                      <a:lnTo>
                        <a:pt x="127" y="213"/>
                      </a:lnTo>
                      <a:lnTo>
                        <a:pt x="129" y="220"/>
                      </a:lnTo>
                      <a:lnTo>
                        <a:pt x="131" y="227"/>
                      </a:lnTo>
                      <a:lnTo>
                        <a:pt x="133" y="233"/>
                      </a:lnTo>
                      <a:lnTo>
                        <a:pt x="135" y="240"/>
                      </a:lnTo>
                      <a:lnTo>
                        <a:pt x="136" y="248"/>
                      </a:lnTo>
                      <a:lnTo>
                        <a:pt x="136" y="255"/>
                      </a:lnTo>
                      <a:lnTo>
                        <a:pt x="136" y="263"/>
                      </a:lnTo>
                      <a:lnTo>
                        <a:pt x="136" y="263"/>
                      </a:lnTo>
                      <a:lnTo>
                        <a:pt x="144" y="266"/>
                      </a:lnTo>
                      <a:lnTo>
                        <a:pt x="148" y="270"/>
                      </a:lnTo>
                      <a:lnTo>
                        <a:pt x="153" y="274"/>
                      </a:lnTo>
                      <a:lnTo>
                        <a:pt x="159" y="277"/>
                      </a:lnTo>
                      <a:lnTo>
                        <a:pt x="159" y="283"/>
                      </a:lnTo>
                      <a:lnTo>
                        <a:pt x="159" y="287"/>
                      </a:lnTo>
                      <a:lnTo>
                        <a:pt x="157" y="285"/>
                      </a:lnTo>
                      <a:lnTo>
                        <a:pt x="153" y="285"/>
                      </a:lnTo>
                      <a:lnTo>
                        <a:pt x="151" y="283"/>
                      </a:lnTo>
                      <a:lnTo>
                        <a:pt x="148" y="283"/>
                      </a:lnTo>
                      <a:lnTo>
                        <a:pt x="146" y="281"/>
                      </a:lnTo>
                      <a:lnTo>
                        <a:pt x="148" y="294"/>
                      </a:lnTo>
                      <a:lnTo>
                        <a:pt x="148" y="303"/>
                      </a:lnTo>
                      <a:lnTo>
                        <a:pt x="148" y="314"/>
                      </a:lnTo>
                      <a:lnTo>
                        <a:pt x="148" y="327"/>
                      </a:lnTo>
                      <a:lnTo>
                        <a:pt x="153" y="327"/>
                      </a:lnTo>
                      <a:lnTo>
                        <a:pt x="157" y="327"/>
                      </a:lnTo>
                      <a:lnTo>
                        <a:pt x="160" y="327"/>
                      </a:lnTo>
                      <a:lnTo>
                        <a:pt x="164" y="327"/>
                      </a:lnTo>
                      <a:lnTo>
                        <a:pt x="166" y="333"/>
                      </a:lnTo>
                      <a:lnTo>
                        <a:pt x="168" y="338"/>
                      </a:lnTo>
                      <a:lnTo>
                        <a:pt x="170" y="346"/>
                      </a:lnTo>
                      <a:lnTo>
                        <a:pt x="172" y="353"/>
                      </a:lnTo>
                      <a:lnTo>
                        <a:pt x="172" y="353"/>
                      </a:lnTo>
                      <a:lnTo>
                        <a:pt x="175" y="353"/>
                      </a:lnTo>
                      <a:lnTo>
                        <a:pt x="179" y="353"/>
                      </a:lnTo>
                      <a:lnTo>
                        <a:pt x="183" y="353"/>
                      </a:lnTo>
                      <a:lnTo>
                        <a:pt x="188" y="353"/>
                      </a:lnTo>
                      <a:lnTo>
                        <a:pt x="188" y="353"/>
                      </a:lnTo>
                      <a:lnTo>
                        <a:pt x="188" y="353"/>
                      </a:lnTo>
                      <a:lnTo>
                        <a:pt x="197" y="351"/>
                      </a:lnTo>
                      <a:lnTo>
                        <a:pt x="205" y="349"/>
                      </a:lnTo>
                      <a:lnTo>
                        <a:pt x="212" y="347"/>
                      </a:lnTo>
                      <a:lnTo>
                        <a:pt x="220" y="344"/>
                      </a:lnTo>
                      <a:lnTo>
                        <a:pt x="225" y="340"/>
                      </a:lnTo>
                      <a:lnTo>
                        <a:pt x="232" y="336"/>
                      </a:lnTo>
                      <a:lnTo>
                        <a:pt x="240" y="333"/>
                      </a:lnTo>
                      <a:lnTo>
                        <a:pt x="247" y="329"/>
                      </a:lnTo>
                      <a:lnTo>
                        <a:pt x="255" y="329"/>
                      </a:lnTo>
                      <a:lnTo>
                        <a:pt x="258" y="329"/>
                      </a:lnTo>
                      <a:lnTo>
                        <a:pt x="262" y="329"/>
                      </a:lnTo>
                      <a:lnTo>
                        <a:pt x="269" y="331"/>
                      </a:lnTo>
                      <a:lnTo>
                        <a:pt x="277" y="331"/>
                      </a:lnTo>
                      <a:lnTo>
                        <a:pt x="286" y="333"/>
                      </a:lnTo>
                      <a:lnTo>
                        <a:pt x="299" y="336"/>
                      </a:lnTo>
                      <a:lnTo>
                        <a:pt x="316" y="340"/>
                      </a:lnTo>
                      <a:lnTo>
                        <a:pt x="316" y="336"/>
                      </a:lnTo>
                      <a:lnTo>
                        <a:pt x="317" y="333"/>
                      </a:lnTo>
                      <a:lnTo>
                        <a:pt x="319" y="329"/>
                      </a:lnTo>
                      <a:lnTo>
                        <a:pt x="317" y="329"/>
                      </a:lnTo>
                      <a:lnTo>
                        <a:pt x="319" y="329"/>
                      </a:lnTo>
                      <a:lnTo>
                        <a:pt x="317" y="329"/>
                      </a:lnTo>
                      <a:lnTo>
                        <a:pt x="319" y="329"/>
                      </a:lnTo>
                      <a:lnTo>
                        <a:pt x="319" y="325"/>
                      </a:lnTo>
                      <a:lnTo>
                        <a:pt x="327" y="327"/>
                      </a:lnTo>
                      <a:lnTo>
                        <a:pt x="336" y="327"/>
                      </a:lnTo>
                      <a:lnTo>
                        <a:pt x="345" y="329"/>
                      </a:lnTo>
                      <a:lnTo>
                        <a:pt x="352" y="329"/>
                      </a:lnTo>
                      <a:lnTo>
                        <a:pt x="354" y="333"/>
                      </a:lnTo>
                      <a:lnTo>
                        <a:pt x="356" y="335"/>
                      </a:lnTo>
                      <a:lnTo>
                        <a:pt x="356" y="335"/>
                      </a:lnTo>
                      <a:lnTo>
                        <a:pt x="358" y="338"/>
                      </a:lnTo>
                      <a:lnTo>
                        <a:pt x="360" y="342"/>
                      </a:lnTo>
                      <a:lnTo>
                        <a:pt x="360" y="342"/>
                      </a:lnTo>
                      <a:lnTo>
                        <a:pt x="363" y="338"/>
                      </a:lnTo>
                      <a:lnTo>
                        <a:pt x="365" y="336"/>
                      </a:lnTo>
                      <a:lnTo>
                        <a:pt x="367" y="338"/>
                      </a:lnTo>
                      <a:lnTo>
                        <a:pt x="367" y="338"/>
                      </a:lnTo>
                      <a:lnTo>
                        <a:pt x="371" y="342"/>
                      </a:lnTo>
                      <a:lnTo>
                        <a:pt x="371" y="342"/>
                      </a:lnTo>
                      <a:lnTo>
                        <a:pt x="375" y="338"/>
                      </a:lnTo>
                      <a:lnTo>
                        <a:pt x="376" y="336"/>
                      </a:lnTo>
                      <a:lnTo>
                        <a:pt x="376" y="340"/>
                      </a:lnTo>
                      <a:lnTo>
                        <a:pt x="376" y="344"/>
                      </a:lnTo>
                      <a:lnTo>
                        <a:pt x="378" y="347"/>
                      </a:lnTo>
                      <a:lnTo>
                        <a:pt x="378" y="351"/>
                      </a:lnTo>
                      <a:lnTo>
                        <a:pt x="378" y="353"/>
                      </a:lnTo>
                      <a:lnTo>
                        <a:pt x="386" y="355"/>
                      </a:lnTo>
                      <a:lnTo>
                        <a:pt x="393" y="357"/>
                      </a:lnTo>
                      <a:lnTo>
                        <a:pt x="400" y="360"/>
                      </a:lnTo>
                      <a:lnTo>
                        <a:pt x="406" y="362"/>
                      </a:lnTo>
                      <a:lnTo>
                        <a:pt x="406" y="368"/>
                      </a:lnTo>
                      <a:lnTo>
                        <a:pt x="406" y="373"/>
                      </a:lnTo>
                      <a:lnTo>
                        <a:pt x="406" y="373"/>
                      </a:lnTo>
                      <a:lnTo>
                        <a:pt x="413" y="373"/>
                      </a:lnTo>
                      <a:lnTo>
                        <a:pt x="417" y="373"/>
                      </a:lnTo>
                      <a:lnTo>
                        <a:pt x="421" y="379"/>
                      </a:lnTo>
                      <a:lnTo>
                        <a:pt x="423" y="382"/>
                      </a:lnTo>
                      <a:lnTo>
                        <a:pt x="424" y="386"/>
                      </a:lnTo>
                      <a:lnTo>
                        <a:pt x="428" y="390"/>
                      </a:lnTo>
                      <a:lnTo>
                        <a:pt x="432" y="399"/>
                      </a:lnTo>
                      <a:lnTo>
                        <a:pt x="439" y="406"/>
                      </a:lnTo>
                      <a:lnTo>
                        <a:pt x="445" y="414"/>
                      </a:lnTo>
                      <a:lnTo>
                        <a:pt x="448" y="421"/>
                      </a:lnTo>
                      <a:lnTo>
                        <a:pt x="450" y="425"/>
                      </a:lnTo>
                      <a:lnTo>
                        <a:pt x="452" y="430"/>
                      </a:lnTo>
                      <a:lnTo>
                        <a:pt x="454" y="434"/>
                      </a:lnTo>
                      <a:lnTo>
                        <a:pt x="454" y="434"/>
                      </a:lnTo>
                      <a:lnTo>
                        <a:pt x="456" y="438"/>
                      </a:lnTo>
                      <a:lnTo>
                        <a:pt x="456" y="440"/>
                      </a:lnTo>
                      <a:lnTo>
                        <a:pt x="458" y="440"/>
                      </a:lnTo>
                      <a:lnTo>
                        <a:pt x="459" y="440"/>
                      </a:lnTo>
                      <a:lnTo>
                        <a:pt x="459" y="440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3" y="436"/>
                      </a:lnTo>
                      <a:lnTo>
                        <a:pt x="463" y="434"/>
                      </a:lnTo>
                      <a:lnTo>
                        <a:pt x="463" y="434"/>
                      </a:lnTo>
                      <a:lnTo>
                        <a:pt x="463" y="430"/>
                      </a:lnTo>
                      <a:lnTo>
                        <a:pt x="463" y="429"/>
                      </a:lnTo>
                      <a:lnTo>
                        <a:pt x="463" y="429"/>
                      </a:lnTo>
                      <a:lnTo>
                        <a:pt x="465" y="430"/>
                      </a:lnTo>
                      <a:lnTo>
                        <a:pt x="469" y="432"/>
                      </a:lnTo>
                      <a:lnTo>
                        <a:pt x="471" y="436"/>
                      </a:lnTo>
                      <a:lnTo>
                        <a:pt x="478" y="445"/>
                      </a:lnTo>
                      <a:lnTo>
                        <a:pt x="478" y="445"/>
                      </a:lnTo>
                      <a:lnTo>
                        <a:pt x="485" y="454"/>
                      </a:lnTo>
                      <a:lnTo>
                        <a:pt x="493" y="466"/>
                      </a:lnTo>
                      <a:lnTo>
                        <a:pt x="498" y="477"/>
                      </a:lnTo>
                      <a:lnTo>
                        <a:pt x="502" y="482"/>
                      </a:lnTo>
                      <a:lnTo>
                        <a:pt x="504" y="486"/>
                      </a:lnTo>
                      <a:lnTo>
                        <a:pt x="506" y="490"/>
                      </a:lnTo>
                      <a:lnTo>
                        <a:pt x="506" y="493"/>
                      </a:lnTo>
                      <a:lnTo>
                        <a:pt x="506" y="493"/>
                      </a:lnTo>
                      <a:lnTo>
                        <a:pt x="511" y="495"/>
                      </a:lnTo>
                      <a:lnTo>
                        <a:pt x="517" y="497"/>
                      </a:lnTo>
                      <a:lnTo>
                        <a:pt x="522" y="497"/>
                      </a:lnTo>
                      <a:lnTo>
                        <a:pt x="528" y="499"/>
                      </a:lnTo>
                      <a:lnTo>
                        <a:pt x="530" y="506"/>
                      </a:lnTo>
                      <a:lnTo>
                        <a:pt x="533" y="515"/>
                      </a:lnTo>
                      <a:lnTo>
                        <a:pt x="535" y="523"/>
                      </a:lnTo>
                      <a:lnTo>
                        <a:pt x="539" y="532"/>
                      </a:lnTo>
                      <a:lnTo>
                        <a:pt x="550" y="532"/>
                      </a:lnTo>
                      <a:lnTo>
                        <a:pt x="561" y="534"/>
                      </a:lnTo>
                      <a:lnTo>
                        <a:pt x="572" y="536"/>
                      </a:lnTo>
                      <a:lnTo>
                        <a:pt x="583" y="537"/>
                      </a:lnTo>
                      <a:lnTo>
                        <a:pt x="583" y="530"/>
                      </a:lnTo>
                      <a:lnTo>
                        <a:pt x="583" y="526"/>
                      </a:lnTo>
                      <a:lnTo>
                        <a:pt x="600" y="525"/>
                      </a:lnTo>
                      <a:lnTo>
                        <a:pt x="613" y="525"/>
                      </a:lnTo>
                      <a:lnTo>
                        <a:pt x="622" y="523"/>
                      </a:lnTo>
                      <a:lnTo>
                        <a:pt x="627" y="523"/>
                      </a:lnTo>
                      <a:lnTo>
                        <a:pt x="633" y="523"/>
                      </a:lnTo>
                      <a:lnTo>
                        <a:pt x="633" y="523"/>
                      </a:lnTo>
                      <a:lnTo>
                        <a:pt x="638" y="521"/>
                      </a:lnTo>
                      <a:lnTo>
                        <a:pt x="638" y="521"/>
                      </a:lnTo>
                      <a:lnTo>
                        <a:pt x="642" y="519"/>
                      </a:lnTo>
                      <a:lnTo>
                        <a:pt x="646" y="517"/>
                      </a:lnTo>
                      <a:lnTo>
                        <a:pt x="657" y="521"/>
                      </a:lnTo>
                      <a:lnTo>
                        <a:pt x="666" y="525"/>
                      </a:lnTo>
                      <a:lnTo>
                        <a:pt x="674" y="528"/>
                      </a:lnTo>
                      <a:lnTo>
                        <a:pt x="683" y="530"/>
                      </a:lnTo>
                      <a:lnTo>
                        <a:pt x="690" y="530"/>
                      </a:lnTo>
                      <a:lnTo>
                        <a:pt x="699" y="530"/>
                      </a:lnTo>
                      <a:lnTo>
                        <a:pt x="709" y="530"/>
                      </a:lnTo>
                      <a:lnTo>
                        <a:pt x="722" y="530"/>
                      </a:lnTo>
                      <a:lnTo>
                        <a:pt x="722" y="521"/>
                      </a:lnTo>
                      <a:lnTo>
                        <a:pt x="723" y="510"/>
                      </a:lnTo>
                      <a:lnTo>
                        <a:pt x="725" y="501"/>
                      </a:lnTo>
                      <a:lnTo>
                        <a:pt x="727" y="493"/>
                      </a:lnTo>
                      <a:lnTo>
                        <a:pt x="733" y="491"/>
                      </a:lnTo>
                      <a:lnTo>
                        <a:pt x="733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0"/>
                      </a:lnTo>
                      <a:lnTo>
                        <a:pt x="736" y="490"/>
                      </a:lnTo>
                      <a:lnTo>
                        <a:pt x="738" y="488"/>
                      </a:lnTo>
                      <a:lnTo>
                        <a:pt x="738" y="488"/>
                      </a:lnTo>
                      <a:lnTo>
                        <a:pt x="738" y="486"/>
                      </a:lnTo>
                      <a:lnTo>
                        <a:pt x="738" y="477"/>
                      </a:lnTo>
                      <a:lnTo>
                        <a:pt x="738" y="467"/>
                      </a:lnTo>
                      <a:lnTo>
                        <a:pt x="738" y="458"/>
                      </a:lnTo>
                      <a:lnTo>
                        <a:pt x="738" y="449"/>
                      </a:lnTo>
                      <a:lnTo>
                        <a:pt x="738" y="447"/>
                      </a:lnTo>
                      <a:lnTo>
                        <a:pt x="731" y="447"/>
                      </a:lnTo>
                      <a:lnTo>
                        <a:pt x="725" y="447"/>
                      </a:lnTo>
                      <a:lnTo>
                        <a:pt x="720" y="438"/>
                      </a:lnTo>
                      <a:lnTo>
                        <a:pt x="714" y="429"/>
                      </a:lnTo>
                      <a:lnTo>
                        <a:pt x="712" y="427"/>
                      </a:lnTo>
                      <a:lnTo>
                        <a:pt x="710" y="423"/>
                      </a:lnTo>
                      <a:lnTo>
                        <a:pt x="707" y="421"/>
                      </a:lnTo>
                      <a:lnTo>
                        <a:pt x="707" y="421"/>
                      </a:lnTo>
                      <a:lnTo>
                        <a:pt x="705" y="419"/>
                      </a:lnTo>
                      <a:lnTo>
                        <a:pt x="701" y="416"/>
                      </a:lnTo>
                      <a:lnTo>
                        <a:pt x="701" y="416"/>
                      </a:lnTo>
                      <a:lnTo>
                        <a:pt x="699" y="414"/>
                      </a:lnTo>
                      <a:lnTo>
                        <a:pt x="699" y="414"/>
                      </a:lnTo>
                      <a:lnTo>
                        <a:pt x="696" y="414"/>
                      </a:lnTo>
                      <a:lnTo>
                        <a:pt x="692" y="412"/>
                      </a:lnTo>
                      <a:lnTo>
                        <a:pt x="692" y="412"/>
                      </a:lnTo>
                      <a:lnTo>
                        <a:pt x="683" y="408"/>
                      </a:lnTo>
                      <a:lnTo>
                        <a:pt x="672" y="405"/>
                      </a:lnTo>
                      <a:lnTo>
                        <a:pt x="674" y="403"/>
                      </a:lnTo>
                      <a:lnTo>
                        <a:pt x="674" y="403"/>
                      </a:lnTo>
                      <a:lnTo>
                        <a:pt x="674" y="399"/>
                      </a:lnTo>
                      <a:lnTo>
                        <a:pt x="675" y="397"/>
                      </a:lnTo>
                      <a:lnTo>
                        <a:pt x="677" y="394"/>
                      </a:lnTo>
                      <a:lnTo>
                        <a:pt x="677" y="394"/>
                      </a:lnTo>
                      <a:lnTo>
                        <a:pt x="672" y="394"/>
                      </a:lnTo>
                      <a:lnTo>
                        <a:pt x="666" y="395"/>
                      </a:lnTo>
                      <a:lnTo>
                        <a:pt x="662" y="395"/>
                      </a:lnTo>
                      <a:lnTo>
                        <a:pt x="659" y="397"/>
                      </a:lnTo>
                      <a:lnTo>
                        <a:pt x="657" y="392"/>
                      </a:lnTo>
                      <a:lnTo>
                        <a:pt x="653" y="386"/>
                      </a:lnTo>
                      <a:lnTo>
                        <a:pt x="651" y="381"/>
                      </a:lnTo>
                      <a:lnTo>
                        <a:pt x="650" y="377"/>
                      </a:lnTo>
                      <a:lnTo>
                        <a:pt x="655" y="375"/>
                      </a:lnTo>
                      <a:lnTo>
                        <a:pt x="659" y="373"/>
                      </a:lnTo>
                      <a:lnTo>
                        <a:pt x="661" y="373"/>
                      </a:lnTo>
                      <a:lnTo>
                        <a:pt x="661" y="364"/>
                      </a:lnTo>
                      <a:lnTo>
                        <a:pt x="661" y="355"/>
                      </a:lnTo>
                      <a:lnTo>
                        <a:pt x="661" y="346"/>
                      </a:lnTo>
                      <a:lnTo>
                        <a:pt x="661" y="346"/>
                      </a:lnTo>
                      <a:lnTo>
                        <a:pt x="661" y="338"/>
                      </a:lnTo>
                      <a:lnTo>
                        <a:pt x="661" y="335"/>
                      </a:lnTo>
                      <a:lnTo>
                        <a:pt x="661" y="331"/>
                      </a:lnTo>
                      <a:lnTo>
                        <a:pt x="661" y="327"/>
                      </a:lnTo>
                      <a:lnTo>
                        <a:pt x="661" y="322"/>
                      </a:lnTo>
                      <a:lnTo>
                        <a:pt x="659" y="323"/>
                      </a:lnTo>
                      <a:lnTo>
                        <a:pt x="661" y="322"/>
                      </a:lnTo>
                      <a:lnTo>
                        <a:pt x="659" y="323"/>
                      </a:lnTo>
                      <a:lnTo>
                        <a:pt x="661" y="322"/>
                      </a:lnTo>
                      <a:lnTo>
                        <a:pt x="659" y="318"/>
                      </a:lnTo>
                      <a:lnTo>
                        <a:pt x="659" y="318"/>
                      </a:lnTo>
                      <a:lnTo>
                        <a:pt x="657" y="314"/>
                      </a:lnTo>
                      <a:lnTo>
                        <a:pt x="655" y="311"/>
                      </a:lnTo>
                      <a:lnTo>
                        <a:pt x="655" y="311"/>
                      </a:lnTo>
                      <a:lnTo>
                        <a:pt x="655" y="307"/>
                      </a:lnTo>
                      <a:lnTo>
                        <a:pt x="659" y="305"/>
                      </a:lnTo>
                      <a:lnTo>
                        <a:pt x="662" y="303"/>
                      </a:lnTo>
                      <a:lnTo>
                        <a:pt x="662" y="303"/>
                      </a:lnTo>
                      <a:lnTo>
                        <a:pt x="668" y="301"/>
                      </a:lnTo>
                      <a:lnTo>
                        <a:pt x="672" y="298"/>
                      </a:lnTo>
                      <a:lnTo>
                        <a:pt x="672" y="298"/>
                      </a:lnTo>
                      <a:lnTo>
                        <a:pt x="675" y="294"/>
                      </a:lnTo>
                      <a:lnTo>
                        <a:pt x="675" y="294"/>
                      </a:lnTo>
                      <a:lnTo>
                        <a:pt x="677" y="290"/>
                      </a:lnTo>
                      <a:lnTo>
                        <a:pt x="679" y="285"/>
                      </a:lnTo>
                      <a:lnTo>
                        <a:pt x="683" y="281"/>
                      </a:lnTo>
                      <a:lnTo>
                        <a:pt x="683" y="281"/>
                      </a:lnTo>
                      <a:lnTo>
                        <a:pt x="686" y="270"/>
                      </a:lnTo>
                      <a:lnTo>
                        <a:pt x="690" y="261"/>
                      </a:lnTo>
                      <a:lnTo>
                        <a:pt x="694" y="250"/>
                      </a:lnTo>
                      <a:lnTo>
                        <a:pt x="698" y="242"/>
                      </a:lnTo>
                      <a:lnTo>
                        <a:pt x="701" y="240"/>
                      </a:lnTo>
                      <a:lnTo>
                        <a:pt x="701" y="240"/>
                      </a:lnTo>
                      <a:lnTo>
                        <a:pt x="705" y="240"/>
                      </a:lnTo>
                      <a:lnTo>
                        <a:pt x="705" y="240"/>
                      </a:lnTo>
                      <a:lnTo>
                        <a:pt x="707" y="239"/>
                      </a:lnTo>
                      <a:lnTo>
                        <a:pt x="710" y="237"/>
                      </a:lnTo>
                      <a:lnTo>
                        <a:pt x="710" y="237"/>
                      </a:lnTo>
                      <a:lnTo>
                        <a:pt x="712" y="235"/>
                      </a:lnTo>
                      <a:lnTo>
                        <a:pt x="712" y="235"/>
                      </a:lnTo>
                      <a:lnTo>
                        <a:pt x="714" y="231"/>
                      </a:lnTo>
                      <a:lnTo>
                        <a:pt x="714" y="227"/>
                      </a:lnTo>
                      <a:lnTo>
                        <a:pt x="716" y="226"/>
                      </a:lnTo>
                      <a:lnTo>
                        <a:pt x="718" y="224"/>
                      </a:lnTo>
                      <a:lnTo>
                        <a:pt x="712" y="222"/>
                      </a:lnTo>
                      <a:lnTo>
                        <a:pt x="709" y="222"/>
                      </a:lnTo>
                      <a:lnTo>
                        <a:pt x="709" y="222"/>
                      </a:lnTo>
                      <a:lnTo>
                        <a:pt x="707" y="220"/>
                      </a:lnTo>
                      <a:lnTo>
                        <a:pt x="703" y="218"/>
                      </a:lnTo>
                      <a:lnTo>
                        <a:pt x="701" y="215"/>
                      </a:lnTo>
                      <a:lnTo>
                        <a:pt x="699" y="209"/>
                      </a:lnTo>
                      <a:lnTo>
                        <a:pt x="699" y="203"/>
                      </a:lnTo>
                      <a:lnTo>
                        <a:pt x="698" y="198"/>
                      </a:lnTo>
                      <a:lnTo>
                        <a:pt x="705" y="198"/>
                      </a:lnTo>
                      <a:lnTo>
                        <a:pt x="714" y="196"/>
                      </a:lnTo>
                      <a:lnTo>
                        <a:pt x="722" y="196"/>
                      </a:lnTo>
                      <a:lnTo>
                        <a:pt x="729" y="196"/>
                      </a:lnTo>
                      <a:lnTo>
                        <a:pt x="738" y="194"/>
                      </a:lnTo>
                      <a:lnTo>
                        <a:pt x="746" y="194"/>
                      </a:lnTo>
                      <a:lnTo>
                        <a:pt x="755" y="192"/>
                      </a:lnTo>
                      <a:lnTo>
                        <a:pt x="762" y="192"/>
                      </a:lnTo>
                      <a:lnTo>
                        <a:pt x="764" y="192"/>
                      </a:lnTo>
                      <a:lnTo>
                        <a:pt x="762" y="183"/>
                      </a:lnTo>
                      <a:lnTo>
                        <a:pt x="760" y="176"/>
                      </a:lnTo>
                      <a:lnTo>
                        <a:pt x="758" y="167"/>
                      </a:lnTo>
                      <a:lnTo>
                        <a:pt x="758" y="159"/>
                      </a:lnTo>
                      <a:lnTo>
                        <a:pt x="757" y="159"/>
                      </a:lnTo>
                      <a:lnTo>
                        <a:pt x="751" y="159"/>
                      </a:lnTo>
                      <a:lnTo>
                        <a:pt x="747" y="159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2" y="132"/>
                      </a:lnTo>
                      <a:lnTo>
                        <a:pt x="738" y="119"/>
                      </a:lnTo>
                      <a:lnTo>
                        <a:pt x="736" y="104"/>
                      </a:lnTo>
                      <a:lnTo>
                        <a:pt x="729" y="104"/>
                      </a:lnTo>
                      <a:lnTo>
                        <a:pt x="725" y="104"/>
                      </a:lnTo>
                      <a:lnTo>
                        <a:pt x="725" y="100"/>
                      </a:lnTo>
                      <a:lnTo>
                        <a:pt x="725" y="95"/>
                      </a:lnTo>
                      <a:lnTo>
                        <a:pt x="725" y="93"/>
                      </a:lnTo>
                      <a:lnTo>
                        <a:pt x="720" y="93"/>
                      </a:lnTo>
                      <a:lnTo>
                        <a:pt x="716" y="93"/>
                      </a:lnTo>
                      <a:lnTo>
                        <a:pt x="712" y="93"/>
                      </a:lnTo>
                      <a:lnTo>
                        <a:pt x="709" y="93"/>
                      </a:lnTo>
                      <a:lnTo>
                        <a:pt x="707" y="93"/>
                      </a:lnTo>
                      <a:lnTo>
                        <a:pt x="705" y="102"/>
                      </a:lnTo>
                      <a:lnTo>
                        <a:pt x="703" y="108"/>
                      </a:lnTo>
                      <a:lnTo>
                        <a:pt x="703" y="111"/>
                      </a:lnTo>
                      <a:lnTo>
                        <a:pt x="701" y="113"/>
                      </a:lnTo>
                      <a:lnTo>
                        <a:pt x="699" y="117"/>
                      </a:lnTo>
                      <a:lnTo>
                        <a:pt x="699" y="117"/>
                      </a:lnTo>
                      <a:lnTo>
                        <a:pt x="699" y="119"/>
                      </a:lnTo>
                      <a:lnTo>
                        <a:pt x="698" y="120"/>
                      </a:lnTo>
                      <a:lnTo>
                        <a:pt x="696" y="122"/>
                      </a:lnTo>
                      <a:lnTo>
                        <a:pt x="694" y="124"/>
                      </a:lnTo>
                      <a:lnTo>
                        <a:pt x="692" y="124"/>
                      </a:lnTo>
                      <a:lnTo>
                        <a:pt x="688" y="126"/>
                      </a:lnTo>
                      <a:lnTo>
                        <a:pt x="686" y="126"/>
                      </a:lnTo>
                      <a:lnTo>
                        <a:pt x="683" y="128"/>
                      </a:lnTo>
                      <a:lnTo>
                        <a:pt x="679" y="128"/>
                      </a:lnTo>
                      <a:lnTo>
                        <a:pt x="679" y="128"/>
                      </a:lnTo>
                      <a:lnTo>
                        <a:pt x="675" y="135"/>
                      </a:lnTo>
                      <a:lnTo>
                        <a:pt x="672" y="144"/>
                      </a:lnTo>
                      <a:lnTo>
                        <a:pt x="668" y="152"/>
                      </a:lnTo>
                      <a:lnTo>
                        <a:pt x="664" y="159"/>
                      </a:lnTo>
                      <a:lnTo>
                        <a:pt x="661" y="161"/>
                      </a:lnTo>
                      <a:lnTo>
                        <a:pt x="655" y="161"/>
                      </a:lnTo>
                      <a:lnTo>
                        <a:pt x="655" y="161"/>
                      </a:lnTo>
                      <a:lnTo>
                        <a:pt x="651" y="163"/>
                      </a:lnTo>
                      <a:lnTo>
                        <a:pt x="648" y="165"/>
                      </a:lnTo>
                      <a:lnTo>
                        <a:pt x="646" y="165"/>
                      </a:lnTo>
                      <a:lnTo>
                        <a:pt x="646" y="170"/>
                      </a:lnTo>
                      <a:lnTo>
                        <a:pt x="646" y="176"/>
                      </a:lnTo>
                      <a:lnTo>
                        <a:pt x="642" y="176"/>
                      </a:lnTo>
                      <a:lnTo>
                        <a:pt x="637" y="178"/>
                      </a:lnTo>
                      <a:lnTo>
                        <a:pt x="631" y="179"/>
                      </a:lnTo>
                      <a:lnTo>
                        <a:pt x="626" y="181"/>
                      </a:lnTo>
                      <a:lnTo>
                        <a:pt x="626" y="181"/>
                      </a:lnTo>
                      <a:lnTo>
                        <a:pt x="626" y="187"/>
                      </a:lnTo>
                      <a:lnTo>
                        <a:pt x="626" y="192"/>
                      </a:lnTo>
                      <a:lnTo>
                        <a:pt x="622" y="191"/>
                      </a:lnTo>
                      <a:lnTo>
                        <a:pt x="620" y="191"/>
                      </a:lnTo>
                      <a:lnTo>
                        <a:pt x="616" y="189"/>
                      </a:lnTo>
                      <a:lnTo>
                        <a:pt x="613" y="187"/>
                      </a:lnTo>
                      <a:lnTo>
                        <a:pt x="613" y="187"/>
                      </a:lnTo>
                      <a:lnTo>
                        <a:pt x="611" y="192"/>
                      </a:lnTo>
                      <a:lnTo>
                        <a:pt x="611" y="192"/>
                      </a:lnTo>
                      <a:lnTo>
                        <a:pt x="609" y="198"/>
                      </a:lnTo>
                      <a:lnTo>
                        <a:pt x="605" y="198"/>
                      </a:lnTo>
                      <a:lnTo>
                        <a:pt x="602" y="198"/>
                      </a:lnTo>
                      <a:lnTo>
                        <a:pt x="596" y="198"/>
                      </a:lnTo>
                      <a:lnTo>
                        <a:pt x="592" y="198"/>
                      </a:lnTo>
                      <a:lnTo>
                        <a:pt x="589" y="189"/>
                      </a:lnTo>
                      <a:lnTo>
                        <a:pt x="583" y="179"/>
                      </a:lnTo>
                      <a:lnTo>
                        <a:pt x="578" y="170"/>
                      </a:lnTo>
                      <a:lnTo>
                        <a:pt x="572" y="159"/>
                      </a:lnTo>
                      <a:lnTo>
                        <a:pt x="561" y="163"/>
                      </a:lnTo>
                      <a:lnTo>
                        <a:pt x="550" y="165"/>
                      </a:lnTo>
                      <a:lnTo>
                        <a:pt x="537" y="168"/>
                      </a:lnTo>
                      <a:lnTo>
                        <a:pt x="528" y="170"/>
                      </a:lnTo>
                      <a:lnTo>
                        <a:pt x="528" y="163"/>
                      </a:lnTo>
                      <a:lnTo>
                        <a:pt x="530" y="154"/>
                      </a:lnTo>
                      <a:lnTo>
                        <a:pt x="530" y="146"/>
                      </a:lnTo>
                      <a:lnTo>
                        <a:pt x="531" y="137"/>
                      </a:lnTo>
                      <a:lnTo>
                        <a:pt x="533" y="135"/>
                      </a:lnTo>
                      <a:lnTo>
                        <a:pt x="537" y="135"/>
                      </a:lnTo>
                      <a:lnTo>
                        <a:pt x="541" y="135"/>
                      </a:lnTo>
                      <a:lnTo>
                        <a:pt x="542" y="133"/>
                      </a:lnTo>
                      <a:lnTo>
                        <a:pt x="544" y="133"/>
                      </a:lnTo>
                      <a:lnTo>
                        <a:pt x="544" y="126"/>
                      </a:lnTo>
                      <a:lnTo>
                        <a:pt x="544" y="119"/>
                      </a:lnTo>
                      <a:lnTo>
                        <a:pt x="544" y="111"/>
                      </a:lnTo>
                      <a:lnTo>
                        <a:pt x="546" y="104"/>
                      </a:lnTo>
                      <a:lnTo>
                        <a:pt x="548" y="98"/>
                      </a:lnTo>
                      <a:lnTo>
                        <a:pt x="550" y="91"/>
                      </a:lnTo>
                      <a:lnTo>
                        <a:pt x="550" y="85"/>
                      </a:lnTo>
                      <a:lnTo>
                        <a:pt x="552" y="80"/>
                      </a:lnTo>
                      <a:lnTo>
                        <a:pt x="552" y="78"/>
                      </a:lnTo>
                      <a:lnTo>
                        <a:pt x="557" y="67"/>
                      </a:lnTo>
                      <a:lnTo>
                        <a:pt x="561" y="54"/>
                      </a:lnTo>
                      <a:lnTo>
                        <a:pt x="566" y="39"/>
                      </a:lnTo>
                      <a:lnTo>
                        <a:pt x="570" y="24"/>
                      </a:lnTo>
                      <a:lnTo>
                        <a:pt x="576" y="24"/>
                      </a:lnTo>
                      <a:lnTo>
                        <a:pt x="581" y="24"/>
                      </a:lnTo>
                      <a:lnTo>
                        <a:pt x="581" y="24"/>
                      </a:lnTo>
                      <a:lnTo>
                        <a:pt x="581" y="19"/>
                      </a:lnTo>
                      <a:lnTo>
                        <a:pt x="581" y="15"/>
                      </a:lnTo>
                      <a:lnTo>
                        <a:pt x="581" y="12"/>
                      </a:lnTo>
                      <a:lnTo>
                        <a:pt x="581" y="8"/>
                      </a:lnTo>
                      <a:lnTo>
                        <a:pt x="581" y="6"/>
                      </a:lnTo>
                      <a:lnTo>
                        <a:pt x="576" y="8"/>
                      </a:lnTo>
                      <a:lnTo>
                        <a:pt x="576" y="8"/>
                      </a:lnTo>
                      <a:lnTo>
                        <a:pt x="572" y="8"/>
                      </a:lnTo>
                      <a:lnTo>
                        <a:pt x="566" y="10"/>
                      </a:lnTo>
                      <a:lnTo>
                        <a:pt x="563" y="10"/>
                      </a:lnTo>
                      <a:lnTo>
                        <a:pt x="561" y="6"/>
                      </a:lnTo>
                      <a:lnTo>
                        <a:pt x="559" y="2"/>
                      </a:lnTo>
                      <a:lnTo>
                        <a:pt x="55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3" name="Freeform 3007"/>
                <p:cNvSpPr>
                  <a:spLocks/>
                </p:cNvSpPr>
                <p:nvPr/>
              </p:nvSpPr>
              <p:spPr bwMode="auto">
                <a:xfrm>
                  <a:off x="4005" y="2358"/>
                  <a:ext cx="764" cy="537"/>
                </a:xfrm>
                <a:custGeom>
                  <a:avLst/>
                  <a:gdLst>
                    <a:gd name="T0" fmla="*/ 498 w 764"/>
                    <a:gd name="T1" fmla="*/ 30 h 537"/>
                    <a:gd name="T2" fmla="*/ 552 w 764"/>
                    <a:gd name="T3" fmla="*/ 4 h 537"/>
                    <a:gd name="T4" fmla="*/ 576 w 764"/>
                    <a:gd name="T5" fmla="*/ 23 h 537"/>
                    <a:gd name="T6" fmla="*/ 542 w 764"/>
                    <a:gd name="T7" fmla="*/ 126 h 537"/>
                    <a:gd name="T8" fmla="*/ 561 w 764"/>
                    <a:gd name="T9" fmla="*/ 165 h 537"/>
                    <a:gd name="T10" fmla="*/ 618 w 764"/>
                    <a:gd name="T11" fmla="*/ 191 h 537"/>
                    <a:gd name="T12" fmla="*/ 661 w 764"/>
                    <a:gd name="T13" fmla="*/ 163 h 537"/>
                    <a:gd name="T14" fmla="*/ 679 w 764"/>
                    <a:gd name="T15" fmla="*/ 130 h 537"/>
                    <a:gd name="T16" fmla="*/ 701 w 764"/>
                    <a:gd name="T17" fmla="*/ 117 h 537"/>
                    <a:gd name="T18" fmla="*/ 723 w 764"/>
                    <a:gd name="T19" fmla="*/ 95 h 537"/>
                    <a:gd name="T20" fmla="*/ 762 w 764"/>
                    <a:gd name="T21" fmla="*/ 191 h 537"/>
                    <a:gd name="T22" fmla="*/ 705 w 764"/>
                    <a:gd name="T23" fmla="*/ 222 h 537"/>
                    <a:gd name="T24" fmla="*/ 690 w 764"/>
                    <a:gd name="T25" fmla="*/ 261 h 537"/>
                    <a:gd name="T26" fmla="*/ 657 w 764"/>
                    <a:gd name="T27" fmla="*/ 318 h 537"/>
                    <a:gd name="T28" fmla="*/ 651 w 764"/>
                    <a:gd name="T29" fmla="*/ 382 h 537"/>
                    <a:gd name="T30" fmla="*/ 670 w 764"/>
                    <a:gd name="T31" fmla="*/ 406 h 537"/>
                    <a:gd name="T32" fmla="*/ 736 w 764"/>
                    <a:gd name="T33" fmla="*/ 449 h 537"/>
                    <a:gd name="T34" fmla="*/ 720 w 764"/>
                    <a:gd name="T35" fmla="*/ 528 h 537"/>
                    <a:gd name="T36" fmla="*/ 600 w 764"/>
                    <a:gd name="T37" fmla="*/ 525 h 537"/>
                    <a:gd name="T38" fmla="*/ 511 w 764"/>
                    <a:gd name="T39" fmla="*/ 493 h 537"/>
                    <a:gd name="T40" fmla="*/ 465 w 764"/>
                    <a:gd name="T41" fmla="*/ 427 h 537"/>
                    <a:gd name="T42" fmla="*/ 452 w 764"/>
                    <a:gd name="T43" fmla="*/ 425 h 537"/>
                    <a:gd name="T44" fmla="*/ 408 w 764"/>
                    <a:gd name="T45" fmla="*/ 362 h 537"/>
                    <a:gd name="T46" fmla="*/ 365 w 764"/>
                    <a:gd name="T47" fmla="*/ 335 h 537"/>
                    <a:gd name="T48" fmla="*/ 316 w 764"/>
                    <a:gd name="T49" fmla="*/ 333 h 537"/>
                    <a:gd name="T50" fmla="*/ 240 w 764"/>
                    <a:gd name="T51" fmla="*/ 331 h 537"/>
                    <a:gd name="T52" fmla="*/ 166 w 764"/>
                    <a:gd name="T53" fmla="*/ 325 h 537"/>
                    <a:gd name="T54" fmla="*/ 160 w 764"/>
                    <a:gd name="T55" fmla="*/ 283 h 537"/>
                    <a:gd name="T56" fmla="*/ 127 w 764"/>
                    <a:gd name="T57" fmla="*/ 213 h 537"/>
                    <a:gd name="T58" fmla="*/ 79 w 764"/>
                    <a:gd name="T59" fmla="*/ 181 h 537"/>
                    <a:gd name="T60" fmla="*/ 35 w 764"/>
                    <a:gd name="T61" fmla="*/ 196 h 537"/>
                    <a:gd name="T62" fmla="*/ 44 w 764"/>
                    <a:gd name="T63" fmla="*/ 161 h 537"/>
                    <a:gd name="T64" fmla="*/ 0 w 764"/>
                    <a:gd name="T65" fmla="*/ 124 h 537"/>
                    <a:gd name="T66" fmla="*/ 39 w 764"/>
                    <a:gd name="T67" fmla="*/ 174 h 537"/>
                    <a:gd name="T68" fmla="*/ 55 w 764"/>
                    <a:gd name="T69" fmla="*/ 202 h 537"/>
                    <a:gd name="T70" fmla="*/ 94 w 764"/>
                    <a:gd name="T71" fmla="*/ 196 h 537"/>
                    <a:gd name="T72" fmla="*/ 136 w 764"/>
                    <a:gd name="T73" fmla="*/ 255 h 537"/>
                    <a:gd name="T74" fmla="*/ 148 w 764"/>
                    <a:gd name="T75" fmla="*/ 303 h 537"/>
                    <a:gd name="T76" fmla="*/ 188 w 764"/>
                    <a:gd name="T77" fmla="*/ 353 h 537"/>
                    <a:gd name="T78" fmla="*/ 277 w 764"/>
                    <a:gd name="T79" fmla="*/ 331 h 537"/>
                    <a:gd name="T80" fmla="*/ 352 w 764"/>
                    <a:gd name="T81" fmla="*/ 329 h 537"/>
                    <a:gd name="T82" fmla="*/ 376 w 764"/>
                    <a:gd name="T83" fmla="*/ 340 h 537"/>
                    <a:gd name="T84" fmla="*/ 423 w 764"/>
                    <a:gd name="T85" fmla="*/ 382 h 537"/>
                    <a:gd name="T86" fmla="*/ 459 w 764"/>
                    <a:gd name="T87" fmla="*/ 440 h 537"/>
                    <a:gd name="T88" fmla="*/ 478 w 764"/>
                    <a:gd name="T89" fmla="*/ 445 h 537"/>
                    <a:gd name="T90" fmla="*/ 535 w 764"/>
                    <a:gd name="T91" fmla="*/ 523 h 537"/>
                    <a:gd name="T92" fmla="*/ 638 w 764"/>
                    <a:gd name="T93" fmla="*/ 521 h 537"/>
                    <a:gd name="T94" fmla="*/ 733 w 764"/>
                    <a:gd name="T95" fmla="*/ 491 h 537"/>
                    <a:gd name="T96" fmla="*/ 738 w 764"/>
                    <a:gd name="T97" fmla="*/ 447 h 537"/>
                    <a:gd name="T98" fmla="*/ 692 w 764"/>
                    <a:gd name="T99" fmla="*/ 412 h 537"/>
                    <a:gd name="T100" fmla="*/ 653 w 764"/>
                    <a:gd name="T101" fmla="*/ 386 h 537"/>
                    <a:gd name="T102" fmla="*/ 659 w 764"/>
                    <a:gd name="T103" fmla="*/ 323 h 537"/>
                    <a:gd name="T104" fmla="*/ 672 w 764"/>
                    <a:gd name="T105" fmla="*/ 298 h 537"/>
                    <a:gd name="T106" fmla="*/ 707 w 764"/>
                    <a:gd name="T107" fmla="*/ 239 h 537"/>
                    <a:gd name="T108" fmla="*/ 699 w 764"/>
                    <a:gd name="T109" fmla="*/ 209 h 537"/>
                    <a:gd name="T110" fmla="*/ 758 w 764"/>
                    <a:gd name="T111" fmla="*/ 159 h 537"/>
                    <a:gd name="T112" fmla="*/ 725 w 764"/>
                    <a:gd name="T113" fmla="*/ 95 h 537"/>
                    <a:gd name="T114" fmla="*/ 696 w 764"/>
                    <a:gd name="T115" fmla="*/ 122 h 537"/>
                    <a:gd name="T116" fmla="*/ 651 w 764"/>
                    <a:gd name="T117" fmla="*/ 163 h 537"/>
                    <a:gd name="T118" fmla="*/ 613 w 764"/>
                    <a:gd name="T119" fmla="*/ 187 h 537"/>
                    <a:gd name="T120" fmla="*/ 537 w 764"/>
                    <a:gd name="T121" fmla="*/ 168 h 537"/>
                    <a:gd name="T122" fmla="*/ 548 w 764"/>
                    <a:gd name="T123" fmla="*/ 98 h 537"/>
                    <a:gd name="T124" fmla="*/ 581 w 764"/>
                    <a:gd name="T125" fmla="*/ 8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64" h="537">
                      <a:moveTo>
                        <a:pt x="559" y="0"/>
                      </a:moveTo>
                      <a:lnTo>
                        <a:pt x="552" y="2"/>
                      </a:lnTo>
                      <a:lnTo>
                        <a:pt x="544" y="4"/>
                      </a:lnTo>
                      <a:lnTo>
                        <a:pt x="539" y="4"/>
                      </a:lnTo>
                      <a:lnTo>
                        <a:pt x="531" y="6"/>
                      </a:lnTo>
                      <a:lnTo>
                        <a:pt x="531" y="6"/>
                      </a:lnTo>
                      <a:lnTo>
                        <a:pt x="530" y="10"/>
                      </a:lnTo>
                      <a:lnTo>
                        <a:pt x="528" y="13"/>
                      </a:lnTo>
                      <a:lnTo>
                        <a:pt x="528" y="13"/>
                      </a:lnTo>
                      <a:lnTo>
                        <a:pt x="528" y="15"/>
                      </a:lnTo>
                      <a:lnTo>
                        <a:pt x="528" y="15"/>
                      </a:lnTo>
                      <a:lnTo>
                        <a:pt x="526" y="19"/>
                      </a:lnTo>
                      <a:lnTo>
                        <a:pt x="517" y="23"/>
                      </a:lnTo>
                      <a:lnTo>
                        <a:pt x="507" y="26"/>
                      </a:lnTo>
                      <a:lnTo>
                        <a:pt x="498" y="30"/>
                      </a:lnTo>
                      <a:lnTo>
                        <a:pt x="489" y="34"/>
                      </a:lnTo>
                      <a:lnTo>
                        <a:pt x="489" y="36"/>
                      </a:lnTo>
                      <a:lnTo>
                        <a:pt x="478" y="39"/>
                      </a:lnTo>
                      <a:lnTo>
                        <a:pt x="487" y="36"/>
                      </a:lnTo>
                      <a:lnTo>
                        <a:pt x="498" y="32"/>
                      </a:lnTo>
                      <a:lnTo>
                        <a:pt x="507" y="28"/>
                      </a:lnTo>
                      <a:lnTo>
                        <a:pt x="519" y="24"/>
                      </a:lnTo>
                      <a:lnTo>
                        <a:pt x="528" y="21"/>
                      </a:lnTo>
                      <a:lnTo>
                        <a:pt x="530" y="17"/>
                      </a:lnTo>
                      <a:lnTo>
                        <a:pt x="530" y="13"/>
                      </a:lnTo>
                      <a:lnTo>
                        <a:pt x="531" y="10"/>
                      </a:lnTo>
                      <a:lnTo>
                        <a:pt x="531" y="8"/>
                      </a:lnTo>
                      <a:lnTo>
                        <a:pt x="539" y="6"/>
                      </a:lnTo>
                      <a:lnTo>
                        <a:pt x="544" y="6"/>
                      </a:lnTo>
                      <a:lnTo>
                        <a:pt x="552" y="4"/>
                      </a:lnTo>
                      <a:lnTo>
                        <a:pt x="552" y="4"/>
                      </a:lnTo>
                      <a:lnTo>
                        <a:pt x="559" y="2"/>
                      </a:lnTo>
                      <a:lnTo>
                        <a:pt x="561" y="8"/>
                      </a:lnTo>
                      <a:lnTo>
                        <a:pt x="561" y="8"/>
                      </a:lnTo>
                      <a:lnTo>
                        <a:pt x="563" y="12"/>
                      </a:lnTo>
                      <a:lnTo>
                        <a:pt x="563" y="12"/>
                      </a:lnTo>
                      <a:lnTo>
                        <a:pt x="568" y="12"/>
                      </a:lnTo>
                      <a:lnTo>
                        <a:pt x="572" y="10"/>
                      </a:lnTo>
                      <a:lnTo>
                        <a:pt x="576" y="8"/>
                      </a:lnTo>
                      <a:lnTo>
                        <a:pt x="579" y="8"/>
                      </a:lnTo>
                      <a:lnTo>
                        <a:pt x="579" y="12"/>
                      </a:lnTo>
                      <a:lnTo>
                        <a:pt x="579" y="15"/>
                      </a:lnTo>
                      <a:lnTo>
                        <a:pt x="579" y="19"/>
                      </a:lnTo>
                      <a:lnTo>
                        <a:pt x="579" y="23"/>
                      </a:lnTo>
                      <a:lnTo>
                        <a:pt x="576" y="23"/>
                      </a:lnTo>
                      <a:lnTo>
                        <a:pt x="570" y="23"/>
                      </a:lnTo>
                      <a:lnTo>
                        <a:pt x="570" y="23"/>
                      </a:lnTo>
                      <a:lnTo>
                        <a:pt x="565" y="39"/>
                      </a:lnTo>
                      <a:lnTo>
                        <a:pt x="559" y="52"/>
                      </a:lnTo>
                      <a:lnTo>
                        <a:pt x="555" y="65"/>
                      </a:lnTo>
                      <a:lnTo>
                        <a:pt x="552" y="78"/>
                      </a:lnTo>
                      <a:lnTo>
                        <a:pt x="550" y="85"/>
                      </a:lnTo>
                      <a:lnTo>
                        <a:pt x="550" y="85"/>
                      </a:lnTo>
                      <a:lnTo>
                        <a:pt x="548" y="91"/>
                      </a:lnTo>
                      <a:lnTo>
                        <a:pt x="546" y="96"/>
                      </a:lnTo>
                      <a:lnTo>
                        <a:pt x="544" y="104"/>
                      </a:lnTo>
                      <a:lnTo>
                        <a:pt x="544" y="104"/>
                      </a:lnTo>
                      <a:lnTo>
                        <a:pt x="544" y="111"/>
                      </a:lnTo>
                      <a:lnTo>
                        <a:pt x="542" y="117"/>
                      </a:lnTo>
                      <a:lnTo>
                        <a:pt x="542" y="126"/>
                      </a:lnTo>
                      <a:lnTo>
                        <a:pt x="542" y="133"/>
                      </a:lnTo>
                      <a:lnTo>
                        <a:pt x="539" y="133"/>
                      </a:lnTo>
                      <a:lnTo>
                        <a:pt x="537" y="133"/>
                      </a:lnTo>
                      <a:lnTo>
                        <a:pt x="533" y="135"/>
                      </a:lnTo>
                      <a:lnTo>
                        <a:pt x="533" y="135"/>
                      </a:lnTo>
                      <a:lnTo>
                        <a:pt x="530" y="135"/>
                      </a:lnTo>
                      <a:lnTo>
                        <a:pt x="530" y="135"/>
                      </a:lnTo>
                      <a:lnTo>
                        <a:pt x="530" y="144"/>
                      </a:lnTo>
                      <a:lnTo>
                        <a:pt x="528" y="154"/>
                      </a:lnTo>
                      <a:lnTo>
                        <a:pt x="528" y="163"/>
                      </a:lnTo>
                      <a:lnTo>
                        <a:pt x="526" y="170"/>
                      </a:lnTo>
                      <a:lnTo>
                        <a:pt x="526" y="172"/>
                      </a:lnTo>
                      <a:lnTo>
                        <a:pt x="539" y="168"/>
                      </a:lnTo>
                      <a:lnTo>
                        <a:pt x="550" y="167"/>
                      </a:lnTo>
                      <a:lnTo>
                        <a:pt x="561" y="165"/>
                      </a:lnTo>
                      <a:lnTo>
                        <a:pt x="572" y="161"/>
                      </a:lnTo>
                      <a:lnTo>
                        <a:pt x="576" y="170"/>
                      </a:lnTo>
                      <a:lnTo>
                        <a:pt x="576" y="170"/>
                      </a:lnTo>
                      <a:lnTo>
                        <a:pt x="581" y="179"/>
                      </a:lnTo>
                      <a:lnTo>
                        <a:pt x="587" y="189"/>
                      </a:lnTo>
                      <a:lnTo>
                        <a:pt x="592" y="200"/>
                      </a:lnTo>
                      <a:lnTo>
                        <a:pt x="596" y="200"/>
                      </a:lnTo>
                      <a:lnTo>
                        <a:pt x="602" y="200"/>
                      </a:lnTo>
                      <a:lnTo>
                        <a:pt x="605" y="200"/>
                      </a:lnTo>
                      <a:lnTo>
                        <a:pt x="609" y="200"/>
                      </a:lnTo>
                      <a:lnTo>
                        <a:pt x="609" y="200"/>
                      </a:lnTo>
                      <a:lnTo>
                        <a:pt x="611" y="192"/>
                      </a:lnTo>
                      <a:lnTo>
                        <a:pt x="613" y="189"/>
                      </a:lnTo>
                      <a:lnTo>
                        <a:pt x="616" y="191"/>
                      </a:lnTo>
                      <a:lnTo>
                        <a:pt x="618" y="191"/>
                      </a:lnTo>
                      <a:lnTo>
                        <a:pt x="622" y="192"/>
                      </a:lnTo>
                      <a:lnTo>
                        <a:pt x="626" y="194"/>
                      </a:lnTo>
                      <a:lnTo>
                        <a:pt x="626" y="194"/>
                      </a:lnTo>
                      <a:lnTo>
                        <a:pt x="626" y="187"/>
                      </a:lnTo>
                      <a:lnTo>
                        <a:pt x="626" y="181"/>
                      </a:lnTo>
                      <a:lnTo>
                        <a:pt x="631" y="181"/>
                      </a:lnTo>
                      <a:lnTo>
                        <a:pt x="637" y="179"/>
                      </a:lnTo>
                      <a:lnTo>
                        <a:pt x="642" y="178"/>
                      </a:lnTo>
                      <a:lnTo>
                        <a:pt x="648" y="176"/>
                      </a:lnTo>
                      <a:lnTo>
                        <a:pt x="648" y="176"/>
                      </a:lnTo>
                      <a:lnTo>
                        <a:pt x="648" y="170"/>
                      </a:lnTo>
                      <a:lnTo>
                        <a:pt x="648" y="165"/>
                      </a:lnTo>
                      <a:lnTo>
                        <a:pt x="651" y="165"/>
                      </a:lnTo>
                      <a:lnTo>
                        <a:pt x="657" y="163"/>
                      </a:lnTo>
                      <a:lnTo>
                        <a:pt x="661" y="163"/>
                      </a:lnTo>
                      <a:lnTo>
                        <a:pt x="661" y="163"/>
                      </a:lnTo>
                      <a:lnTo>
                        <a:pt x="664" y="161"/>
                      </a:lnTo>
                      <a:lnTo>
                        <a:pt x="664" y="161"/>
                      </a:lnTo>
                      <a:lnTo>
                        <a:pt x="670" y="152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2" y="144"/>
                      </a:lnTo>
                      <a:lnTo>
                        <a:pt x="675" y="137"/>
                      </a:lnTo>
                      <a:lnTo>
                        <a:pt x="675" y="135"/>
                      </a:lnTo>
                      <a:lnTo>
                        <a:pt x="675" y="137"/>
                      </a:lnTo>
                      <a:lnTo>
                        <a:pt x="675" y="135"/>
                      </a:lnTo>
                      <a:lnTo>
                        <a:pt x="675" y="137"/>
                      </a:lnTo>
                      <a:lnTo>
                        <a:pt x="679" y="130"/>
                      </a:lnTo>
                      <a:lnTo>
                        <a:pt x="683" y="128"/>
                      </a:lnTo>
                      <a:lnTo>
                        <a:pt x="686" y="128"/>
                      </a:lnTo>
                      <a:lnTo>
                        <a:pt x="686" y="128"/>
                      </a:lnTo>
                      <a:lnTo>
                        <a:pt x="690" y="128"/>
                      </a:lnTo>
                      <a:lnTo>
                        <a:pt x="690" y="128"/>
                      </a:lnTo>
                      <a:lnTo>
                        <a:pt x="692" y="126"/>
                      </a:lnTo>
                      <a:lnTo>
                        <a:pt x="694" y="124"/>
                      </a:lnTo>
                      <a:lnTo>
                        <a:pt x="696" y="124"/>
                      </a:lnTo>
                      <a:lnTo>
                        <a:pt x="698" y="124"/>
                      </a:lnTo>
                      <a:lnTo>
                        <a:pt x="698" y="124"/>
                      </a:lnTo>
                      <a:lnTo>
                        <a:pt x="699" y="122"/>
                      </a:lnTo>
                      <a:lnTo>
                        <a:pt x="699" y="120"/>
                      </a:lnTo>
                      <a:lnTo>
                        <a:pt x="701" y="119"/>
                      </a:lnTo>
                      <a:lnTo>
                        <a:pt x="701" y="119"/>
                      </a:lnTo>
                      <a:lnTo>
                        <a:pt x="701" y="117"/>
                      </a:lnTo>
                      <a:lnTo>
                        <a:pt x="703" y="113"/>
                      </a:lnTo>
                      <a:lnTo>
                        <a:pt x="703" y="113"/>
                      </a:lnTo>
                      <a:lnTo>
                        <a:pt x="703" y="111"/>
                      </a:lnTo>
                      <a:lnTo>
                        <a:pt x="705" y="108"/>
                      </a:lnTo>
                      <a:lnTo>
                        <a:pt x="705" y="108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7" y="102"/>
                      </a:lnTo>
                      <a:lnTo>
                        <a:pt x="709" y="95"/>
                      </a:lnTo>
                      <a:lnTo>
                        <a:pt x="712" y="95"/>
                      </a:lnTo>
                      <a:lnTo>
                        <a:pt x="716" y="95"/>
                      </a:lnTo>
                      <a:lnTo>
                        <a:pt x="720" y="95"/>
                      </a:lnTo>
                      <a:lnTo>
                        <a:pt x="723" y="95"/>
                      </a:lnTo>
                      <a:lnTo>
                        <a:pt x="723" y="100"/>
                      </a:lnTo>
                      <a:lnTo>
                        <a:pt x="723" y="104"/>
                      </a:lnTo>
                      <a:lnTo>
                        <a:pt x="723" y="106"/>
                      </a:lnTo>
                      <a:lnTo>
                        <a:pt x="729" y="106"/>
                      </a:lnTo>
                      <a:lnTo>
                        <a:pt x="734" y="106"/>
                      </a:lnTo>
                      <a:lnTo>
                        <a:pt x="736" y="119"/>
                      </a:lnTo>
                      <a:lnTo>
                        <a:pt x="740" y="132"/>
                      </a:lnTo>
                      <a:lnTo>
                        <a:pt x="742" y="146"/>
                      </a:lnTo>
                      <a:lnTo>
                        <a:pt x="746" y="159"/>
                      </a:lnTo>
                      <a:lnTo>
                        <a:pt x="751" y="159"/>
                      </a:lnTo>
                      <a:lnTo>
                        <a:pt x="757" y="159"/>
                      </a:lnTo>
                      <a:lnTo>
                        <a:pt x="757" y="167"/>
                      </a:lnTo>
                      <a:lnTo>
                        <a:pt x="758" y="176"/>
                      </a:lnTo>
                      <a:lnTo>
                        <a:pt x="760" y="183"/>
                      </a:lnTo>
                      <a:lnTo>
                        <a:pt x="762" y="191"/>
                      </a:lnTo>
                      <a:lnTo>
                        <a:pt x="755" y="192"/>
                      </a:lnTo>
                      <a:lnTo>
                        <a:pt x="746" y="192"/>
                      </a:lnTo>
                      <a:lnTo>
                        <a:pt x="738" y="194"/>
                      </a:lnTo>
                      <a:lnTo>
                        <a:pt x="729" y="194"/>
                      </a:lnTo>
                      <a:lnTo>
                        <a:pt x="722" y="194"/>
                      </a:lnTo>
                      <a:lnTo>
                        <a:pt x="712" y="196"/>
                      </a:lnTo>
                      <a:lnTo>
                        <a:pt x="705" y="196"/>
                      </a:lnTo>
                      <a:lnTo>
                        <a:pt x="698" y="196"/>
                      </a:lnTo>
                      <a:lnTo>
                        <a:pt x="696" y="198"/>
                      </a:lnTo>
                      <a:lnTo>
                        <a:pt x="698" y="203"/>
                      </a:lnTo>
                      <a:lnTo>
                        <a:pt x="699" y="209"/>
                      </a:lnTo>
                      <a:lnTo>
                        <a:pt x="699" y="215"/>
                      </a:lnTo>
                      <a:lnTo>
                        <a:pt x="701" y="220"/>
                      </a:lnTo>
                      <a:lnTo>
                        <a:pt x="701" y="220"/>
                      </a:lnTo>
                      <a:lnTo>
                        <a:pt x="705" y="222"/>
                      </a:lnTo>
                      <a:lnTo>
                        <a:pt x="709" y="222"/>
                      </a:lnTo>
                      <a:lnTo>
                        <a:pt x="712" y="224"/>
                      </a:lnTo>
                      <a:lnTo>
                        <a:pt x="714" y="226"/>
                      </a:lnTo>
                      <a:lnTo>
                        <a:pt x="714" y="227"/>
                      </a:lnTo>
                      <a:lnTo>
                        <a:pt x="714" y="227"/>
                      </a:lnTo>
                      <a:lnTo>
                        <a:pt x="712" y="231"/>
                      </a:lnTo>
                      <a:lnTo>
                        <a:pt x="710" y="233"/>
                      </a:lnTo>
                      <a:lnTo>
                        <a:pt x="709" y="235"/>
                      </a:lnTo>
                      <a:lnTo>
                        <a:pt x="707" y="237"/>
                      </a:lnTo>
                      <a:lnTo>
                        <a:pt x="703" y="239"/>
                      </a:lnTo>
                      <a:lnTo>
                        <a:pt x="701" y="240"/>
                      </a:lnTo>
                      <a:lnTo>
                        <a:pt x="698" y="240"/>
                      </a:lnTo>
                      <a:lnTo>
                        <a:pt x="698" y="240"/>
                      </a:lnTo>
                      <a:lnTo>
                        <a:pt x="692" y="250"/>
                      </a:lnTo>
                      <a:lnTo>
                        <a:pt x="690" y="261"/>
                      </a:lnTo>
                      <a:lnTo>
                        <a:pt x="686" y="270"/>
                      </a:lnTo>
                      <a:lnTo>
                        <a:pt x="681" y="279"/>
                      </a:lnTo>
                      <a:lnTo>
                        <a:pt x="679" y="285"/>
                      </a:lnTo>
                      <a:lnTo>
                        <a:pt x="675" y="288"/>
                      </a:lnTo>
                      <a:lnTo>
                        <a:pt x="674" y="292"/>
                      </a:lnTo>
                      <a:lnTo>
                        <a:pt x="670" y="296"/>
                      </a:lnTo>
                      <a:lnTo>
                        <a:pt x="666" y="299"/>
                      </a:lnTo>
                      <a:lnTo>
                        <a:pt x="662" y="303"/>
                      </a:lnTo>
                      <a:lnTo>
                        <a:pt x="659" y="305"/>
                      </a:lnTo>
                      <a:lnTo>
                        <a:pt x="653" y="305"/>
                      </a:lnTo>
                      <a:lnTo>
                        <a:pt x="651" y="307"/>
                      </a:lnTo>
                      <a:lnTo>
                        <a:pt x="655" y="311"/>
                      </a:lnTo>
                      <a:lnTo>
                        <a:pt x="655" y="311"/>
                      </a:lnTo>
                      <a:lnTo>
                        <a:pt x="657" y="314"/>
                      </a:lnTo>
                      <a:lnTo>
                        <a:pt x="657" y="318"/>
                      </a:lnTo>
                      <a:lnTo>
                        <a:pt x="659" y="323"/>
                      </a:lnTo>
                      <a:lnTo>
                        <a:pt x="659" y="323"/>
                      </a:lnTo>
                      <a:lnTo>
                        <a:pt x="659" y="327"/>
                      </a:lnTo>
                      <a:lnTo>
                        <a:pt x="659" y="331"/>
                      </a:lnTo>
                      <a:lnTo>
                        <a:pt x="661" y="335"/>
                      </a:lnTo>
                      <a:lnTo>
                        <a:pt x="661" y="338"/>
                      </a:lnTo>
                      <a:lnTo>
                        <a:pt x="661" y="346"/>
                      </a:lnTo>
                      <a:lnTo>
                        <a:pt x="659" y="355"/>
                      </a:lnTo>
                      <a:lnTo>
                        <a:pt x="659" y="364"/>
                      </a:lnTo>
                      <a:lnTo>
                        <a:pt x="659" y="371"/>
                      </a:lnTo>
                      <a:lnTo>
                        <a:pt x="653" y="373"/>
                      </a:lnTo>
                      <a:lnTo>
                        <a:pt x="653" y="373"/>
                      </a:lnTo>
                      <a:lnTo>
                        <a:pt x="650" y="375"/>
                      </a:lnTo>
                      <a:lnTo>
                        <a:pt x="648" y="375"/>
                      </a:lnTo>
                      <a:lnTo>
                        <a:pt x="651" y="382"/>
                      </a:lnTo>
                      <a:lnTo>
                        <a:pt x="653" y="388"/>
                      </a:lnTo>
                      <a:lnTo>
                        <a:pt x="653" y="388"/>
                      </a:lnTo>
                      <a:lnTo>
                        <a:pt x="655" y="392"/>
                      </a:lnTo>
                      <a:lnTo>
                        <a:pt x="657" y="397"/>
                      </a:lnTo>
                      <a:lnTo>
                        <a:pt x="657" y="399"/>
                      </a:lnTo>
                      <a:lnTo>
                        <a:pt x="662" y="397"/>
                      </a:lnTo>
                      <a:lnTo>
                        <a:pt x="666" y="397"/>
                      </a:lnTo>
                      <a:lnTo>
                        <a:pt x="672" y="395"/>
                      </a:lnTo>
                      <a:lnTo>
                        <a:pt x="674" y="395"/>
                      </a:lnTo>
                      <a:lnTo>
                        <a:pt x="674" y="397"/>
                      </a:lnTo>
                      <a:lnTo>
                        <a:pt x="674" y="397"/>
                      </a:lnTo>
                      <a:lnTo>
                        <a:pt x="674" y="399"/>
                      </a:lnTo>
                      <a:lnTo>
                        <a:pt x="674" y="399"/>
                      </a:lnTo>
                      <a:lnTo>
                        <a:pt x="672" y="403"/>
                      </a:lnTo>
                      <a:lnTo>
                        <a:pt x="670" y="406"/>
                      </a:lnTo>
                      <a:lnTo>
                        <a:pt x="670" y="406"/>
                      </a:lnTo>
                      <a:lnTo>
                        <a:pt x="683" y="410"/>
                      </a:lnTo>
                      <a:lnTo>
                        <a:pt x="692" y="414"/>
                      </a:lnTo>
                      <a:lnTo>
                        <a:pt x="696" y="414"/>
                      </a:lnTo>
                      <a:lnTo>
                        <a:pt x="698" y="416"/>
                      </a:lnTo>
                      <a:lnTo>
                        <a:pt x="701" y="418"/>
                      </a:lnTo>
                      <a:lnTo>
                        <a:pt x="703" y="419"/>
                      </a:lnTo>
                      <a:lnTo>
                        <a:pt x="707" y="421"/>
                      </a:lnTo>
                      <a:lnTo>
                        <a:pt x="709" y="425"/>
                      </a:lnTo>
                      <a:lnTo>
                        <a:pt x="710" y="427"/>
                      </a:lnTo>
                      <a:lnTo>
                        <a:pt x="714" y="430"/>
                      </a:lnTo>
                      <a:lnTo>
                        <a:pt x="718" y="438"/>
                      </a:lnTo>
                      <a:lnTo>
                        <a:pt x="725" y="449"/>
                      </a:lnTo>
                      <a:lnTo>
                        <a:pt x="731" y="449"/>
                      </a:lnTo>
                      <a:lnTo>
                        <a:pt x="736" y="449"/>
                      </a:lnTo>
                      <a:lnTo>
                        <a:pt x="736" y="458"/>
                      </a:lnTo>
                      <a:lnTo>
                        <a:pt x="736" y="467"/>
                      </a:lnTo>
                      <a:lnTo>
                        <a:pt x="736" y="477"/>
                      </a:lnTo>
                      <a:lnTo>
                        <a:pt x="736" y="486"/>
                      </a:lnTo>
                      <a:lnTo>
                        <a:pt x="736" y="488"/>
                      </a:lnTo>
                      <a:lnTo>
                        <a:pt x="736" y="490"/>
                      </a:lnTo>
                      <a:lnTo>
                        <a:pt x="736" y="490"/>
                      </a:lnTo>
                      <a:lnTo>
                        <a:pt x="734" y="490"/>
                      </a:lnTo>
                      <a:lnTo>
                        <a:pt x="733" y="491"/>
                      </a:lnTo>
                      <a:lnTo>
                        <a:pt x="725" y="491"/>
                      </a:lnTo>
                      <a:lnTo>
                        <a:pt x="725" y="491"/>
                      </a:lnTo>
                      <a:lnTo>
                        <a:pt x="723" y="501"/>
                      </a:lnTo>
                      <a:lnTo>
                        <a:pt x="722" y="510"/>
                      </a:lnTo>
                      <a:lnTo>
                        <a:pt x="720" y="519"/>
                      </a:lnTo>
                      <a:lnTo>
                        <a:pt x="720" y="528"/>
                      </a:lnTo>
                      <a:lnTo>
                        <a:pt x="709" y="530"/>
                      </a:lnTo>
                      <a:lnTo>
                        <a:pt x="699" y="530"/>
                      </a:lnTo>
                      <a:lnTo>
                        <a:pt x="690" y="528"/>
                      </a:lnTo>
                      <a:lnTo>
                        <a:pt x="683" y="528"/>
                      </a:lnTo>
                      <a:lnTo>
                        <a:pt x="675" y="526"/>
                      </a:lnTo>
                      <a:lnTo>
                        <a:pt x="666" y="525"/>
                      </a:lnTo>
                      <a:lnTo>
                        <a:pt x="657" y="521"/>
                      </a:lnTo>
                      <a:lnTo>
                        <a:pt x="646" y="515"/>
                      </a:lnTo>
                      <a:lnTo>
                        <a:pt x="642" y="517"/>
                      </a:lnTo>
                      <a:lnTo>
                        <a:pt x="637" y="519"/>
                      </a:lnTo>
                      <a:lnTo>
                        <a:pt x="633" y="521"/>
                      </a:lnTo>
                      <a:lnTo>
                        <a:pt x="627" y="521"/>
                      </a:lnTo>
                      <a:lnTo>
                        <a:pt x="622" y="523"/>
                      </a:lnTo>
                      <a:lnTo>
                        <a:pt x="613" y="523"/>
                      </a:lnTo>
                      <a:lnTo>
                        <a:pt x="600" y="525"/>
                      </a:lnTo>
                      <a:lnTo>
                        <a:pt x="583" y="525"/>
                      </a:lnTo>
                      <a:lnTo>
                        <a:pt x="583" y="530"/>
                      </a:lnTo>
                      <a:lnTo>
                        <a:pt x="583" y="536"/>
                      </a:lnTo>
                      <a:lnTo>
                        <a:pt x="572" y="534"/>
                      </a:lnTo>
                      <a:lnTo>
                        <a:pt x="561" y="532"/>
                      </a:lnTo>
                      <a:lnTo>
                        <a:pt x="550" y="532"/>
                      </a:lnTo>
                      <a:lnTo>
                        <a:pt x="541" y="530"/>
                      </a:lnTo>
                      <a:lnTo>
                        <a:pt x="537" y="523"/>
                      </a:lnTo>
                      <a:lnTo>
                        <a:pt x="535" y="514"/>
                      </a:lnTo>
                      <a:lnTo>
                        <a:pt x="531" y="506"/>
                      </a:lnTo>
                      <a:lnTo>
                        <a:pt x="530" y="497"/>
                      </a:lnTo>
                      <a:lnTo>
                        <a:pt x="524" y="497"/>
                      </a:lnTo>
                      <a:lnTo>
                        <a:pt x="517" y="495"/>
                      </a:lnTo>
                      <a:lnTo>
                        <a:pt x="511" y="493"/>
                      </a:lnTo>
                      <a:lnTo>
                        <a:pt x="511" y="493"/>
                      </a:lnTo>
                      <a:lnTo>
                        <a:pt x="507" y="491"/>
                      </a:lnTo>
                      <a:lnTo>
                        <a:pt x="506" y="490"/>
                      </a:lnTo>
                      <a:lnTo>
                        <a:pt x="506" y="490"/>
                      </a:lnTo>
                      <a:lnTo>
                        <a:pt x="506" y="486"/>
                      </a:lnTo>
                      <a:lnTo>
                        <a:pt x="502" y="480"/>
                      </a:lnTo>
                      <a:lnTo>
                        <a:pt x="500" y="477"/>
                      </a:lnTo>
                      <a:lnTo>
                        <a:pt x="500" y="477"/>
                      </a:lnTo>
                      <a:lnTo>
                        <a:pt x="495" y="466"/>
                      </a:lnTo>
                      <a:lnTo>
                        <a:pt x="487" y="454"/>
                      </a:lnTo>
                      <a:lnTo>
                        <a:pt x="480" y="443"/>
                      </a:lnTo>
                      <a:lnTo>
                        <a:pt x="472" y="434"/>
                      </a:lnTo>
                      <a:lnTo>
                        <a:pt x="469" y="432"/>
                      </a:lnTo>
                      <a:lnTo>
                        <a:pt x="467" y="429"/>
                      </a:lnTo>
                      <a:lnTo>
                        <a:pt x="467" y="429"/>
                      </a:lnTo>
                      <a:lnTo>
                        <a:pt x="465" y="427"/>
                      </a:lnTo>
                      <a:lnTo>
                        <a:pt x="465" y="427"/>
                      </a:lnTo>
                      <a:lnTo>
                        <a:pt x="463" y="427"/>
                      </a:lnTo>
                      <a:lnTo>
                        <a:pt x="461" y="427"/>
                      </a:lnTo>
                      <a:lnTo>
                        <a:pt x="461" y="430"/>
                      </a:lnTo>
                      <a:lnTo>
                        <a:pt x="461" y="434"/>
                      </a:lnTo>
                      <a:lnTo>
                        <a:pt x="461" y="436"/>
                      </a:lnTo>
                      <a:lnTo>
                        <a:pt x="461" y="436"/>
                      </a:lnTo>
                      <a:lnTo>
                        <a:pt x="459" y="438"/>
                      </a:lnTo>
                      <a:lnTo>
                        <a:pt x="459" y="438"/>
                      </a:lnTo>
                      <a:lnTo>
                        <a:pt x="458" y="438"/>
                      </a:lnTo>
                      <a:lnTo>
                        <a:pt x="458" y="438"/>
                      </a:lnTo>
                      <a:lnTo>
                        <a:pt x="456" y="434"/>
                      </a:lnTo>
                      <a:lnTo>
                        <a:pt x="454" y="429"/>
                      </a:lnTo>
                      <a:lnTo>
                        <a:pt x="454" y="429"/>
                      </a:lnTo>
                      <a:lnTo>
                        <a:pt x="452" y="425"/>
                      </a:lnTo>
                      <a:lnTo>
                        <a:pt x="452" y="425"/>
                      </a:lnTo>
                      <a:lnTo>
                        <a:pt x="450" y="421"/>
                      </a:lnTo>
                      <a:lnTo>
                        <a:pt x="445" y="412"/>
                      </a:lnTo>
                      <a:lnTo>
                        <a:pt x="439" y="405"/>
                      </a:lnTo>
                      <a:lnTo>
                        <a:pt x="434" y="397"/>
                      </a:lnTo>
                      <a:lnTo>
                        <a:pt x="428" y="390"/>
                      </a:lnTo>
                      <a:lnTo>
                        <a:pt x="426" y="386"/>
                      </a:lnTo>
                      <a:lnTo>
                        <a:pt x="423" y="381"/>
                      </a:lnTo>
                      <a:lnTo>
                        <a:pt x="421" y="377"/>
                      </a:lnTo>
                      <a:lnTo>
                        <a:pt x="419" y="373"/>
                      </a:lnTo>
                      <a:lnTo>
                        <a:pt x="419" y="371"/>
                      </a:lnTo>
                      <a:lnTo>
                        <a:pt x="413" y="371"/>
                      </a:lnTo>
                      <a:lnTo>
                        <a:pt x="408" y="373"/>
                      </a:lnTo>
                      <a:lnTo>
                        <a:pt x="408" y="368"/>
                      </a:lnTo>
                      <a:lnTo>
                        <a:pt x="408" y="362"/>
                      </a:lnTo>
                      <a:lnTo>
                        <a:pt x="408" y="362"/>
                      </a:lnTo>
                      <a:lnTo>
                        <a:pt x="400" y="358"/>
                      </a:lnTo>
                      <a:lnTo>
                        <a:pt x="393" y="357"/>
                      </a:lnTo>
                      <a:lnTo>
                        <a:pt x="387" y="353"/>
                      </a:lnTo>
                      <a:lnTo>
                        <a:pt x="380" y="351"/>
                      </a:lnTo>
                      <a:lnTo>
                        <a:pt x="380" y="347"/>
                      </a:lnTo>
                      <a:lnTo>
                        <a:pt x="378" y="344"/>
                      </a:lnTo>
                      <a:lnTo>
                        <a:pt x="378" y="338"/>
                      </a:lnTo>
                      <a:lnTo>
                        <a:pt x="376" y="335"/>
                      </a:lnTo>
                      <a:lnTo>
                        <a:pt x="376" y="333"/>
                      </a:lnTo>
                      <a:lnTo>
                        <a:pt x="373" y="336"/>
                      </a:lnTo>
                      <a:lnTo>
                        <a:pt x="371" y="340"/>
                      </a:lnTo>
                      <a:lnTo>
                        <a:pt x="369" y="336"/>
                      </a:lnTo>
                      <a:lnTo>
                        <a:pt x="365" y="335"/>
                      </a:lnTo>
                      <a:lnTo>
                        <a:pt x="365" y="335"/>
                      </a:lnTo>
                      <a:lnTo>
                        <a:pt x="362" y="336"/>
                      </a:lnTo>
                      <a:lnTo>
                        <a:pt x="362" y="336"/>
                      </a:lnTo>
                      <a:lnTo>
                        <a:pt x="360" y="340"/>
                      </a:lnTo>
                      <a:lnTo>
                        <a:pt x="360" y="338"/>
                      </a:lnTo>
                      <a:lnTo>
                        <a:pt x="358" y="335"/>
                      </a:lnTo>
                      <a:lnTo>
                        <a:pt x="356" y="331"/>
                      </a:lnTo>
                      <a:lnTo>
                        <a:pt x="354" y="329"/>
                      </a:lnTo>
                      <a:lnTo>
                        <a:pt x="354" y="327"/>
                      </a:lnTo>
                      <a:lnTo>
                        <a:pt x="345" y="327"/>
                      </a:lnTo>
                      <a:lnTo>
                        <a:pt x="336" y="325"/>
                      </a:lnTo>
                      <a:lnTo>
                        <a:pt x="328" y="325"/>
                      </a:lnTo>
                      <a:lnTo>
                        <a:pt x="319" y="323"/>
                      </a:lnTo>
                      <a:lnTo>
                        <a:pt x="319" y="323"/>
                      </a:lnTo>
                      <a:lnTo>
                        <a:pt x="317" y="329"/>
                      </a:lnTo>
                      <a:lnTo>
                        <a:pt x="316" y="333"/>
                      </a:lnTo>
                      <a:lnTo>
                        <a:pt x="316" y="333"/>
                      </a:lnTo>
                      <a:lnTo>
                        <a:pt x="316" y="335"/>
                      </a:lnTo>
                      <a:lnTo>
                        <a:pt x="316" y="335"/>
                      </a:lnTo>
                      <a:lnTo>
                        <a:pt x="314" y="338"/>
                      </a:lnTo>
                      <a:lnTo>
                        <a:pt x="299" y="335"/>
                      </a:lnTo>
                      <a:lnTo>
                        <a:pt x="286" y="333"/>
                      </a:lnTo>
                      <a:lnTo>
                        <a:pt x="277" y="331"/>
                      </a:lnTo>
                      <a:lnTo>
                        <a:pt x="269" y="329"/>
                      </a:lnTo>
                      <a:lnTo>
                        <a:pt x="264" y="327"/>
                      </a:lnTo>
                      <a:lnTo>
                        <a:pt x="264" y="327"/>
                      </a:lnTo>
                      <a:lnTo>
                        <a:pt x="258" y="327"/>
                      </a:lnTo>
                      <a:lnTo>
                        <a:pt x="255" y="327"/>
                      </a:lnTo>
                      <a:lnTo>
                        <a:pt x="247" y="327"/>
                      </a:lnTo>
                      <a:lnTo>
                        <a:pt x="247" y="327"/>
                      </a:lnTo>
                      <a:lnTo>
                        <a:pt x="240" y="331"/>
                      </a:lnTo>
                      <a:lnTo>
                        <a:pt x="232" y="335"/>
                      </a:lnTo>
                      <a:lnTo>
                        <a:pt x="225" y="340"/>
                      </a:lnTo>
                      <a:lnTo>
                        <a:pt x="218" y="342"/>
                      </a:lnTo>
                      <a:lnTo>
                        <a:pt x="212" y="346"/>
                      </a:lnTo>
                      <a:lnTo>
                        <a:pt x="205" y="349"/>
                      </a:lnTo>
                      <a:lnTo>
                        <a:pt x="196" y="351"/>
                      </a:lnTo>
                      <a:lnTo>
                        <a:pt x="188" y="351"/>
                      </a:lnTo>
                      <a:lnTo>
                        <a:pt x="183" y="351"/>
                      </a:lnTo>
                      <a:lnTo>
                        <a:pt x="179" y="351"/>
                      </a:lnTo>
                      <a:lnTo>
                        <a:pt x="175" y="351"/>
                      </a:lnTo>
                      <a:lnTo>
                        <a:pt x="172" y="351"/>
                      </a:lnTo>
                      <a:lnTo>
                        <a:pt x="170" y="346"/>
                      </a:lnTo>
                      <a:lnTo>
                        <a:pt x="170" y="338"/>
                      </a:lnTo>
                      <a:lnTo>
                        <a:pt x="168" y="333"/>
                      </a:lnTo>
                      <a:lnTo>
                        <a:pt x="166" y="325"/>
                      </a:lnTo>
                      <a:lnTo>
                        <a:pt x="166" y="325"/>
                      </a:lnTo>
                      <a:lnTo>
                        <a:pt x="160" y="325"/>
                      </a:lnTo>
                      <a:lnTo>
                        <a:pt x="157" y="325"/>
                      </a:lnTo>
                      <a:lnTo>
                        <a:pt x="153" y="325"/>
                      </a:lnTo>
                      <a:lnTo>
                        <a:pt x="149" y="325"/>
                      </a:lnTo>
                      <a:lnTo>
                        <a:pt x="149" y="314"/>
                      </a:lnTo>
                      <a:lnTo>
                        <a:pt x="149" y="303"/>
                      </a:lnTo>
                      <a:lnTo>
                        <a:pt x="148" y="294"/>
                      </a:lnTo>
                      <a:lnTo>
                        <a:pt x="148" y="285"/>
                      </a:lnTo>
                      <a:lnTo>
                        <a:pt x="149" y="285"/>
                      </a:lnTo>
                      <a:lnTo>
                        <a:pt x="153" y="287"/>
                      </a:lnTo>
                      <a:lnTo>
                        <a:pt x="157" y="287"/>
                      </a:lnTo>
                      <a:lnTo>
                        <a:pt x="160" y="288"/>
                      </a:lnTo>
                      <a:lnTo>
                        <a:pt x="160" y="288"/>
                      </a:lnTo>
                      <a:lnTo>
                        <a:pt x="160" y="283"/>
                      </a:lnTo>
                      <a:lnTo>
                        <a:pt x="160" y="275"/>
                      </a:lnTo>
                      <a:lnTo>
                        <a:pt x="160" y="275"/>
                      </a:lnTo>
                      <a:lnTo>
                        <a:pt x="155" y="272"/>
                      </a:lnTo>
                      <a:lnTo>
                        <a:pt x="149" y="268"/>
                      </a:lnTo>
                      <a:lnTo>
                        <a:pt x="144" y="266"/>
                      </a:lnTo>
                      <a:lnTo>
                        <a:pt x="138" y="263"/>
                      </a:lnTo>
                      <a:lnTo>
                        <a:pt x="138" y="255"/>
                      </a:lnTo>
                      <a:lnTo>
                        <a:pt x="138" y="255"/>
                      </a:lnTo>
                      <a:lnTo>
                        <a:pt x="136" y="248"/>
                      </a:lnTo>
                      <a:lnTo>
                        <a:pt x="136" y="240"/>
                      </a:lnTo>
                      <a:lnTo>
                        <a:pt x="135" y="233"/>
                      </a:lnTo>
                      <a:lnTo>
                        <a:pt x="133" y="226"/>
                      </a:lnTo>
                      <a:lnTo>
                        <a:pt x="133" y="226"/>
                      </a:lnTo>
                      <a:lnTo>
                        <a:pt x="131" y="220"/>
                      </a:lnTo>
                      <a:lnTo>
                        <a:pt x="127" y="213"/>
                      </a:lnTo>
                      <a:lnTo>
                        <a:pt x="124" y="205"/>
                      </a:lnTo>
                      <a:lnTo>
                        <a:pt x="120" y="203"/>
                      </a:lnTo>
                      <a:lnTo>
                        <a:pt x="116" y="203"/>
                      </a:lnTo>
                      <a:lnTo>
                        <a:pt x="112" y="203"/>
                      </a:lnTo>
                      <a:lnTo>
                        <a:pt x="109" y="203"/>
                      </a:lnTo>
                      <a:lnTo>
                        <a:pt x="109" y="203"/>
                      </a:lnTo>
                      <a:lnTo>
                        <a:pt x="105" y="207"/>
                      </a:lnTo>
                      <a:lnTo>
                        <a:pt x="101" y="209"/>
                      </a:lnTo>
                      <a:lnTo>
                        <a:pt x="100" y="203"/>
                      </a:lnTo>
                      <a:lnTo>
                        <a:pt x="96" y="196"/>
                      </a:lnTo>
                      <a:lnTo>
                        <a:pt x="92" y="189"/>
                      </a:lnTo>
                      <a:lnTo>
                        <a:pt x="90" y="181"/>
                      </a:lnTo>
                      <a:lnTo>
                        <a:pt x="83" y="181"/>
                      </a:lnTo>
                      <a:lnTo>
                        <a:pt x="79" y="181"/>
                      </a:lnTo>
                      <a:lnTo>
                        <a:pt x="79" y="181"/>
                      </a:lnTo>
                      <a:lnTo>
                        <a:pt x="76" y="181"/>
                      </a:lnTo>
                      <a:lnTo>
                        <a:pt x="76" y="181"/>
                      </a:lnTo>
                      <a:lnTo>
                        <a:pt x="72" y="181"/>
                      </a:lnTo>
                      <a:lnTo>
                        <a:pt x="72" y="181"/>
                      </a:lnTo>
                      <a:lnTo>
                        <a:pt x="68" y="183"/>
                      </a:lnTo>
                      <a:lnTo>
                        <a:pt x="65" y="183"/>
                      </a:lnTo>
                      <a:lnTo>
                        <a:pt x="65" y="183"/>
                      </a:lnTo>
                      <a:lnTo>
                        <a:pt x="61" y="187"/>
                      </a:lnTo>
                      <a:lnTo>
                        <a:pt x="55" y="189"/>
                      </a:lnTo>
                      <a:lnTo>
                        <a:pt x="55" y="189"/>
                      </a:lnTo>
                      <a:lnTo>
                        <a:pt x="55" y="194"/>
                      </a:lnTo>
                      <a:lnTo>
                        <a:pt x="55" y="200"/>
                      </a:lnTo>
                      <a:lnTo>
                        <a:pt x="48" y="198"/>
                      </a:lnTo>
                      <a:lnTo>
                        <a:pt x="42" y="196"/>
                      </a:lnTo>
                      <a:lnTo>
                        <a:pt x="35" y="196"/>
                      </a:lnTo>
                      <a:lnTo>
                        <a:pt x="29" y="194"/>
                      </a:lnTo>
                      <a:lnTo>
                        <a:pt x="29" y="191"/>
                      </a:lnTo>
                      <a:lnTo>
                        <a:pt x="29" y="187"/>
                      </a:lnTo>
                      <a:lnTo>
                        <a:pt x="29" y="183"/>
                      </a:lnTo>
                      <a:lnTo>
                        <a:pt x="29" y="179"/>
                      </a:lnTo>
                      <a:lnTo>
                        <a:pt x="31" y="178"/>
                      </a:lnTo>
                      <a:lnTo>
                        <a:pt x="33" y="178"/>
                      </a:lnTo>
                      <a:lnTo>
                        <a:pt x="37" y="176"/>
                      </a:lnTo>
                      <a:lnTo>
                        <a:pt x="41" y="176"/>
                      </a:lnTo>
                      <a:lnTo>
                        <a:pt x="41" y="176"/>
                      </a:lnTo>
                      <a:lnTo>
                        <a:pt x="41" y="172"/>
                      </a:lnTo>
                      <a:lnTo>
                        <a:pt x="42" y="168"/>
                      </a:lnTo>
                      <a:lnTo>
                        <a:pt x="44" y="165"/>
                      </a:lnTo>
                      <a:lnTo>
                        <a:pt x="44" y="163"/>
                      </a:lnTo>
                      <a:lnTo>
                        <a:pt x="44" y="161"/>
                      </a:lnTo>
                      <a:lnTo>
                        <a:pt x="35" y="161"/>
                      </a:lnTo>
                      <a:lnTo>
                        <a:pt x="26" y="159"/>
                      </a:lnTo>
                      <a:lnTo>
                        <a:pt x="15" y="157"/>
                      </a:lnTo>
                      <a:lnTo>
                        <a:pt x="5" y="157"/>
                      </a:lnTo>
                      <a:lnTo>
                        <a:pt x="5" y="148"/>
                      </a:lnTo>
                      <a:lnTo>
                        <a:pt x="4" y="148"/>
                      </a:lnTo>
                      <a:lnTo>
                        <a:pt x="5" y="148"/>
                      </a:lnTo>
                      <a:lnTo>
                        <a:pt x="4" y="148"/>
                      </a:lnTo>
                      <a:lnTo>
                        <a:pt x="5" y="148"/>
                      </a:lnTo>
                      <a:lnTo>
                        <a:pt x="4" y="141"/>
                      </a:lnTo>
                      <a:lnTo>
                        <a:pt x="2" y="132"/>
                      </a:lnTo>
                      <a:lnTo>
                        <a:pt x="2" y="124"/>
                      </a:lnTo>
                      <a:lnTo>
                        <a:pt x="0" y="126"/>
                      </a:lnTo>
                      <a:lnTo>
                        <a:pt x="0" y="126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2" y="133"/>
                      </a:lnTo>
                      <a:lnTo>
                        <a:pt x="2" y="141"/>
                      </a:lnTo>
                      <a:lnTo>
                        <a:pt x="4" y="148"/>
                      </a:lnTo>
                      <a:lnTo>
                        <a:pt x="4" y="148"/>
                      </a:lnTo>
                      <a:lnTo>
                        <a:pt x="5" y="157"/>
                      </a:lnTo>
                      <a:lnTo>
                        <a:pt x="15" y="159"/>
                      </a:lnTo>
                      <a:lnTo>
                        <a:pt x="24" y="161"/>
                      </a:lnTo>
                      <a:lnTo>
                        <a:pt x="35" y="161"/>
                      </a:lnTo>
                      <a:lnTo>
                        <a:pt x="42" y="163"/>
                      </a:lnTo>
                      <a:lnTo>
                        <a:pt x="42" y="165"/>
                      </a:lnTo>
                      <a:lnTo>
                        <a:pt x="41" y="168"/>
                      </a:lnTo>
                      <a:lnTo>
                        <a:pt x="41" y="170"/>
                      </a:lnTo>
                      <a:lnTo>
                        <a:pt x="41" y="170"/>
                      </a:lnTo>
                      <a:lnTo>
                        <a:pt x="39" y="174"/>
                      </a:lnTo>
                      <a:lnTo>
                        <a:pt x="37" y="174"/>
                      </a:lnTo>
                      <a:lnTo>
                        <a:pt x="37" y="174"/>
                      </a:lnTo>
                      <a:lnTo>
                        <a:pt x="33" y="176"/>
                      </a:lnTo>
                      <a:lnTo>
                        <a:pt x="31" y="176"/>
                      </a:lnTo>
                      <a:lnTo>
                        <a:pt x="28" y="178"/>
                      </a:lnTo>
                      <a:lnTo>
                        <a:pt x="28" y="178"/>
                      </a:lnTo>
                      <a:lnTo>
                        <a:pt x="28" y="183"/>
                      </a:lnTo>
                      <a:lnTo>
                        <a:pt x="28" y="187"/>
                      </a:lnTo>
                      <a:lnTo>
                        <a:pt x="28" y="191"/>
                      </a:lnTo>
                      <a:lnTo>
                        <a:pt x="28" y="196"/>
                      </a:lnTo>
                      <a:lnTo>
                        <a:pt x="28" y="196"/>
                      </a:lnTo>
                      <a:lnTo>
                        <a:pt x="35" y="198"/>
                      </a:lnTo>
                      <a:lnTo>
                        <a:pt x="41" y="198"/>
                      </a:lnTo>
                      <a:lnTo>
                        <a:pt x="48" y="200"/>
                      </a:lnTo>
                      <a:lnTo>
                        <a:pt x="55" y="202"/>
                      </a:lnTo>
                      <a:lnTo>
                        <a:pt x="55" y="202"/>
                      </a:lnTo>
                      <a:lnTo>
                        <a:pt x="55" y="194"/>
                      </a:lnTo>
                      <a:lnTo>
                        <a:pt x="55" y="191"/>
                      </a:lnTo>
                      <a:lnTo>
                        <a:pt x="61" y="187"/>
                      </a:lnTo>
                      <a:lnTo>
                        <a:pt x="65" y="185"/>
                      </a:lnTo>
                      <a:lnTo>
                        <a:pt x="68" y="183"/>
                      </a:lnTo>
                      <a:lnTo>
                        <a:pt x="72" y="183"/>
                      </a:lnTo>
                      <a:lnTo>
                        <a:pt x="76" y="183"/>
                      </a:lnTo>
                      <a:lnTo>
                        <a:pt x="79" y="183"/>
                      </a:lnTo>
                      <a:lnTo>
                        <a:pt x="83" y="183"/>
                      </a:lnTo>
                      <a:lnTo>
                        <a:pt x="89" y="183"/>
                      </a:lnTo>
                      <a:lnTo>
                        <a:pt x="92" y="191"/>
                      </a:lnTo>
                      <a:lnTo>
                        <a:pt x="92" y="191"/>
                      </a:lnTo>
                      <a:lnTo>
                        <a:pt x="94" y="196"/>
                      </a:lnTo>
                      <a:lnTo>
                        <a:pt x="94" y="196"/>
                      </a:lnTo>
                      <a:lnTo>
                        <a:pt x="98" y="203"/>
                      </a:lnTo>
                      <a:lnTo>
                        <a:pt x="101" y="213"/>
                      </a:lnTo>
                      <a:lnTo>
                        <a:pt x="105" y="207"/>
                      </a:lnTo>
                      <a:lnTo>
                        <a:pt x="109" y="205"/>
                      </a:lnTo>
                      <a:lnTo>
                        <a:pt x="112" y="205"/>
                      </a:lnTo>
                      <a:lnTo>
                        <a:pt x="116" y="205"/>
                      </a:lnTo>
                      <a:lnTo>
                        <a:pt x="120" y="205"/>
                      </a:lnTo>
                      <a:lnTo>
                        <a:pt x="124" y="205"/>
                      </a:lnTo>
                      <a:lnTo>
                        <a:pt x="127" y="213"/>
                      </a:lnTo>
                      <a:lnTo>
                        <a:pt x="129" y="220"/>
                      </a:lnTo>
                      <a:lnTo>
                        <a:pt x="131" y="227"/>
                      </a:lnTo>
                      <a:lnTo>
                        <a:pt x="133" y="233"/>
                      </a:lnTo>
                      <a:lnTo>
                        <a:pt x="135" y="240"/>
                      </a:lnTo>
                      <a:lnTo>
                        <a:pt x="136" y="248"/>
                      </a:lnTo>
                      <a:lnTo>
                        <a:pt x="136" y="255"/>
                      </a:lnTo>
                      <a:lnTo>
                        <a:pt x="136" y="263"/>
                      </a:lnTo>
                      <a:lnTo>
                        <a:pt x="136" y="263"/>
                      </a:lnTo>
                      <a:lnTo>
                        <a:pt x="144" y="266"/>
                      </a:lnTo>
                      <a:lnTo>
                        <a:pt x="148" y="270"/>
                      </a:lnTo>
                      <a:lnTo>
                        <a:pt x="153" y="274"/>
                      </a:lnTo>
                      <a:lnTo>
                        <a:pt x="159" y="277"/>
                      </a:lnTo>
                      <a:lnTo>
                        <a:pt x="159" y="283"/>
                      </a:lnTo>
                      <a:lnTo>
                        <a:pt x="159" y="287"/>
                      </a:lnTo>
                      <a:lnTo>
                        <a:pt x="157" y="285"/>
                      </a:lnTo>
                      <a:lnTo>
                        <a:pt x="153" y="285"/>
                      </a:lnTo>
                      <a:lnTo>
                        <a:pt x="151" y="283"/>
                      </a:lnTo>
                      <a:lnTo>
                        <a:pt x="148" y="283"/>
                      </a:lnTo>
                      <a:lnTo>
                        <a:pt x="146" y="281"/>
                      </a:lnTo>
                      <a:lnTo>
                        <a:pt x="148" y="294"/>
                      </a:lnTo>
                      <a:lnTo>
                        <a:pt x="148" y="303"/>
                      </a:lnTo>
                      <a:lnTo>
                        <a:pt x="148" y="314"/>
                      </a:lnTo>
                      <a:lnTo>
                        <a:pt x="148" y="327"/>
                      </a:lnTo>
                      <a:lnTo>
                        <a:pt x="153" y="327"/>
                      </a:lnTo>
                      <a:lnTo>
                        <a:pt x="157" y="327"/>
                      </a:lnTo>
                      <a:lnTo>
                        <a:pt x="160" y="327"/>
                      </a:lnTo>
                      <a:lnTo>
                        <a:pt x="164" y="327"/>
                      </a:lnTo>
                      <a:lnTo>
                        <a:pt x="166" y="333"/>
                      </a:lnTo>
                      <a:lnTo>
                        <a:pt x="168" y="338"/>
                      </a:lnTo>
                      <a:lnTo>
                        <a:pt x="170" y="346"/>
                      </a:lnTo>
                      <a:lnTo>
                        <a:pt x="172" y="353"/>
                      </a:lnTo>
                      <a:lnTo>
                        <a:pt x="172" y="353"/>
                      </a:lnTo>
                      <a:lnTo>
                        <a:pt x="175" y="353"/>
                      </a:lnTo>
                      <a:lnTo>
                        <a:pt x="179" y="353"/>
                      </a:lnTo>
                      <a:lnTo>
                        <a:pt x="183" y="353"/>
                      </a:lnTo>
                      <a:lnTo>
                        <a:pt x="188" y="353"/>
                      </a:lnTo>
                      <a:lnTo>
                        <a:pt x="188" y="353"/>
                      </a:lnTo>
                      <a:lnTo>
                        <a:pt x="188" y="353"/>
                      </a:lnTo>
                      <a:lnTo>
                        <a:pt x="197" y="351"/>
                      </a:lnTo>
                      <a:lnTo>
                        <a:pt x="205" y="349"/>
                      </a:lnTo>
                      <a:lnTo>
                        <a:pt x="212" y="347"/>
                      </a:lnTo>
                      <a:lnTo>
                        <a:pt x="220" y="344"/>
                      </a:lnTo>
                      <a:lnTo>
                        <a:pt x="225" y="340"/>
                      </a:lnTo>
                      <a:lnTo>
                        <a:pt x="232" y="336"/>
                      </a:lnTo>
                      <a:lnTo>
                        <a:pt x="240" y="333"/>
                      </a:lnTo>
                      <a:lnTo>
                        <a:pt x="247" y="329"/>
                      </a:lnTo>
                      <a:lnTo>
                        <a:pt x="255" y="329"/>
                      </a:lnTo>
                      <a:lnTo>
                        <a:pt x="258" y="329"/>
                      </a:lnTo>
                      <a:lnTo>
                        <a:pt x="262" y="329"/>
                      </a:lnTo>
                      <a:lnTo>
                        <a:pt x="269" y="331"/>
                      </a:lnTo>
                      <a:lnTo>
                        <a:pt x="277" y="331"/>
                      </a:lnTo>
                      <a:lnTo>
                        <a:pt x="286" y="333"/>
                      </a:lnTo>
                      <a:lnTo>
                        <a:pt x="299" y="336"/>
                      </a:lnTo>
                      <a:lnTo>
                        <a:pt x="316" y="340"/>
                      </a:lnTo>
                      <a:lnTo>
                        <a:pt x="316" y="336"/>
                      </a:lnTo>
                      <a:lnTo>
                        <a:pt x="317" y="333"/>
                      </a:lnTo>
                      <a:lnTo>
                        <a:pt x="319" y="329"/>
                      </a:lnTo>
                      <a:lnTo>
                        <a:pt x="317" y="329"/>
                      </a:lnTo>
                      <a:lnTo>
                        <a:pt x="319" y="329"/>
                      </a:lnTo>
                      <a:lnTo>
                        <a:pt x="317" y="329"/>
                      </a:lnTo>
                      <a:lnTo>
                        <a:pt x="319" y="329"/>
                      </a:lnTo>
                      <a:lnTo>
                        <a:pt x="319" y="325"/>
                      </a:lnTo>
                      <a:lnTo>
                        <a:pt x="327" y="327"/>
                      </a:lnTo>
                      <a:lnTo>
                        <a:pt x="336" y="327"/>
                      </a:lnTo>
                      <a:lnTo>
                        <a:pt x="345" y="329"/>
                      </a:lnTo>
                      <a:lnTo>
                        <a:pt x="352" y="329"/>
                      </a:lnTo>
                      <a:lnTo>
                        <a:pt x="354" y="333"/>
                      </a:lnTo>
                      <a:lnTo>
                        <a:pt x="356" y="335"/>
                      </a:lnTo>
                      <a:lnTo>
                        <a:pt x="356" y="335"/>
                      </a:lnTo>
                      <a:lnTo>
                        <a:pt x="358" y="338"/>
                      </a:lnTo>
                      <a:lnTo>
                        <a:pt x="360" y="342"/>
                      </a:lnTo>
                      <a:lnTo>
                        <a:pt x="360" y="342"/>
                      </a:lnTo>
                      <a:lnTo>
                        <a:pt x="363" y="338"/>
                      </a:lnTo>
                      <a:lnTo>
                        <a:pt x="365" y="336"/>
                      </a:lnTo>
                      <a:lnTo>
                        <a:pt x="367" y="338"/>
                      </a:lnTo>
                      <a:lnTo>
                        <a:pt x="367" y="338"/>
                      </a:lnTo>
                      <a:lnTo>
                        <a:pt x="371" y="342"/>
                      </a:lnTo>
                      <a:lnTo>
                        <a:pt x="371" y="342"/>
                      </a:lnTo>
                      <a:lnTo>
                        <a:pt x="375" y="338"/>
                      </a:lnTo>
                      <a:lnTo>
                        <a:pt x="376" y="336"/>
                      </a:lnTo>
                      <a:lnTo>
                        <a:pt x="376" y="340"/>
                      </a:lnTo>
                      <a:lnTo>
                        <a:pt x="376" y="344"/>
                      </a:lnTo>
                      <a:lnTo>
                        <a:pt x="378" y="347"/>
                      </a:lnTo>
                      <a:lnTo>
                        <a:pt x="378" y="351"/>
                      </a:lnTo>
                      <a:lnTo>
                        <a:pt x="378" y="353"/>
                      </a:lnTo>
                      <a:lnTo>
                        <a:pt x="386" y="355"/>
                      </a:lnTo>
                      <a:lnTo>
                        <a:pt x="393" y="357"/>
                      </a:lnTo>
                      <a:lnTo>
                        <a:pt x="400" y="360"/>
                      </a:lnTo>
                      <a:lnTo>
                        <a:pt x="406" y="362"/>
                      </a:lnTo>
                      <a:lnTo>
                        <a:pt x="406" y="368"/>
                      </a:lnTo>
                      <a:lnTo>
                        <a:pt x="406" y="373"/>
                      </a:lnTo>
                      <a:lnTo>
                        <a:pt x="406" y="373"/>
                      </a:lnTo>
                      <a:lnTo>
                        <a:pt x="413" y="373"/>
                      </a:lnTo>
                      <a:lnTo>
                        <a:pt x="417" y="373"/>
                      </a:lnTo>
                      <a:lnTo>
                        <a:pt x="421" y="379"/>
                      </a:lnTo>
                      <a:lnTo>
                        <a:pt x="423" y="382"/>
                      </a:lnTo>
                      <a:lnTo>
                        <a:pt x="424" y="386"/>
                      </a:lnTo>
                      <a:lnTo>
                        <a:pt x="428" y="390"/>
                      </a:lnTo>
                      <a:lnTo>
                        <a:pt x="432" y="399"/>
                      </a:lnTo>
                      <a:lnTo>
                        <a:pt x="439" y="406"/>
                      </a:lnTo>
                      <a:lnTo>
                        <a:pt x="445" y="414"/>
                      </a:lnTo>
                      <a:lnTo>
                        <a:pt x="448" y="421"/>
                      </a:lnTo>
                      <a:lnTo>
                        <a:pt x="450" y="425"/>
                      </a:lnTo>
                      <a:lnTo>
                        <a:pt x="452" y="430"/>
                      </a:lnTo>
                      <a:lnTo>
                        <a:pt x="454" y="434"/>
                      </a:lnTo>
                      <a:lnTo>
                        <a:pt x="454" y="434"/>
                      </a:lnTo>
                      <a:lnTo>
                        <a:pt x="456" y="438"/>
                      </a:lnTo>
                      <a:lnTo>
                        <a:pt x="456" y="440"/>
                      </a:lnTo>
                      <a:lnTo>
                        <a:pt x="458" y="440"/>
                      </a:lnTo>
                      <a:lnTo>
                        <a:pt x="459" y="440"/>
                      </a:lnTo>
                      <a:lnTo>
                        <a:pt x="459" y="440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1" y="438"/>
                      </a:lnTo>
                      <a:lnTo>
                        <a:pt x="463" y="436"/>
                      </a:lnTo>
                      <a:lnTo>
                        <a:pt x="463" y="434"/>
                      </a:lnTo>
                      <a:lnTo>
                        <a:pt x="463" y="434"/>
                      </a:lnTo>
                      <a:lnTo>
                        <a:pt x="463" y="430"/>
                      </a:lnTo>
                      <a:lnTo>
                        <a:pt x="463" y="429"/>
                      </a:lnTo>
                      <a:lnTo>
                        <a:pt x="463" y="429"/>
                      </a:lnTo>
                      <a:lnTo>
                        <a:pt x="465" y="430"/>
                      </a:lnTo>
                      <a:lnTo>
                        <a:pt x="469" y="432"/>
                      </a:lnTo>
                      <a:lnTo>
                        <a:pt x="471" y="436"/>
                      </a:lnTo>
                      <a:lnTo>
                        <a:pt x="478" y="445"/>
                      </a:lnTo>
                      <a:lnTo>
                        <a:pt x="478" y="445"/>
                      </a:lnTo>
                      <a:lnTo>
                        <a:pt x="485" y="454"/>
                      </a:lnTo>
                      <a:lnTo>
                        <a:pt x="493" y="466"/>
                      </a:lnTo>
                      <a:lnTo>
                        <a:pt x="498" y="477"/>
                      </a:lnTo>
                      <a:lnTo>
                        <a:pt x="502" y="482"/>
                      </a:lnTo>
                      <a:lnTo>
                        <a:pt x="504" y="486"/>
                      </a:lnTo>
                      <a:lnTo>
                        <a:pt x="506" y="490"/>
                      </a:lnTo>
                      <a:lnTo>
                        <a:pt x="506" y="493"/>
                      </a:lnTo>
                      <a:lnTo>
                        <a:pt x="506" y="493"/>
                      </a:lnTo>
                      <a:lnTo>
                        <a:pt x="511" y="495"/>
                      </a:lnTo>
                      <a:lnTo>
                        <a:pt x="517" y="497"/>
                      </a:lnTo>
                      <a:lnTo>
                        <a:pt x="522" y="497"/>
                      </a:lnTo>
                      <a:lnTo>
                        <a:pt x="528" y="499"/>
                      </a:lnTo>
                      <a:lnTo>
                        <a:pt x="530" y="506"/>
                      </a:lnTo>
                      <a:lnTo>
                        <a:pt x="533" y="515"/>
                      </a:lnTo>
                      <a:lnTo>
                        <a:pt x="535" y="523"/>
                      </a:lnTo>
                      <a:lnTo>
                        <a:pt x="539" y="532"/>
                      </a:lnTo>
                      <a:lnTo>
                        <a:pt x="550" y="532"/>
                      </a:lnTo>
                      <a:lnTo>
                        <a:pt x="561" y="534"/>
                      </a:lnTo>
                      <a:lnTo>
                        <a:pt x="572" y="536"/>
                      </a:lnTo>
                      <a:lnTo>
                        <a:pt x="583" y="537"/>
                      </a:lnTo>
                      <a:lnTo>
                        <a:pt x="583" y="530"/>
                      </a:lnTo>
                      <a:lnTo>
                        <a:pt x="583" y="526"/>
                      </a:lnTo>
                      <a:lnTo>
                        <a:pt x="600" y="525"/>
                      </a:lnTo>
                      <a:lnTo>
                        <a:pt x="613" y="525"/>
                      </a:lnTo>
                      <a:lnTo>
                        <a:pt x="622" y="523"/>
                      </a:lnTo>
                      <a:lnTo>
                        <a:pt x="627" y="523"/>
                      </a:lnTo>
                      <a:lnTo>
                        <a:pt x="633" y="523"/>
                      </a:lnTo>
                      <a:lnTo>
                        <a:pt x="633" y="523"/>
                      </a:lnTo>
                      <a:lnTo>
                        <a:pt x="638" y="521"/>
                      </a:lnTo>
                      <a:lnTo>
                        <a:pt x="638" y="521"/>
                      </a:lnTo>
                      <a:lnTo>
                        <a:pt x="642" y="519"/>
                      </a:lnTo>
                      <a:lnTo>
                        <a:pt x="646" y="517"/>
                      </a:lnTo>
                      <a:lnTo>
                        <a:pt x="657" y="521"/>
                      </a:lnTo>
                      <a:lnTo>
                        <a:pt x="666" y="525"/>
                      </a:lnTo>
                      <a:lnTo>
                        <a:pt x="674" y="528"/>
                      </a:lnTo>
                      <a:lnTo>
                        <a:pt x="683" y="530"/>
                      </a:lnTo>
                      <a:lnTo>
                        <a:pt x="690" y="530"/>
                      </a:lnTo>
                      <a:lnTo>
                        <a:pt x="699" y="530"/>
                      </a:lnTo>
                      <a:lnTo>
                        <a:pt x="709" y="530"/>
                      </a:lnTo>
                      <a:lnTo>
                        <a:pt x="722" y="530"/>
                      </a:lnTo>
                      <a:lnTo>
                        <a:pt x="722" y="521"/>
                      </a:lnTo>
                      <a:lnTo>
                        <a:pt x="723" y="510"/>
                      </a:lnTo>
                      <a:lnTo>
                        <a:pt x="725" y="501"/>
                      </a:lnTo>
                      <a:lnTo>
                        <a:pt x="727" y="493"/>
                      </a:lnTo>
                      <a:lnTo>
                        <a:pt x="733" y="491"/>
                      </a:lnTo>
                      <a:lnTo>
                        <a:pt x="733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1"/>
                      </a:lnTo>
                      <a:lnTo>
                        <a:pt x="736" y="490"/>
                      </a:lnTo>
                      <a:lnTo>
                        <a:pt x="736" y="490"/>
                      </a:lnTo>
                      <a:lnTo>
                        <a:pt x="738" y="488"/>
                      </a:lnTo>
                      <a:lnTo>
                        <a:pt x="738" y="488"/>
                      </a:lnTo>
                      <a:lnTo>
                        <a:pt x="738" y="486"/>
                      </a:lnTo>
                      <a:lnTo>
                        <a:pt x="738" y="477"/>
                      </a:lnTo>
                      <a:lnTo>
                        <a:pt x="738" y="467"/>
                      </a:lnTo>
                      <a:lnTo>
                        <a:pt x="738" y="458"/>
                      </a:lnTo>
                      <a:lnTo>
                        <a:pt x="738" y="449"/>
                      </a:lnTo>
                      <a:lnTo>
                        <a:pt x="738" y="447"/>
                      </a:lnTo>
                      <a:lnTo>
                        <a:pt x="731" y="447"/>
                      </a:lnTo>
                      <a:lnTo>
                        <a:pt x="725" y="447"/>
                      </a:lnTo>
                      <a:lnTo>
                        <a:pt x="720" y="438"/>
                      </a:lnTo>
                      <a:lnTo>
                        <a:pt x="714" y="429"/>
                      </a:lnTo>
                      <a:lnTo>
                        <a:pt x="712" y="427"/>
                      </a:lnTo>
                      <a:lnTo>
                        <a:pt x="710" y="423"/>
                      </a:lnTo>
                      <a:lnTo>
                        <a:pt x="707" y="421"/>
                      </a:lnTo>
                      <a:lnTo>
                        <a:pt x="707" y="421"/>
                      </a:lnTo>
                      <a:lnTo>
                        <a:pt x="705" y="419"/>
                      </a:lnTo>
                      <a:lnTo>
                        <a:pt x="701" y="416"/>
                      </a:lnTo>
                      <a:lnTo>
                        <a:pt x="701" y="416"/>
                      </a:lnTo>
                      <a:lnTo>
                        <a:pt x="699" y="414"/>
                      </a:lnTo>
                      <a:lnTo>
                        <a:pt x="699" y="414"/>
                      </a:lnTo>
                      <a:lnTo>
                        <a:pt x="696" y="414"/>
                      </a:lnTo>
                      <a:lnTo>
                        <a:pt x="692" y="412"/>
                      </a:lnTo>
                      <a:lnTo>
                        <a:pt x="692" y="412"/>
                      </a:lnTo>
                      <a:lnTo>
                        <a:pt x="683" y="408"/>
                      </a:lnTo>
                      <a:lnTo>
                        <a:pt x="672" y="405"/>
                      </a:lnTo>
                      <a:lnTo>
                        <a:pt x="674" y="403"/>
                      </a:lnTo>
                      <a:lnTo>
                        <a:pt x="674" y="403"/>
                      </a:lnTo>
                      <a:lnTo>
                        <a:pt x="674" y="399"/>
                      </a:lnTo>
                      <a:lnTo>
                        <a:pt x="675" y="397"/>
                      </a:lnTo>
                      <a:lnTo>
                        <a:pt x="677" y="394"/>
                      </a:lnTo>
                      <a:lnTo>
                        <a:pt x="677" y="394"/>
                      </a:lnTo>
                      <a:lnTo>
                        <a:pt x="672" y="394"/>
                      </a:lnTo>
                      <a:lnTo>
                        <a:pt x="666" y="395"/>
                      </a:lnTo>
                      <a:lnTo>
                        <a:pt x="662" y="395"/>
                      </a:lnTo>
                      <a:lnTo>
                        <a:pt x="659" y="397"/>
                      </a:lnTo>
                      <a:lnTo>
                        <a:pt x="657" y="392"/>
                      </a:lnTo>
                      <a:lnTo>
                        <a:pt x="653" y="386"/>
                      </a:lnTo>
                      <a:lnTo>
                        <a:pt x="651" y="381"/>
                      </a:lnTo>
                      <a:lnTo>
                        <a:pt x="650" y="377"/>
                      </a:lnTo>
                      <a:lnTo>
                        <a:pt x="655" y="375"/>
                      </a:lnTo>
                      <a:lnTo>
                        <a:pt x="659" y="373"/>
                      </a:lnTo>
                      <a:lnTo>
                        <a:pt x="661" y="373"/>
                      </a:lnTo>
                      <a:lnTo>
                        <a:pt x="661" y="364"/>
                      </a:lnTo>
                      <a:lnTo>
                        <a:pt x="661" y="355"/>
                      </a:lnTo>
                      <a:lnTo>
                        <a:pt x="661" y="346"/>
                      </a:lnTo>
                      <a:lnTo>
                        <a:pt x="661" y="346"/>
                      </a:lnTo>
                      <a:lnTo>
                        <a:pt x="661" y="338"/>
                      </a:lnTo>
                      <a:lnTo>
                        <a:pt x="661" y="335"/>
                      </a:lnTo>
                      <a:lnTo>
                        <a:pt x="661" y="331"/>
                      </a:lnTo>
                      <a:lnTo>
                        <a:pt x="661" y="327"/>
                      </a:lnTo>
                      <a:lnTo>
                        <a:pt x="661" y="322"/>
                      </a:lnTo>
                      <a:lnTo>
                        <a:pt x="659" y="323"/>
                      </a:lnTo>
                      <a:lnTo>
                        <a:pt x="661" y="322"/>
                      </a:lnTo>
                      <a:lnTo>
                        <a:pt x="659" y="323"/>
                      </a:lnTo>
                      <a:lnTo>
                        <a:pt x="661" y="322"/>
                      </a:lnTo>
                      <a:lnTo>
                        <a:pt x="659" y="318"/>
                      </a:lnTo>
                      <a:lnTo>
                        <a:pt x="659" y="318"/>
                      </a:lnTo>
                      <a:lnTo>
                        <a:pt x="657" y="314"/>
                      </a:lnTo>
                      <a:lnTo>
                        <a:pt x="655" y="311"/>
                      </a:lnTo>
                      <a:lnTo>
                        <a:pt x="655" y="311"/>
                      </a:lnTo>
                      <a:lnTo>
                        <a:pt x="655" y="307"/>
                      </a:lnTo>
                      <a:lnTo>
                        <a:pt x="659" y="305"/>
                      </a:lnTo>
                      <a:lnTo>
                        <a:pt x="662" y="303"/>
                      </a:lnTo>
                      <a:lnTo>
                        <a:pt x="662" y="303"/>
                      </a:lnTo>
                      <a:lnTo>
                        <a:pt x="668" y="301"/>
                      </a:lnTo>
                      <a:lnTo>
                        <a:pt x="672" y="298"/>
                      </a:lnTo>
                      <a:lnTo>
                        <a:pt x="672" y="298"/>
                      </a:lnTo>
                      <a:lnTo>
                        <a:pt x="675" y="294"/>
                      </a:lnTo>
                      <a:lnTo>
                        <a:pt x="675" y="294"/>
                      </a:lnTo>
                      <a:lnTo>
                        <a:pt x="677" y="290"/>
                      </a:lnTo>
                      <a:lnTo>
                        <a:pt x="679" y="285"/>
                      </a:lnTo>
                      <a:lnTo>
                        <a:pt x="683" y="281"/>
                      </a:lnTo>
                      <a:lnTo>
                        <a:pt x="683" y="281"/>
                      </a:lnTo>
                      <a:lnTo>
                        <a:pt x="686" y="270"/>
                      </a:lnTo>
                      <a:lnTo>
                        <a:pt x="690" y="261"/>
                      </a:lnTo>
                      <a:lnTo>
                        <a:pt x="694" y="250"/>
                      </a:lnTo>
                      <a:lnTo>
                        <a:pt x="698" y="242"/>
                      </a:lnTo>
                      <a:lnTo>
                        <a:pt x="701" y="240"/>
                      </a:lnTo>
                      <a:lnTo>
                        <a:pt x="701" y="240"/>
                      </a:lnTo>
                      <a:lnTo>
                        <a:pt x="705" y="240"/>
                      </a:lnTo>
                      <a:lnTo>
                        <a:pt x="705" y="240"/>
                      </a:lnTo>
                      <a:lnTo>
                        <a:pt x="707" y="239"/>
                      </a:lnTo>
                      <a:lnTo>
                        <a:pt x="710" y="237"/>
                      </a:lnTo>
                      <a:lnTo>
                        <a:pt x="710" y="237"/>
                      </a:lnTo>
                      <a:lnTo>
                        <a:pt x="712" y="235"/>
                      </a:lnTo>
                      <a:lnTo>
                        <a:pt x="712" y="235"/>
                      </a:lnTo>
                      <a:lnTo>
                        <a:pt x="714" y="231"/>
                      </a:lnTo>
                      <a:lnTo>
                        <a:pt x="714" y="227"/>
                      </a:lnTo>
                      <a:lnTo>
                        <a:pt x="716" y="226"/>
                      </a:lnTo>
                      <a:lnTo>
                        <a:pt x="718" y="224"/>
                      </a:lnTo>
                      <a:lnTo>
                        <a:pt x="712" y="222"/>
                      </a:lnTo>
                      <a:lnTo>
                        <a:pt x="709" y="222"/>
                      </a:lnTo>
                      <a:lnTo>
                        <a:pt x="709" y="222"/>
                      </a:lnTo>
                      <a:lnTo>
                        <a:pt x="707" y="220"/>
                      </a:lnTo>
                      <a:lnTo>
                        <a:pt x="703" y="218"/>
                      </a:lnTo>
                      <a:lnTo>
                        <a:pt x="701" y="215"/>
                      </a:lnTo>
                      <a:lnTo>
                        <a:pt x="699" y="209"/>
                      </a:lnTo>
                      <a:lnTo>
                        <a:pt x="699" y="203"/>
                      </a:lnTo>
                      <a:lnTo>
                        <a:pt x="698" y="198"/>
                      </a:lnTo>
                      <a:lnTo>
                        <a:pt x="705" y="198"/>
                      </a:lnTo>
                      <a:lnTo>
                        <a:pt x="714" y="196"/>
                      </a:lnTo>
                      <a:lnTo>
                        <a:pt x="722" y="196"/>
                      </a:lnTo>
                      <a:lnTo>
                        <a:pt x="729" y="196"/>
                      </a:lnTo>
                      <a:lnTo>
                        <a:pt x="738" y="194"/>
                      </a:lnTo>
                      <a:lnTo>
                        <a:pt x="746" y="194"/>
                      </a:lnTo>
                      <a:lnTo>
                        <a:pt x="755" y="192"/>
                      </a:lnTo>
                      <a:lnTo>
                        <a:pt x="762" y="192"/>
                      </a:lnTo>
                      <a:lnTo>
                        <a:pt x="764" y="192"/>
                      </a:lnTo>
                      <a:lnTo>
                        <a:pt x="762" y="183"/>
                      </a:lnTo>
                      <a:lnTo>
                        <a:pt x="760" y="176"/>
                      </a:lnTo>
                      <a:lnTo>
                        <a:pt x="758" y="167"/>
                      </a:lnTo>
                      <a:lnTo>
                        <a:pt x="758" y="159"/>
                      </a:lnTo>
                      <a:lnTo>
                        <a:pt x="757" y="159"/>
                      </a:lnTo>
                      <a:lnTo>
                        <a:pt x="751" y="159"/>
                      </a:lnTo>
                      <a:lnTo>
                        <a:pt x="747" y="159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4" y="146"/>
                      </a:lnTo>
                      <a:lnTo>
                        <a:pt x="742" y="132"/>
                      </a:lnTo>
                      <a:lnTo>
                        <a:pt x="738" y="119"/>
                      </a:lnTo>
                      <a:lnTo>
                        <a:pt x="736" y="104"/>
                      </a:lnTo>
                      <a:lnTo>
                        <a:pt x="729" y="104"/>
                      </a:lnTo>
                      <a:lnTo>
                        <a:pt x="725" y="104"/>
                      </a:lnTo>
                      <a:lnTo>
                        <a:pt x="725" y="100"/>
                      </a:lnTo>
                      <a:lnTo>
                        <a:pt x="725" y="95"/>
                      </a:lnTo>
                      <a:lnTo>
                        <a:pt x="725" y="93"/>
                      </a:lnTo>
                      <a:lnTo>
                        <a:pt x="720" y="93"/>
                      </a:lnTo>
                      <a:lnTo>
                        <a:pt x="716" y="93"/>
                      </a:lnTo>
                      <a:lnTo>
                        <a:pt x="712" y="93"/>
                      </a:lnTo>
                      <a:lnTo>
                        <a:pt x="709" y="93"/>
                      </a:lnTo>
                      <a:lnTo>
                        <a:pt x="707" y="93"/>
                      </a:lnTo>
                      <a:lnTo>
                        <a:pt x="705" y="102"/>
                      </a:lnTo>
                      <a:lnTo>
                        <a:pt x="703" y="108"/>
                      </a:lnTo>
                      <a:lnTo>
                        <a:pt x="703" y="111"/>
                      </a:lnTo>
                      <a:lnTo>
                        <a:pt x="701" y="113"/>
                      </a:lnTo>
                      <a:lnTo>
                        <a:pt x="699" y="117"/>
                      </a:lnTo>
                      <a:lnTo>
                        <a:pt x="699" y="117"/>
                      </a:lnTo>
                      <a:lnTo>
                        <a:pt x="699" y="119"/>
                      </a:lnTo>
                      <a:lnTo>
                        <a:pt x="698" y="120"/>
                      </a:lnTo>
                      <a:lnTo>
                        <a:pt x="696" y="122"/>
                      </a:lnTo>
                      <a:lnTo>
                        <a:pt x="694" y="124"/>
                      </a:lnTo>
                      <a:lnTo>
                        <a:pt x="692" y="124"/>
                      </a:lnTo>
                      <a:lnTo>
                        <a:pt x="688" y="126"/>
                      </a:lnTo>
                      <a:lnTo>
                        <a:pt x="686" y="126"/>
                      </a:lnTo>
                      <a:lnTo>
                        <a:pt x="683" y="128"/>
                      </a:lnTo>
                      <a:lnTo>
                        <a:pt x="679" y="128"/>
                      </a:lnTo>
                      <a:lnTo>
                        <a:pt x="679" y="128"/>
                      </a:lnTo>
                      <a:lnTo>
                        <a:pt x="675" y="135"/>
                      </a:lnTo>
                      <a:lnTo>
                        <a:pt x="672" y="144"/>
                      </a:lnTo>
                      <a:lnTo>
                        <a:pt x="668" y="152"/>
                      </a:lnTo>
                      <a:lnTo>
                        <a:pt x="664" y="159"/>
                      </a:lnTo>
                      <a:lnTo>
                        <a:pt x="661" y="161"/>
                      </a:lnTo>
                      <a:lnTo>
                        <a:pt x="655" y="161"/>
                      </a:lnTo>
                      <a:lnTo>
                        <a:pt x="655" y="161"/>
                      </a:lnTo>
                      <a:lnTo>
                        <a:pt x="651" y="163"/>
                      </a:lnTo>
                      <a:lnTo>
                        <a:pt x="648" y="165"/>
                      </a:lnTo>
                      <a:lnTo>
                        <a:pt x="646" y="165"/>
                      </a:lnTo>
                      <a:lnTo>
                        <a:pt x="646" y="170"/>
                      </a:lnTo>
                      <a:lnTo>
                        <a:pt x="646" y="176"/>
                      </a:lnTo>
                      <a:lnTo>
                        <a:pt x="642" y="176"/>
                      </a:lnTo>
                      <a:lnTo>
                        <a:pt x="637" y="178"/>
                      </a:lnTo>
                      <a:lnTo>
                        <a:pt x="631" y="179"/>
                      </a:lnTo>
                      <a:lnTo>
                        <a:pt x="626" y="181"/>
                      </a:lnTo>
                      <a:lnTo>
                        <a:pt x="626" y="181"/>
                      </a:lnTo>
                      <a:lnTo>
                        <a:pt x="626" y="187"/>
                      </a:lnTo>
                      <a:lnTo>
                        <a:pt x="626" y="192"/>
                      </a:lnTo>
                      <a:lnTo>
                        <a:pt x="622" y="191"/>
                      </a:lnTo>
                      <a:lnTo>
                        <a:pt x="620" y="191"/>
                      </a:lnTo>
                      <a:lnTo>
                        <a:pt x="616" y="189"/>
                      </a:lnTo>
                      <a:lnTo>
                        <a:pt x="613" y="187"/>
                      </a:lnTo>
                      <a:lnTo>
                        <a:pt x="613" y="187"/>
                      </a:lnTo>
                      <a:lnTo>
                        <a:pt x="611" y="192"/>
                      </a:lnTo>
                      <a:lnTo>
                        <a:pt x="611" y="192"/>
                      </a:lnTo>
                      <a:lnTo>
                        <a:pt x="609" y="198"/>
                      </a:lnTo>
                      <a:lnTo>
                        <a:pt x="605" y="198"/>
                      </a:lnTo>
                      <a:lnTo>
                        <a:pt x="602" y="198"/>
                      </a:lnTo>
                      <a:lnTo>
                        <a:pt x="596" y="198"/>
                      </a:lnTo>
                      <a:lnTo>
                        <a:pt x="592" y="198"/>
                      </a:lnTo>
                      <a:lnTo>
                        <a:pt x="589" y="189"/>
                      </a:lnTo>
                      <a:lnTo>
                        <a:pt x="583" y="179"/>
                      </a:lnTo>
                      <a:lnTo>
                        <a:pt x="578" y="170"/>
                      </a:lnTo>
                      <a:lnTo>
                        <a:pt x="572" y="159"/>
                      </a:lnTo>
                      <a:lnTo>
                        <a:pt x="561" y="163"/>
                      </a:lnTo>
                      <a:lnTo>
                        <a:pt x="550" y="165"/>
                      </a:lnTo>
                      <a:lnTo>
                        <a:pt x="537" y="168"/>
                      </a:lnTo>
                      <a:lnTo>
                        <a:pt x="528" y="170"/>
                      </a:lnTo>
                      <a:lnTo>
                        <a:pt x="528" y="163"/>
                      </a:lnTo>
                      <a:lnTo>
                        <a:pt x="530" y="154"/>
                      </a:lnTo>
                      <a:lnTo>
                        <a:pt x="530" y="146"/>
                      </a:lnTo>
                      <a:lnTo>
                        <a:pt x="531" y="137"/>
                      </a:lnTo>
                      <a:lnTo>
                        <a:pt x="533" y="135"/>
                      </a:lnTo>
                      <a:lnTo>
                        <a:pt x="537" y="135"/>
                      </a:lnTo>
                      <a:lnTo>
                        <a:pt x="541" y="135"/>
                      </a:lnTo>
                      <a:lnTo>
                        <a:pt x="542" y="133"/>
                      </a:lnTo>
                      <a:lnTo>
                        <a:pt x="544" y="133"/>
                      </a:lnTo>
                      <a:lnTo>
                        <a:pt x="544" y="126"/>
                      </a:lnTo>
                      <a:lnTo>
                        <a:pt x="544" y="119"/>
                      </a:lnTo>
                      <a:lnTo>
                        <a:pt x="544" y="111"/>
                      </a:lnTo>
                      <a:lnTo>
                        <a:pt x="546" y="104"/>
                      </a:lnTo>
                      <a:lnTo>
                        <a:pt x="548" y="98"/>
                      </a:lnTo>
                      <a:lnTo>
                        <a:pt x="550" y="91"/>
                      </a:lnTo>
                      <a:lnTo>
                        <a:pt x="550" y="85"/>
                      </a:lnTo>
                      <a:lnTo>
                        <a:pt x="552" y="80"/>
                      </a:lnTo>
                      <a:lnTo>
                        <a:pt x="552" y="78"/>
                      </a:lnTo>
                      <a:lnTo>
                        <a:pt x="557" y="67"/>
                      </a:lnTo>
                      <a:lnTo>
                        <a:pt x="561" y="54"/>
                      </a:lnTo>
                      <a:lnTo>
                        <a:pt x="566" y="39"/>
                      </a:lnTo>
                      <a:lnTo>
                        <a:pt x="570" y="24"/>
                      </a:lnTo>
                      <a:lnTo>
                        <a:pt x="576" y="24"/>
                      </a:lnTo>
                      <a:lnTo>
                        <a:pt x="581" y="24"/>
                      </a:lnTo>
                      <a:lnTo>
                        <a:pt x="581" y="24"/>
                      </a:lnTo>
                      <a:lnTo>
                        <a:pt x="581" y="19"/>
                      </a:lnTo>
                      <a:lnTo>
                        <a:pt x="581" y="15"/>
                      </a:lnTo>
                      <a:lnTo>
                        <a:pt x="581" y="12"/>
                      </a:lnTo>
                      <a:lnTo>
                        <a:pt x="581" y="8"/>
                      </a:lnTo>
                      <a:lnTo>
                        <a:pt x="581" y="6"/>
                      </a:lnTo>
                      <a:lnTo>
                        <a:pt x="576" y="8"/>
                      </a:lnTo>
                      <a:lnTo>
                        <a:pt x="576" y="8"/>
                      </a:lnTo>
                      <a:lnTo>
                        <a:pt x="572" y="8"/>
                      </a:lnTo>
                      <a:lnTo>
                        <a:pt x="566" y="10"/>
                      </a:lnTo>
                      <a:lnTo>
                        <a:pt x="563" y="10"/>
                      </a:lnTo>
                      <a:lnTo>
                        <a:pt x="561" y="6"/>
                      </a:lnTo>
                      <a:lnTo>
                        <a:pt x="559" y="2"/>
                      </a:lnTo>
                      <a:lnTo>
                        <a:pt x="55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4" name="Freeform 3008"/>
                <p:cNvSpPr>
                  <a:spLocks/>
                </p:cNvSpPr>
                <p:nvPr/>
              </p:nvSpPr>
              <p:spPr bwMode="auto">
                <a:xfrm>
                  <a:off x="4998" y="2205"/>
                  <a:ext cx="433" cy="556"/>
                </a:xfrm>
                <a:custGeom>
                  <a:avLst/>
                  <a:gdLst>
                    <a:gd name="T0" fmla="*/ 11 w 433"/>
                    <a:gd name="T1" fmla="*/ 4 h 556"/>
                    <a:gd name="T2" fmla="*/ 0 w 433"/>
                    <a:gd name="T3" fmla="*/ 17 h 556"/>
                    <a:gd name="T4" fmla="*/ 16 w 433"/>
                    <a:gd name="T5" fmla="*/ 22 h 556"/>
                    <a:gd name="T6" fmla="*/ 33 w 433"/>
                    <a:gd name="T7" fmla="*/ 35 h 556"/>
                    <a:gd name="T8" fmla="*/ 39 w 433"/>
                    <a:gd name="T9" fmla="*/ 46 h 556"/>
                    <a:gd name="T10" fmla="*/ 46 w 433"/>
                    <a:gd name="T11" fmla="*/ 52 h 556"/>
                    <a:gd name="T12" fmla="*/ 48 w 433"/>
                    <a:gd name="T13" fmla="*/ 58 h 556"/>
                    <a:gd name="T14" fmla="*/ 42 w 433"/>
                    <a:gd name="T15" fmla="*/ 70 h 556"/>
                    <a:gd name="T16" fmla="*/ 26 w 433"/>
                    <a:gd name="T17" fmla="*/ 82 h 556"/>
                    <a:gd name="T18" fmla="*/ 29 w 433"/>
                    <a:gd name="T19" fmla="*/ 96 h 556"/>
                    <a:gd name="T20" fmla="*/ 40 w 433"/>
                    <a:gd name="T21" fmla="*/ 106 h 556"/>
                    <a:gd name="T22" fmla="*/ 53 w 433"/>
                    <a:gd name="T23" fmla="*/ 120 h 556"/>
                    <a:gd name="T24" fmla="*/ 63 w 433"/>
                    <a:gd name="T25" fmla="*/ 139 h 556"/>
                    <a:gd name="T26" fmla="*/ 68 w 433"/>
                    <a:gd name="T27" fmla="*/ 157 h 556"/>
                    <a:gd name="T28" fmla="*/ 112 w 433"/>
                    <a:gd name="T29" fmla="*/ 196 h 556"/>
                    <a:gd name="T30" fmla="*/ 149 w 433"/>
                    <a:gd name="T31" fmla="*/ 231 h 556"/>
                    <a:gd name="T32" fmla="*/ 159 w 433"/>
                    <a:gd name="T33" fmla="*/ 246 h 556"/>
                    <a:gd name="T34" fmla="*/ 164 w 433"/>
                    <a:gd name="T35" fmla="*/ 266 h 556"/>
                    <a:gd name="T36" fmla="*/ 175 w 433"/>
                    <a:gd name="T37" fmla="*/ 272 h 556"/>
                    <a:gd name="T38" fmla="*/ 188 w 433"/>
                    <a:gd name="T39" fmla="*/ 283 h 556"/>
                    <a:gd name="T40" fmla="*/ 214 w 433"/>
                    <a:gd name="T41" fmla="*/ 318 h 556"/>
                    <a:gd name="T42" fmla="*/ 240 w 433"/>
                    <a:gd name="T43" fmla="*/ 373 h 556"/>
                    <a:gd name="T44" fmla="*/ 271 w 433"/>
                    <a:gd name="T45" fmla="*/ 403 h 556"/>
                    <a:gd name="T46" fmla="*/ 282 w 433"/>
                    <a:gd name="T47" fmla="*/ 414 h 556"/>
                    <a:gd name="T48" fmla="*/ 290 w 433"/>
                    <a:gd name="T49" fmla="*/ 421 h 556"/>
                    <a:gd name="T50" fmla="*/ 302 w 433"/>
                    <a:gd name="T51" fmla="*/ 467 h 556"/>
                    <a:gd name="T52" fmla="*/ 315 w 433"/>
                    <a:gd name="T53" fmla="*/ 475 h 556"/>
                    <a:gd name="T54" fmla="*/ 326 w 433"/>
                    <a:gd name="T55" fmla="*/ 484 h 556"/>
                    <a:gd name="T56" fmla="*/ 343 w 433"/>
                    <a:gd name="T57" fmla="*/ 519 h 556"/>
                    <a:gd name="T58" fmla="*/ 380 w 433"/>
                    <a:gd name="T59" fmla="*/ 556 h 556"/>
                    <a:gd name="T60" fmla="*/ 380 w 433"/>
                    <a:gd name="T61" fmla="*/ 530 h 556"/>
                    <a:gd name="T62" fmla="*/ 367 w 433"/>
                    <a:gd name="T63" fmla="*/ 488 h 556"/>
                    <a:gd name="T64" fmla="*/ 380 w 433"/>
                    <a:gd name="T65" fmla="*/ 489 h 556"/>
                    <a:gd name="T66" fmla="*/ 410 w 433"/>
                    <a:gd name="T67" fmla="*/ 478 h 556"/>
                    <a:gd name="T68" fmla="*/ 428 w 433"/>
                    <a:gd name="T69" fmla="*/ 495 h 556"/>
                    <a:gd name="T70" fmla="*/ 433 w 433"/>
                    <a:gd name="T71" fmla="*/ 489 h 556"/>
                    <a:gd name="T72" fmla="*/ 421 w 433"/>
                    <a:gd name="T73" fmla="*/ 469 h 556"/>
                    <a:gd name="T74" fmla="*/ 404 w 433"/>
                    <a:gd name="T75" fmla="*/ 458 h 556"/>
                    <a:gd name="T76" fmla="*/ 380 w 433"/>
                    <a:gd name="T77" fmla="*/ 458 h 556"/>
                    <a:gd name="T78" fmla="*/ 360 w 433"/>
                    <a:gd name="T79" fmla="*/ 441 h 556"/>
                    <a:gd name="T80" fmla="*/ 310 w 433"/>
                    <a:gd name="T81" fmla="*/ 408 h 556"/>
                    <a:gd name="T82" fmla="*/ 290 w 433"/>
                    <a:gd name="T83" fmla="*/ 353 h 556"/>
                    <a:gd name="T84" fmla="*/ 273 w 433"/>
                    <a:gd name="T85" fmla="*/ 338 h 556"/>
                    <a:gd name="T86" fmla="*/ 273 w 433"/>
                    <a:gd name="T87" fmla="*/ 303 h 556"/>
                    <a:gd name="T88" fmla="*/ 286 w 433"/>
                    <a:gd name="T89" fmla="*/ 296 h 556"/>
                    <a:gd name="T90" fmla="*/ 319 w 433"/>
                    <a:gd name="T91" fmla="*/ 281 h 556"/>
                    <a:gd name="T92" fmla="*/ 290 w 433"/>
                    <a:gd name="T93" fmla="*/ 253 h 556"/>
                    <a:gd name="T94" fmla="*/ 219 w 433"/>
                    <a:gd name="T95" fmla="*/ 201 h 556"/>
                    <a:gd name="T96" fmla="*/ 186 w 433"/>
                    <a:gd name="T97" fmla="*/ 170 h 556"/>
                    <a:gd name="T98" fmla="*/ 173 w 433"/>
                    <a:gd name="T99" fmla="*/ 161 h 556"/>
                    <a:gd name="T100" fmla="*/ 164 w 433"/>
                    <a:gd name="T101" fmla="*/ 153 h 556"/>
                    <a:gd name="T102" fmla="*/ 146 w 433"/>
                    <a:gd name="T103" fmla="*/ 139 h 556"/>
                    <a:gd name="T104" fmla="*/ 136 w 433"/>
                    <a:gd name="T105" fmla="*/ 129 h 556"/>
                    <a:gd name="T106" fmla="*/ 125 w 433"/>
                    <a:gd name="T107" fmla="*/ 117 h 556"/>
                    <a:gd name="T108" fmla="*/ 122 w 433"/>
                    <a:gd name="T109" fmla="*/ 98 h 556"/>
                    <a:gd name="T110" fmla="*/ 118 w 433"/>
                    <a:gd name="T111" fmla="*/ 94 h 556"/>
                    <a:gd name="T112" fmla="*/ 118 w 433"/>
                    <a:gd name="T113" fmla="*/ 91 h 556"/>
                    <a:gd name="T114" fmla="*/ 83 w 433"/>
                    <a:gd name="T115" fmla="*/ 65 h 556"/>
                    <a:gd name="T116" fmla="*/ 75 w 433"/>
                    <a:gd name="T117" fmla="*/ 50 h 556"/>
                    <a:gd name="T118" fmla="*/ 50 w 433"/>
                    <a:gd name="T119" fmla="*/ 26 h 556"/>
                    <a:gd name="T120" fmla="*/ 39 w 433"/>
                    <a:gd name="T121" fmla="*/ 13 h 556"/>
                    <a:gd name="T122" fmla="*/ 18 w 433"/>
                    <a:gd name="T123" fmla="*/ 0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33" h="556">
                      <a:moveTo>
                        <a:pt x="18" y="0"/>
                      </a:moveTo>
                      <a:lnTo>
                        <a:pt x="16" y="2"/>
                      </a:lnTo>
                      <a:lnTo>
                        <a:pt x="16" y="4"/>
                      </a:lnTo>
                      <a:lnTo>
                        <a:pt x="15" y="4"/>
                      </a:lnTo>
                      <a:lnTo>
                        <a:pt x="11" y="4"/>
                      </a:lnTo>
                      <a:lnTo>
                        <a:pt x="7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17"/>
                      </a:lnTo>
                      <a:lnTo>
                        <a:pt x="5" y="19"/>
                      </a:lnTo>
                      <a:lnTo>
                        <a:pt x="11" y="21"/>
                      </a:lnTo>
                      <a:lnTo>
                        <a:pt x="11" y="21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24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9" y="32"/>
                      </a:lnTo>
                      <a:lnTo>
                        <a:pt x="33" y="35"/>
                      </a:lnTo>
                      <a:lnTo>
                        <a:pt x="40" y="41"/>
                      </a:lnTo>
                      <a:lnTo>
                        <a:pt x="40" y="41"/>
                      </a:lnTo>
                      <a:lnTo>
                        <a:pt x="39" y="45"/>
                      </a:lnTo>
                      <a:lnTo>
                        <a:pt x="39" y="46"/>
                      </a:lnTo>
                      <a:lnTo>
                        <a:pt x="39" y="46"/>
                      </a:lnTo>
                      <a:lnTo>
                        <a:pt x="40" y="48"/>
                      </a:lnTo>
                      <a:lnTo>
                        <a:pt x="42" y="50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8" y="61"/>
                      </a:lnTo>
                      <a:lnTo>
                        <a:pt x="48" y="65"/>
                      </a:lnTo>
                      <a:lnTo>
                        <a:pt x="50" y="72"/>
                      </a:lnTo>
                      <a:lnTo>
                        <a:pt x="48" y="72"/>
                      </a:lnTo>
                      <a:lnTo>
                        <a:pt x="42" y="70"/>
                      </a:lnTo>
                      <a:lnTo>
                        <a:pt x="39" y="70"/>
                      </a:lnTo>
                      <a:lnTo>
                        <a:pt x="35" y="69"/>
                      </a:lnTo>
                      <a:lnTo>
                        <a:pt x="31" y="67"/>
                      </a:lnTo>
                      <a:lnTo>
                        <a:pt x="27" y="76"/>
                      </a:lnTo>
                      <a:lnTo>
                        <a:pt x="26" y="82"/>
                      </a:lnTo>
                      <a:lnTo>
                        <a:pt x="26" y="85"/>
                      </a:lnTo>
                      <a:lnTo>
                        <a:pt x="26" y="87"/>
                      </a:lnTo>
                      <a:lnTo>
                        <a:pt x="26" y="91"/>
                      </a:lnTo>
                      <a:lnTo>
                        <a:pt x="26" y="93"/>
                      </a:lnTo>
                      <a:lnTo>
                        <a:pt x="29" y="96"/>
                      </a:lnTo>
                      <a:lnTo>
                        <a:pt x="29" y="96"/>
                      </a:lnTo>
                      <a:lnTo>
                        <a:pt x="33" y="100"/>
                      </a:lnTo>
                      <a:lnTo>
                        <a:pt x="37" y="102"/>
                      </a:lnTo>
                      <a:lnTo>
                        <a:pt x="37" y="102"/>
                      </a:lnTo>
                      <a:lnTo>
                        <a:pt x="40" y="106"/>
                      </a:lnTo>
                      <a:lnTo>
                        <a:pt x="44" y="109"/>
                      </a:lnTo>
                      <a:lnTo>
                        <a:pt x="44" y="109"/>
                      </a:lnTo>
                      <a:lnTo>
                        <a:pt x="48" y="113"/>
                      </a:lnTo>
                      <a:lnTo>
                        <a:pt x="50" y="117"/>
                      </a:lnTo>
                      <a:lnTo>
                        <a:pt x="53" y="120"/>
                      </a:lnTo>
                      <a:lnTo>
                        <a:pt x="53" y="120"/>
                      </a:lnTo>
                      <a:lnTo>
                        <a:pt x="55" y="126"/>
                      </a:lnTo>
                      <a:lnTo>
                        <a:pt x="57" y="129"/>
                      </a:lnTo>
                      <a:lnTo>
                        <a:pt x="61" y="133"/>
                      </a:lnTo>
                      <a:lnTo>
                        <a:pt x="63" y="139"/>
                      </a:lnTo>
                      <a:lnTo>
                        <a:pt x="64" y="142"/>
                      </a:lnTo>
                      <a:lnTo>
                        <a:pt x="66" y="148"/>
                      </a:lnTo>
                      <a:lnTo>
                        <a:pt x="66" y="153"/>
                      </a:lnTo>
                      <a:lnTo>
                        <a:pt x="66" y="153"/>
                      </a:lnTo>
                      <a:lnTo>
                        <a:pt x="68" y="157"/>
                      </a:lnTo>
                      <a:lnTo>
                        <a:pt x="75" y="165"/>
                      </a:lnTo>
                      <a:lnTo>
                        <a:pt x="83" y="172"/>
                      </a:lnTo>
                      <a:lnTo>
                        <a:pt x="90" y="179"/>
                      </a:lnTo>
                      <a:lnTo>
                        <a:pt x="98" y="185"/>
                      </a:lnTo>
                      <a:lnTo>
                        <a:pt x="112" y="196"/>
                      </a:lnTo>
                      <a:lnTo>
                        <a:pt x="127" y="205"/>
                      </a:lnTo>
                      <a:lnTo>
                        <a:pt x="133" y="211"/>
                      </a:lnTo>
                      <a:lnTo>
                        <a:pt x="138" y="218"/>
                      </a:lnTo>
                      <a:lnTo>
                        <a:pt x="144" y="224"/>
                      </a:lnTo>
                      <a:lnTo>
                        <a:pt x="149" y="231"/>
                      </a:lnTo>
                      <a:lnTo>
                        <a:pt x="153" y="235"/>
                      </a:lnTo>
                      <a:lnTo>
                        <a:pt x="153" y="235"/>
                      </a:lnTo>
                      <a:lnTo>
                        <a:pt x="155" y="238"/>
                      </a:lnTo>
                      <a:lnTo>
                        <a:pt x="157" y="242"/>
                      </a:lnTo>
                      <a:lnTo>
                        <a:pt x="159" y="246"/>
                      </a:lnTo>
                      <a:lnTo>
                        <a:pt x="159" y="246"/>
                      </a:lnTo>
                      <a:lnTo>
                        <a:pt x="160" y="251"/>
                      </a:lnTo>
                      <a:lnTo>
                        <a:pt x="162" y="255"/>
                      </a:lnTo>
                      <a:lnTo>
                        <a:pt x="164" y="261"/>
                      </a:lnTo>
                      <a:lnTo>
                        <a:pt x="164" y="266"/>
                      </a:lnTo>
                      <a:lnTo>
                        <a:pt x="168" y="268"/>
                      </a:lnTo>
                      <a:lnTo>
                        <a:pt x="168" y="268"/>
                      </a:lnTo>
                      <a:lnTo>
                        <a:pt x="171" y="270"/>
                      </a:lnTo>
                      <a:lnTo>
                        <a:pt x="175" y="272"/>
                      </a:lnTo>
                      <a:lnTo>
                        <a:pt x="175" y="272"/>
                      </a:lnTo>
                      <a:lnTo>
                        <a:pt x="179" y="273"/>
                      </a:lnTo>
                      <a:lnTo>
                        <a:pt x="183" y="277"/>
                      </a:lnTo>
                      <a:lnTo>
                        <a:pt x="183" y="277"/>
                      </a:lnTo>
                      <a:lnTo>
                        <a:pt x="184" y="279"/>
                      </a:lnTo>
                      <a:lnTo>
                        <a:pt x="188" y="283"/>
                      </a:lnTo>
                      <a:lnTo>
                        <a:pt x="192" y="286"/>
                      </a:lnTo>
                      <a:lnTo>
                        <a:pt x="197" y="294"/>
                      </a:lnTo>
                      <a:lnTo>
                        <a:pt x="203" y="301"/>
                      </a:lnTo>
                      <a:lnTo>
                        <a:pt x="208" y="310"/>
                      </a:lnTo>
                      <a:lnTo>
                        <a:pt x="214" y="318"/>
                      </a:lnTo>
                      <a:lnTo>
                        <a:pt x="218" y="327"/>
                      </a:lnTo>
                      <a:lnTo>
                        <a:pt x="223" y="336"/>
                      </a:lnTo>
                      <a:lnTo>
                        <a:pt x="227" y="345"/>
                      </a:lnTo>
                      <a:lnTo>
                        <a:pt x="232" y="355"/>
                      </a:lnTo>
                      <a:lnTo>
                        <a:pt x="240" y="373"/>
                      </a:lnTo>
                      <a:lnTo>
                        <a:pt x="245" y="386"/>
                      </a:lnTo>
                      <a:lnTo>
                        <a:pt x="253" y="392"/>
                      </a:lnTo>
                      <a:lnTo>
                        <a:pt x="260" y="395"/>
                      </a:lnTo>
                      <a:lnTo>
                        <a:pt x="266" y="399"/>
                      </a:lnTo>
                      <a:lnTo>
                        <a:pt x="271" y="403"/>
                      </a:lnTo>
                      <a:lnTo>
                        <a:pt x="271" y="403"/>
                      </a:lnTo>
                      <a:lnTo>
                        <a:pt x="275" y="406"/>
                      </a:lnTo>
                      <a:lnTo>
                        <a:pt x="278" y="410"/>
                      </a:lnTo>
                      <a:lnTo>
                        <a:pt x="278" y="410"/>
                      </a:lnTo>
                      <a:lnTo>
                        <a:pt x="282" y="414"/>
                      </a:lnTo>
                      <a:lnTo>
                        <a:pt x="282" y="414"/>
                      </a:lnTo>
                      <a:lnTo>
                        <a:pt x="286" y="417"/>
                      </a:lnTo>
                      <a:lnTo>
                        <a:pt x="286" y="417"/>
                      </a:lnTo>
                      <a:lnTo>
                        <a:pt x="290" y="421"/>
                      </a:lnTo>
                      <a:lnTo>
                        <a:pt x="290" y="421"/>
                      </a:lnTo>
                      <a:lnTo>
                        <a:pt x="291" y="427"/>
                      </a:lnTo>
                      <a:lnTo>
                        <a:pt x="293" y="432"/>
                      </a:lnTo>
                      <a:lnTo>
                        <a:pt x="295" y="438"/>
                      </a:lnTo>
                      <a:lnTo>
                        <a:pt x="299" y="451"/>
                      </a:lnTo>
                      <a:lnTo>
                        <a:pt x="302" y="467"/>
                      </a:lnTo>
                      <a:lnTo>
                        <a:pt x="308" y="469"/>
                      </a:lnTo>
                      <a:lnTo>
                        <a:pt x="308" y="469"/>
                      </a:lnTo>
                      <a:lnTo>
                        <a:pt x="312" y="471"/>
                      </a:lnTo>
                      <a:lnTo>
                        <a:pt x="312" y="471"/>
                      </a:lnTo>
                      <a:lnTo>
                        <a:pt x="315" y="475"/>
                      </a:lnTo>
                      <a:lnTo>
                        <a:pt x="319" y="476"/>
                      </a:lnTo>
                      <a:lnTo>
                        <a:pt x="319" y="476"/>
                      </a:lnTo>
                      <a:lnTo>
                        <a:pt x="323" y="480"/>
                      </a:lnTo>
                      <a:lnTo>
                        <a:pt x="326" y="484"/>
                      </a:lnTo>
                      <a:lnTo>
                        <a:pt x="326" y="484"/>
                      </a:lnTo>
                      <a:lnTo>
                        <a:pt x="328" y="488"/>
                      </a:lnTo>
                      <a:lnTo>
                        <a:pt x="330" y="493"/>
                      </a:lnTo>
                      <a:lnTo>
                        <a:pt x="336" y="500"/>
                      </a:lnTo>
                      <a:lnTo>
                        <a:pt x="339" y="510"/>
                      </a:lnTo>
                      <a:lnTo>
                        <a:pt x="343" y="519"/>
                      </a:lnTo>
                      <a:lnTo>
                        <a:pt x="345" y="528"/>
                      </a:lnTo>
                      <a:lnTo>
                        <a:pt x="354" y="535"/>
                      </a:lnTo>
                      <a:lnTo>
                        <a:pt x="362" y="543"/>
                      </a:lnTo>
                      <a:lnTo>
                        <a:pt x="371" y="550"/>
                      </a:lnTo>
                      <a:lnTo>
                        <a:pt x="380" y="556"/>
                      </a:lnTo>
                      <a:lnTo>
                        <a:pt x="384" y="556"/>
                      </a:lnTo>
                      <a:lnTo>
                        <a:pt x="387" y="556"/>
                      </a:lnTo>
                      <a:lnTo>
                        <a:pt x="386" y="548"/>
                      </a:lnTo>
                      <a:lnTo>
                        <a:pt x="384" y="539"/>
                      </a:lnTo>
                      <a:lnTo>
                        <a:pt x="380" y="530"/>
                      </a:lnTo>
                      <a:lnTo>
                        <a:pt x="378" y="523"/>
                      </a:lnTo>
                      <a:lnTo>
                        <a:pt x="374" y="515"/>
                      </a:lnTo>
                      <a:lnTo>
                        <a:pt x="373" y="506"/>
                      </a:lnTo>
                      <a:lnTo>
                        <a:pt x="371" y="499"/>
                      </a:lnTo>
                      <a:lnTo>
                        <a:pt x="367" y="488"/>
                      </a:lnTo>
                      <a:lnTo>
                        <a:pt x="369" y="489"/>
                      </a:lnTo>
                      <a:lnTo>
                        <a:pt x="371" y="489"/>
                      </a:lnTo>
                      <a:lnTo>
                        <a:pt x="374" y="489"/>
                      </a:lnTo>
                      <a:lnTo>
                        <a:pt x="378" y="489"/>
                      </a:lnTo>
                      <a:lnTo>
                        <a:pt x="380" y="489"/>
                      </a:lnTo>
                      <a:lnTo>
                        <a:pt x="387" y="488"/>
                      </a:lnTo>
                      <a:lnTo>
                        <a:pt x="393" y="486"/>
                      </a:lnTo>
                      <a:lnTo>
                        <a:pt x="398" y="484"/>
                      </a:lnTo>
                      <a:lnTo>
                        <a:pt x="404" y="482"/>
                      </a:lnTo>
                      <a:lnTo>
                        <a:pt x="410" y="478"/>
                      </a:lnTo>
                      <a:lnTo>
                        <a:pt x="410" y="478"/>
                      </a:lnTo>
                      <a:lnTo>
                        <a:pt x="419" y="478"/>
                      </a:lnTo>
                      <a:lnTo>
                        <a:pt x="421" y="486"/>
                      </a:lnTo>
                      <a:lnTo>
                        <a:pt x="424" y="491"/>
                      </a:lnTo>
                      <a:lnTo>
                        <a:pt x="428" y="495"/>
                      </a:lnTo>
                      <a:lnTo>
                        <a:pt x="433" y="500"/>
                      </a:lnTo>
                      <a:lnTo>
                        <a:pt x="433" y="499"/>
                      </a:lnTo>
                      <a:lnTo>
                        <a:pt x="433" y="497"/>
                      </a:lnTo>
                      <a:lnTo>
                        <a:pt x="433" y="493"/>
                      </a:lnTo>
                      <a:lnTo>
                        <a:pt x="433" y="489"/>
                      </a:lnTo>
                      <a:lnTo>
                        <a:pt x="432" y="486"/>
                      </a:lnTo>
                      <a:lnTo>
                        <a:pt x="430" y="482"/>
                      </a:lnTo>
                      <a:lnTo>
                        <a:pt x="428" y="478"/>
                      </a:lnTo>
                      <a:lnTo>
                        <a:pt x="426" y="476"/>
                      </a:lnTo>
                      <a:lnTo>
                        <a:pt x="421" y="469"/>
                      </a:lnTo>
                      <a:lnTo>
                        <a:pt x="415" y="464"/>
                      </a:lnTo>
                      <a:lnTo>
                        <a:pt x="410" y="460"/>
                      </a:lnTo>
                      <a:lnTo>
                        <a:pt x="410" y="460"/>
                      </a:lnTo>
                      <a:lnTo>
                        <a:pt x="406" y="454"/>
                      </a:lnTo>
                      <a:lnTo>
                        <a:pt x="404" y="458"/>
                      </a:lnTo>
                      <a:lnTo>
                        <a:pt x="400" y="464"/>
                      </a:lnTo>
                      <a:lnTo>
                        <a:pt x="400" y="464"/>
                      </a:lnTo>
                      <a:lnTo>
                        <a:pt x="393" y="462"/>
                      </a:lnTo>
                      <a:lnTo>
                        <a:pt x="387" y="460"/>
                      </a:lnTo>
                      <a:lnTo>
                        <a:pt x="380" y="458"/>
                      </a:lnTo>
                      <a:lnTo>
                        <a:pt x="373" y="456"/>
                      </a:lnTo>
                      <a:lnTo>
                        <a:pt x="373" y="456"/>
                      </a:lnTo>
                      <a:lnTo>
                        <a:pt x="373" y="451"/>
                      </a:lnTo>
                      <a:lnTo>
                        <a:pt x="373" y="445"/>
                      </a:lnTo>
                      <a:lnTo>
                        <a:pt x="360" y="441"/>
                      </a:lnTo>
                      <a:lnTo>
                        <a:pt x="345" y="438"/>
                      </a:lnTo>
                      <a:lnTo>
                        <a:pt x="332" y="434"/>
                      </a:lnTo>
                      <a:lnTo>
                        <a:pt x="317" y="430"/>
                      </a:lnTo>
                      <a:lnTo>
                        <a:pt x="314" y="419"/>
                      </a:lnTo>
                      <a:lnTo>
                        <a:pt x="310" y="408"/>
                      </a:lnTo>
                      <a:lnTo>
                        <a:pt x="306" y="397"/>
                      </a:lnTo>
                      <a:lnTo>
                        <a:pt x="301" y="386"/>
                      </a:lnTo>
                      <a:lnTo>
                        <a:pt x="297" y="375"/>
                      </a:lnTo>
                      <a:lnTo>
                        <a:pt x="293" y="364"/>
                      </a:lnTo>
                      <a:lnTo>
                        <a:pt x="290" y="353"/>
                      </a:lnTo>
                      <a:lnTo>
                        <a:pt x="286" y="342"/>
                      </a:lnTo>
                      <a:lnTo>
                        <a:pt x="282" y="342"/>
                      </a:lnTo>
                      <a:lnTo>
                        <a:pt x="280" y="340"/>
                      </a:lnTo>
                      <a:lnTo>
                        <a:pt x="277" y="338"/>
                      </a:lnTo>
                      <a:lnTo>
                        <a:pt x="273" y="338"/>
                      </a:lnTo>
                      <a:lnTo>
                        <a:pt x="273" y="336"/>
                      </a:lnTo>
                      <a:lnTo>
                        <a:pt x="273" y="329"/>
                      </a:lnTo>
                      <a:lnTo>
                        <a:pt x="273" y="321"/>
                      </a:lnTo>
                      <a:lnTo>
                        <a:pt x="273" y="312"/>
                      </a:lnTo>
                      <a:lnTo>
                        <a:pt x="273" y="303"/>
                      </a:lnTo>
                      <a:lnTo>
                        <a:pt x="275" y="303"/>
                      </a:lnTo>
                      <a:lnTo>
                        <a:pt x="278" y="303"/>
                      </a:lnTo>
                      <a:lnTo>
                        <a:pt x="284" y="303"/>
                      </a:lnTo>
                      <a:lnTo>
                        <a:pt x="286" y="299"/>
                      </a:lnTo>
                      <a:lnTo>
                        <a:pt x="286" y="296"/>
                      </a:lnTo>
                      <a:lnTo>
                        <a:pt x="286" y="290"/>
                      </a:lnTo>
                      <a:lnTo>
                        <a:pt x="288" y="286"/>
                      </a:lnTo>
                      <a:lnTo>
                        <a:pt x="299" y="285"/>
                      </a:lnTo>
                      <a:lnTo>
                        <a:pt x="308" y="283"/>
                      </a:lnTo>
                      <a:lnTo>
                        <a:pt x="319" y="281"/>
                      </a:lnTo>
                      <a:lnTo>
                        <a:pt x="326" y="279"/>
                      </a:lnTo>
                      <a:lnTo>
                        <a:pt x="319" y="273"/>
                      </a:lnTo>
                      <a:lnTo>
                        <a:pt x="310" y="266"/>
                      </a:lnTo>
                      <a:lnTo>
                        <a:pt x="301" y="261"/>
                      </a:lnTo>
                      <a:lnTo>
                        <a:pt x="290" y="253"/>
                      </a:lnTo>
                      <a:lnTo>
                        <a:pt x="269" y="238"/>
                      </a:lnTo>
                      <a:lnTo>
                        <a:pt x="249" y="224"/>
                      </a:lnTo>
                      <a:lnTo>
                        <a:pt x="238" y="216"/>
                      </a:lnTo>
                      <a:lnTo>
                        <a:pt x="229" y="209"/>
                      </a:lnTo>
                      <a:lnTo>
                        <a:pt x="219" y="201"/>
                      </a:lnTo>
                      <a:lnTo>
                        <a:pt x="210" y="194"/>
                      </a:lnTo>
                      <a:lnTo>
                        <a:pt x="201" y="185"/>
                      </a:lnTo>
                      <a:lnTo>
                        <a:pt x="194" y="177"/>
                      </a:lnTo>
                      <a:lnTo>
                        <a:pt x="190" y="174"/>
                      </a:lnTo>
                      <a:lnTo>
                        <a:pt x="186" y="170"/>
                      </a:lnTo>
                      <a:lnTo>
                        <a:pt x="186" y="170"/>
                      </a:lnTo>
                      <a:lnTo>
                        <a:pt x="183" y="165"/>
                      </a:lnTo>
                      <a:lnTo>
                        <a:pt x="181" y="161"/>
                      </a:lnTo>
                      <a:lnTo>
                        <a:pt x="177" y="161"/>
                      </a:lnTo>
                      <a:lnTo>
                        <a:pt x="173" y="161"/>
                      </a:lnTo>
                      <a:lnTo>
                        <a:pt x="171" y="163"/>
                      </a:lnTo>
                      <a:lnTo>
                        <a:pt x="168" y="163"/>
                      </a:lnTo>
                      <a:lnTo>
                        <a:pt x="168" y="163"/>
                      </a:lnTo>
                      <a:lnTo>
                        <a:pt x="166" y="157"/>
                      </a:lnTo>
                      <a:lnTo>
                        <a:pt x="164" y="153"/>
                      </a:lnTo>
                      <a:lnTo>
                        <a:pt x="164" y="153"/>
                      </a:lnTo>
                      <a:lnTo>
                        <a:pt x="164" y="152"/>
                      </a:lnTo>
                      <a:lnTo>
                        <a:pt x="162" y="148"/>
                      </a:lnTo>
                      <a:lnTo>
                        <a:pt x="155" y="142"/>
                      </a:lnTo>
                      <a:lnTo>
                        <a:pt x="146" y="139"/>
                      </a:lnTo>
                      <a:lnTo>
                        <a:pt x="142" y="135"/>
                      </a:lnTo>
                      <a:lnTo>
                        <a:pt x="142" y="135"/>
                      </a:lnTo>
                      <a:lnTo>
                        <a:pt x="138" y="133"/>
                      </a:lnTo>
                      <a:lnTo>
                        <a:pt x="136" y="129"/>
                      </a:lnTo>
                      <a:lnTo>
                        <a:pt x="136" y="129"/>
                      </a:lnTo>
                      <a:lnTo>
                        <a:pt x="133" y="128"/>
                      </a:lnTo>
                      <a:lnTo>
                        <a:pt x="131" y="124"/>
                      </a:lnTo>
                      <a:lnTo>
                        <a:pt x="131" y="124"/>
                      </a:lnTo>
                      <a:lnTo>
                        <a:pt x="127" y="120"/>
                      </a:lnTo>
                      <a:lnTo>
                        <a:pt x="125" y="117"/>
                      </a:lnTo>
                      <a:lnTo>
                        <a:pt x="123" y="113"/>
                      </a:lnTo>
                      <a:lnTo>
                        <a:pt x="123" y="113"/>
                      </a:lnTo>
                      <a:lnTo>
                        <a:pt x="123" y="109"/>
                      </a:lnTo>
                      <a:lnTo>
                        <a:pt x="122" y="104"/>
                      </a:lnTo>
                      <a:lnTo>
                        <a:pt x="122" y="98"/>
                      </a:lnTo>
                      <a:lnTo>
                        <a:pt x="122" y="94"/>
                      </a:lnTo>
                      <a:lnTo>
                        <a:pt x="122" y="94"/>
                      </a:lnTo>
                      <a:lnTo>
                        <a:pt x="120" y="96"/>
                      </a:lnTo>
                      <a:lnTo>
                        <a:pt x="118" y="96"/>
                      </a:lnTo>
                      <a:lnTo>
                        <a:pt x="118" y="94"/>
                      </a:lnTo>
                      <a:lnTo>
                        <a:pt x="118" y="94"/>
                      </a:lnTo>
                      <a:lnTo>
                        <a:pt x="116" y="93"/>
                      </a:lnTo>
                      <a:lnTo>
                        <a:pt x="116" y="93"/>
                      </a:lnTo>
                      <a:lnTo>
                        <a:pt x="118" y="91"/>
                      </a:lnTo>
                      <a:lnTo>
                        <a:pt x="118" y="91"/>
                      </a:lnTo>
                      <a:lnTo>
                        <a:pt x="118" y="89"/>
                      </a:lnTo>
                      <a:lnTo>
                        <a:pt x="111" y="83"/>
                      </a:lnTo>
                      <a:lnTo>
                        <a:pt x="101" y="78"/>
                      </a:lnTo>
                      <a:lnTo>
                        <a:pt x="92" y="72"/>
                      </a:lnTo>
                      <a:lnTo>
                        <a:pt x="83" y="65"/>
                      </a:lnTo>
                      <a:lnTo>
                        <a:pt x="83" y="65"/>
                      </a:lnTo>
                      <a:lnTo>
                        <a:pt x="85" y="61"/>
                      </a:lnTo>
                      <a:lnTo>
                        <a:pt x="85" y="58"/>
                      </a:lnTo>
                      <a:lnTo>
                        <a:pt x="81" y="54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0" y="46"/>
                      </a:lnTo>
                      <a:lnTo>
                        <a:pt x="66" y="43"/>
                      </a:lnTo>
                      <a:lnTo>
                        <a:pt x="57" y="34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46" y="21"/>
                      </a:lnTo>
                      <a:lnTo>
                        <a:pt x="42" y="17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5" y="10"/>
                      </a:lnTo>
                      <a:lnTo>
                        <a:pt x="31" y="6"/>
                      </a:lnTo>
                      <a:lnTo>
                        <a:pt x="27" y="4"/>
                      </a:lnTo>
                      <a:lnTo>
                        <a:pt x="22" y="2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5" name="Freeform 3009"/>
                <p:cNvSpPr>
                  <a:spLocks/>
                </p:cNvSpPr>
                <p:nvPr/>
              </p:nvSpPr>
              <p:spPr bwMode="auto">
                <a:xfrm>
                  <a:off x="4998" y="2205"/>
                  <a:ext cx="433" cy="556"/>
                </a:xfrm>
                <a:custGeom>
                  <a:avLst/>
                  <a:gdLst>
                    <a:gd name="T0" fmla="*/ 11 w 433"/>
                    <a:gd name="T1" fmla="*/ 4 h 556"/>
                    <a:gd name="T2" fmla="*/ 0 w 433"/>
                    <a:gd name="T3" fmla="*/ 17 h 556"/>
                    <a:gd name="T4" fmla="*/ 16 w 433"/>
                    <a:gd name="T5" fmla="*/ 22 h 556"/>
                    <a:gd name="T6" fmla="*/ 33 w 433"/>
                    <a:gd name="T7" fmla="*/ 35 h 556"/>
                    <a:gd name="T8" fmla="*/ 39 w 433"/>
                    <a:gd name="T9" fmla="*/ 46 h 556"/>
                    <a:gd name="T10" fmla="*/ 46 w 433"/>
                    <a:gd name="T11" fmla="*/ 52 h 556"/>
                    <a:gd name="T12" fmla="*/ 48 w 433"/>
                    <a:gd name="T13" fmla="*/ 58 h 556"/>
                    <a:gd name="T14" fmla="*/ 42 w 433"/>
                    <a:gd name="T15" fmla="*/ 70 h 556"/>
                    <a:gd name="T16" fmla="*/ 26 w 433"/>
                    <a:gd name="T17" fmla="*/ 82 h 556"/>
                    <a:gd name="T18" fmla="*/ 29 w 433"/>
                    <a:gd name="T19" fmla="*/ 96 h 556"/>
                    <a:gd name="T20" fmla="*/ 40 w 433"/>
                    <a:gd name="T21" fmla="*/ 106 h 556"/>
                    <a:gd name="T22" fmla="*/ 53 w 433"/>
                    <a:gd name="T23" fmla="*/ 120 h 556"/>
                    <a:gd name="T24" fmla="*/ 63 w 433"/>
                    <a:gd name="T25" fmla="*/ 139 h 556"/>
                    <a:gd name="T26" fmla="*/ 68 w 433"/>
                    <a:gd name="T27" fmla="*/ 157 h 556"/>
                    <a:gd name="T28" fmla="*/ 112 w 433"/>
                    <a:gd name="T29" fmla="*/ 196 h 556"/>
                    <a:gd name="T30" fmla="*/ 149 w 433"/>
                    <a:gd name="T31" fmla="*/ 231 h 556"/>
                    <a:gd name="T32" fmla="*/ 159 w 433"/>
                    <a:gd name="T33" fmla="*/ 246 h 556"/>
                    <a:gd name="T34" fmla="*/ 164 w 433"/>
                    <a:gd name="T35" fmla="*/ 266 h 556"/>
                    <a:gd name="T36" fmla="*/ 175 w 433"/>
                    <a:gd name="T37" fmla="*/ 272 h 556"/>
                    <a:gd name="T38" fmla="*/ 188 w 433"/>
                    <a:gd name="T39" fmla="*/ 283 h 556"/>
                    <a:gd name="T40" fmla="*/ 214 w 433"/>
                    <a:gd name="T41" fmla="*/ 318 h 556"/>
                    <a:gd name="T42" fmla="*/ 240 w 433"/>
                    <a:gd name="T43" fmla="*/ 373 h 556"/>
                    <a:gd name="T44" fmla="*/ 271 w 433"/>
                    <a:gd name="T45" fmla="*/ 403 h 556"/>
                    <a:gd name="T46" fmla="*/ 282 w 433"/>
                    <a:gd name="T47" fmla="*/ 414 h 556"/>
                    <a:gd name="T48" fmla="*/ 290 w 433"/>
                    <a:gd name="T49" fmla="*/ 421 h 556"/>
                    <a:gd name="T50" fmla="*/ 302 w 433"/>
                    <a:gd name="T51" fmla="*/ 467 h 556"/>
                    <a:gd name="T52" fmla="*/ 315 w 433"/>
                    <a:gd name="T53" fmla="*/ 475 h 556"/>
                    <a:gd name="T54" fmla="*/ 326 w 433"/>
                    <a:gd name="T55" fmla="*/ 484 h 556"/>
                    <a:gd name="T56" fmla="*/ 343 w 433"/>
                    <a:gd name="T57" fmla="*/ 519 h 556"/>
                    <a:gd name="T58" fmla="*/ 380 w 433"/>
                    <a:gd name="T59" fmla="*/ 556 h 556"/>
                    <a:gd name="T60" fmla="*/ 380 w 433"/>
                    <a:gd name="T61" fmla="*/ 530 h 556"/>
                    <a:gd name="T62" fmla="*/ 367 w 433"/>
                    <a:gd name="T63" fmla="*/ 488 h 556"/>
                    <a:gd name="T64" fmla="*/ 380 w 433"/>
                    <a:gd name="T65" fmla="*/ 489 h 556"/>
                    <a:gd name="T66" fmla="*/ 410 w 433"/>
                    <a:gd name="T67" fmla="*/ 478 h 556"/>
                    <a:gd name="T68" fmla="*/ 428 w 433"/>
                    <a:gd name="T69" fmla="*/ 495 h 556"/>
                    <a:gd name="T70" fmla="*/ 433 w 433"/>
                    <a:gd name="T71" fmla="*/ 489 h 556"/>
                    <a:gd name="T72" fmla="*/ 421 w 433"/>
                    <a:gd name="T73" fmla="*/ 469 h 556"/>
                    <a:gd name="T74" fmla="*/ 404 w 433"/>
                    <a:gd name="T75" fmla="*/ 458 h 556"/>
                    <a:gd name="T76" fmla="*/ 380 w 433"/>
                    <a:gd name="T77" fmla="*/ 458 h 556"/>
                    <a:gd name="T78" fmla="*/ 360 w 433"/>
                    <a:gd name="T79" fmla="*/ 441 h 556"/>
                    <a:gd name="T80" fmla="*/ 310 w 433"/>
                    <a:gd name="T81" fmla="*/ 408 h 556"/>
                    <a:gd name="T82" fmla="*/ 290 w 433"/>
                    <a:gd name="T83" fmla="*/ 353 h 556"/>
                    <a:gd name="T84" fmla="*/ 273 w 433"/>
                    <a:gd name="T85" fmla="*/ 338 h 556"/>
                    <a:gd name="T86" fmla="*/ 273 w 433"/>
                    <a:gd name="T87" fmla="*/ 303 h 556"/>
                    <a:gd name="T88" fmla="*/ 286 w 433"/>
                    <a:gd name="T89" fmla="*/ 296 h 556"/>
                    <a:gd name="T90" fmla="*/ 319 w 433"/>
                    <a:gd name="T91" fmla="*/ 281 h 556"/>
                    <a:gd name="T92" fmla="*/ 290 w 433"/>
                    <a:gd name="T93" fmla="*/ 253 h 556"/>
                    <a:gd name="T94" fmla="*/ 219 w 433"/>
                    <a:gd name="T95" fmla="*/ 201 h 556"/>
                    <a:gd name="T96" fmla="*/ 186 w 433"/>
                    <a:gd name="T97" fmla="*/ 170 h 556"/>
                    <a:gd name="T98" fmla="*/ 173 w 433"/>
                    <a:gd name="T99" fmla="*/ 161 h 556"/>
                    <a:gd name="T100" fmla="*/ 164 w 433"/>
                    <a:gd name="T101" fmla="*/ 153 h 556"/>
                    <a:gd name="T102" fmla="*/ 146 w 433"/>
                    <a:gd name="T103" fmla="*/ 139 h 556"/>
                    <a:gd name="T104" fmla="*/ 136 w 433"/>
                    <a:gd name="T105" fmla="*/ 129 h 556"/>
                    <a:gd name="T106" fmla="*/ 125 w 433"/>
                    <a:gd name="T107" fmla="*/ 117 h 556"/>
                    <a:gd name="T108" fmla="*/ 122 w 433"/>
                    <a:gd name="T109" fmla="*/ 98 h 556"/>
                    <a:gd name="T110" fmla="*/ 118 w 433"/>
                    <a:gd name="T111" fmla="*/ 94 h 556"/>
                    <a:gd name="T112" fmla="*/ 118 w 433"/>
                    <a:gd name="T113" fmla="*/ 91 h 556"/>
                    <a:gd name="T114" fmla="*/ 83 w 433"/>
                    <a:gd name="T115" fmla="*/ 65 h 556"/>
                    <a:gd name="T116" fmla="*/ 75 w 433"/>
                    <a:gd name="T117" fmla="*/ 50 h 556"/>
                    <a:gd name="T118" fmla="*/ 50 w 433"/>
                    <a:gd name="T119" fmla="*/ 26 h 556"/>
                    <a:gd name="T120" fmla="*/ 39 w 433"/>
                    <a:gd name="T121" fmla="*/ 13 h 556"/>
                    <a:gd name="T122" fmla="*/ 18 w 433"/>
                    <a:gd name="T123" fmla="*/ 0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33" h="556">
                      <a:moveTo>
                        <a:pt x="18" y="0"/>
                      </a:moveTo>
                      <a:lnTo>
                        <a:pt x="16" y="2"/>
                      </a:lnTo>
                      <a:lnTo>
                        <a:pt x="16" y="4"/>
                      </a:lnTo>
                      <a:lnTo>
                        <a:pt x="15" y="4"/>
                      </a:lnTo>
                      <a:lnTo>
                        <a:pt x="11" y="4"/>
                      </a:lnTo>
                      <a:lnTo>
                        <a:pt x="7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17"/>
                      </a:lnTo>
                      <a:lnTo>
                        <a:pt x="5" y="19"/>
                      </a:lnTo>
                      <a:lnTo>
                        <a:pt x="11" y="21"/>
                      </a:lnTo>
                      <a:lnTo>
                        <a:pt x="11" y="21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24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9" y="32"/>
                      </a:lnTo>
                      <a:lnTo>
                        <a:pt x="33" y="35"/>
                      </a:lnTo>
                      <a:lnTo>
                        <a:pt x="40" y="41"/>
                      </a:lnTo>
                      <a:lnTo>
                        <a:pt x="40" y="41"/>
                      </a:lnTo>
                      <a:lnTo>
                        <a:pt x="39" y="45"/>
                      </a:lnTo>
                      <a:lnTo>
                        <a:pt x="39" y="46"/>
                      </a:lnTo>
                      <a:lnTo>
                        <a:pt x="39" y="46"/>
                      </a:lnTo>
                      <a:lnTo>
                        <a:pt x="40" y="48"/>
                      </a:lnTo>
                      <a:lnTo>
                        <a:pt x="42" y="50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8" y="61"/>
                      </a:lnTo>
                      <a:lnTo>
                        <a:pt x="48" y="65"/>
                      </a:lnTo>
                      <a:lnTo>
                        <a:pt x="50" y="72"/>
                      </a:lnTo>
                      <a:lnTo>
                        <a:pt x="48" y="72"/>
                      </a:lnTo>
                      <a:lnTo>
                        <a:pt x="42" y="70"/>
                      </a:lnTo>
                      <a:lnTo>
                        <a:pt x="39" y="70"/>
                      </a:lnTo>
                      <a:lnTo>
                        <a:pt x="35" y="69"/>
                      </a:lnTo>
                      <a:lnTo>
                        <a:pt x="31" y="67"/>
                      </a:lnTo>
                      <a:lnTo>
                        <a:pt x="27" y="76"/>
                      </a:lnTo>
                      <a:lnTo>
                        <a:pt x="26" y="82"/>
                      </a:lnTo>
                      <a:lnTo>
                        <a:pt x="26" y="85"/>
                      </a:lnTo>
                      <a:lnTo>
                        <a:pt x="26" y="87"/>
                      </a:lnTo>
                      <a:lnTo>
                        <a:pt x="26" y="91"/>
                      </a:lnTo>
                      <a:lnTo>
                        <a:pt x="26" y="93"/>
                      </a:lnTo>
                      <a:lnTo>
                        <a:pt x="29" y="96"/>
                      </a:lnTo>
                      <a:lnTo>
                        <a:pt x="29" y="96"/>
                      </a:lnTo>
                      <a:lnTo>
                        <a:pt x="33" y="100"/>
                      </a:lnTo>
                      <a:lnTo>
                        <a:pt x="37" y="102"/>
                      </a:lnTo>
                      <a:lnTo>
                        <a:pt x="37" y="102"/>
                      </a:lnTo>
                      <a:lnTo>
                        <a:pt x="40" y="106"/>
                      </a:lnTo>
                      <a:lnTo>
                        <a:pt x="44" y="109"/>
                      </a:lnTo>
                      <a:lnTo>
                        <a:pt x="44" y="109"/>
                      </a:lnTo>
                      <a:lnTo>
                        <a:pt x="48" y="113"/>
                      </a:lnTo>
                      <a:lnTo>
                        <a:pt x="50" y="117"/>
                      </a:lnTo>
                      <a:lnTo>
                        <a:pt x="53" y="120"/>
                      </a:lnTo>
                      <a:lnTo>
                        <a:pt x="53" y="120"/>
                      </a:lnTo>
                      <a:lnTo>
                        <a:pt x="55" y="126"/>
                      </a:lnTo>
                      <a:lnTo>
                        <a:pt x="57" y="129"/>
                      </a:lnTo>
                      <a:lnTo>
                        <a:pt x="61" y="133"/>
                      </a:lnTo>
                      <a:lnTo>
                        <a:pt x="63" y="139"/>
                      </a:lnTo>
                      <a:lnTo>
                        <a:pt x="64" y="142"/>
                      </a:lnTo>
                      <a:lnTo>
                        <a:pt x="66" y="148"/>
                      </a:lnTo>
                      <a:lnTo>
                        <a:pt x="66" y="153"/>
                      </a:lnTo>
                      <a:lnTo>
                        <a:pt x="66" y="153"/>
                      </a:lnTo>
                      <a:lnTo>
                        <a:pt x="68" y="157"/>
                      </a:lnTo>
                      <a:lnTo>
                        <a:pt x="75" y="165"/>
                      </a:lnTo>
                      <a:lnTo>
                        <a:pt x="83" y="172"/>
                      </a:lnTo>
                      <a:lnTo>
                        <a:pt x="90" y="179"/>
                      </a:lnTo>
                      <a:lnTo>
                        <a:pt x="98" y="185"/>
                      </a:lnTo>
                      <a:lnTo>
                        <a:pt x="112" y="196"/>
                      </a:lnTo>
                      <a:lnTo>
                        <a:pt x="127" y="205"/>
                      </a:lnTo>
                      <a:lnTo>
                        <a:pt x="133" y="211"/>
                      </a:lnTo>
                      <a:lnTo>
                        <a:pt x="138" y="218"/>
                      </a:lnTo>
                      <a:lnTo>
                        <a:pt x="144" y="224"/>
                      </a:lnTo>
                      <a:lnTo>
                        <a:pt x="149" y="231"/>
                      </a:lnTo>
                      <a:lnTo>
                        <a:pt x="153" y="235"/>
                      </a:lnTo>
                      <a:lnTo>
                        <a:pt x="153" y="235"/>
                      </a:lnTo>
                      <a:lnTo>
                        <a:pt x="155" y="238"/>
                      </a:lnTo>
                      <a:lnTo>
                        <a:pt x="157" y="242"/>
                      </a:lnTo>
                      <a:lnTo>
                        <a:pt x="159" y="246"/>
                      </a:lnTo>
                      <a:lnTo>
                        <a:pt x="159" y="246"/>
                      </a:lnTo>
                      <a:lnTo>
                        <a:pt x="160" y="251"/>
                      </a:lnTo>
                      <a:lnTo>
                        <a:pt x="162" y="255"/>
                      </a:lnTo>
                      <a:lnTo>
                        <a:pt x="164" y="261"/>
                      </a:lnTo>
                      <a:lnTo>
                        <a:pt x="164" y="266"/>
                      </a:lnTo>
                      <a:lnTo>
                        <a:pt x="168" y="268"/>
                      </a:lnTo>
                      <a:lnTo>
                        <a:pt x="168" y="268"/>
                      </a:lnTo>
                      <a:lnTo>
                        <a:pt x="171" y="270"/>
                      </a:lnTo>
                      <a:lnTo>
                        <a:pt x="175" y="272"/>
                      </a:lnTo>
                      <a:lnTo>
                        <a:pt x="175" y="272"/>
                      </a:lnTo>
                      <a:lnTo>
                        <a:pt x="179" y="273"/>
                      </a:lnTo>
                      <a:lnTo>
                        <a:pt x="183" y="277"/>
                      </a:lnTo>
                      <a:lnTo>
                        <a:pt x="183" y="277"/>
                      </a:lnTo>
                      <a:lnTo>
                        <a:pt x="184" y="279"/>
                      </a:lnTo>
                      <a:lnTo>
                        <a:pt x="188" y="283"/>
                      </a:lnTo>
                      <a:lnTo>
                        <a:pt x="192" y="286"/>
                      </a:lnTo>
                      <a:lnTo>
                        <a:pt x="197" y="294"/>
                      </a:lnTo>
                      <a:lnTo>
                        <a:pt x="203" y="301"/>
                      </a:lnTo>
                      <a:lnTo>
                        <a:pt x="208" y="310"/>
                      </a:lnTo>
                      <a:lnTo>
                        <a:pt x="214" y="318"/>
                      </a:lnTo>
                      <a:lnTo>
                        <a:pt x="218" y="327"/>
                      </a:lnTo>
                      <a:lnTo>
                        <a:pt x="223" y="336"/>
                      </a:lnTo>
                      <a:lnTo>
                        <a:pt x="227" y="345"/>
                      </a:lnTo>
                      <a:lnTo>
                        <a:pt x="232" y="355"/>
                      </a:lnTo>
                      <a:lnTo>
                        <a:pt x="240" y="373"/>
                      </a:lnTo>
                      <a:lnTo>
                        <a:pt x="245" y="386"/>
                      </a:lnTo>
                      <a:lnTo>
                        <a:pt x="253" y="392"/>
                      </a:lnTo>
                      <a:lnTo>
                        <a:pt x="260" y="395"/>
                      </a:lnTo>
                      <a:lnTo>
                        <a:pt x="266" y="399"/>
                      </a:lnTo>
                      <a:lnTo>
                        <a:pt x="271" y="403"/>
                      </a:lnTo>
                      <a:lnTo>
                        <a:pt x="271" y="403"/>
                      </a:lnTo>
                      <a:lnTo>
                        <a:pt x="275" y="406"/>
                      </a:lnTo>
                      <a:lnTo>
                        <a:pt x="278" y="410"/>
                      </a:lnTo>
                      <a:lnTo>
                        <a:pt x="278" y="410"/>
                      </a:lnTo>
                      <a:lnTo>
                        <a:pt x="282" y="414"/>
                      </a:lnTo>
                      <a:lnTo>
                        <a:pt x="282" y="414"/>
                      </a:lnTo>
                      <a:lnTo>
                        <a:pt x="286" y="417"/>
                      </a:lnTo>
                      <a:lnTo>
                        <a:pt x="286" y="417"/>
                      </a:lnTo>
                      <a:lnTo>
                        <a:pt x="290" y="421"/>
                      </a:lnTo>
                      <a:lnTo>
                        <a:pt x="290" y="421"/>
                      </a:lnTo>
                      <a:lnTo>
                        <a:pt x="291" y="427"/>
                      </a:lnTo>
                      <a:lnTo>
                        <a:pt x="293" y="432"/>
                      </a:lnTo>
                      <a:lnTo>
                        <a:pt x="295" y="438"/>
                      </a:lnTo>
                      <a:lnTo>
                        <a:pt x="299" y="451"/>
                      </a:lnTo>
                      <a:lnTo>
                        <a:pt x="302" y="467"/>
                      </a:lnTo>
                      <a:lnTo>
                        <a:pt x="308" y="469"/>
                      </a:lnTo>
                      <a:lnTo>
                        <a:pt x="308" y="469"/>
                      </a:lnTo>
                      <a:lnTo>
                        <a:pt x="312" y="471"/>
                      </a:lnTo>
                      <a:lnTo>
                        <a:pt x="312" y="471"/>
                      </a:lnTo>
                      <a:lnTo>
                        <a:pt x="315" y="475"/>
                      </a:lnTo>
                      <a:lnTo>
                        <a:pt x="319" y="476"/>
                      </a:lnTo>
                      <a:lnTo>
                        <a:pt x="319" y="476"/>
                      </a:lnTo>
                      <a:lnTo>
                        <a:pt x="323" y="480"/>
                      </a:lnTo>
                      <a:lnTo>
                        <a:pt x="326" y="484"/>
                      </a:lnTo>
                      <a:lnTo>
                        <a:pt x="326" y="484"/>
                      </a:lnTo>
                      <a:lnTo>
                        <a:pt x="328" y="488"/>
                      </a:lnTo>
                      <a:lnTo>
                        <a:pt x="330" y="493"/>
                      </a:lnTo>
                      <a:lnTo>
                        <a:pt x="336" y="500"/>
                      </a:lnTo>
                      <a:lnTo>
                        <a:pt x="339" y="510"/>
                      </a:lnTo>
                      <a:lnTo>
                        <a:pt x="343" y="519"/>
                      </a:lnTo>
                      <a:lnTo>
                        <a:pt x="345" y="528"/>
                      </a:lnTo>
                      <a:lnTo>
                        <a:pt x="354" y="535"/>
                      </a:lnTo>
                      <a:lnTo>
                        <a:pt x="362" y="543"/>
                      </a:lnTo>
                      <a:lnTo>
                        <a:pt x="371" y="550"/>
                      </a:lnTo>
                      <a:lnTo>
                        <a:pt x="380" y="556"/>
                      </a:lnTo>
                      <a:lnTo>
                        <a:pt x="384" y="556"/>
                      </a:lnTo>
                      <a:lnTo>
                        <a:pt x="387" y="556"/>
                      </a:lnTo>
                      <a:lnTo>
                        <a:pt x="386" y="548"/>
                      </a:lnTo>
                      <a:lnTo>
                        <a:pt x="384" y="539"/>
                      </a:lnTo>
                      <a:lnTo>
                        <a:pt x="380" y="530"/>
                      </a:lnTo>
                      <a:lnTo>
                        <a:pt x="378" y="523"/>
                      </a:lnTo>
                      <a:lnTo>
                        <a:pt x="374" y="515"/>
                      </a:lnTo>
                      <a:lnTo>
                        <a:pt x="373" y="506"/>
                      </a:lnTo>
                      <a:lnTo>
                        <a:pt x="371" y="499"/>
                      </a:lnTo>
                      <a:lnTo>
                        <a:pt x="367" y="488"/>
                      </a:lnTo>
                      <a:lnTo>
                        <a:pt x="369" y="489"/>
                      </a:lnTo>
                      <a:lnTo>
                        <a:pt x="371" y="489"/>
                      </a:lnTo>
                      <a:lnTo>
                        <a:pt x="374" y="489"/>
                      </a:lnTo>
                      <a:lnTo>
                        <a:pt x="378" y="489"/>
                      </a:lnTo>
                      <a:lnTo>
                        <a:pt x="380" y="489"/>
                      </a:lnTo>
                      <a:lnTo>
                        <a:pt x="387" y="488"/>
                      </a:lnTo>
                      <a:lnTo>
                        <a:pt x="393" y="486"/>
                      </a:lnTo>
                      <a:lnTo>
                        <a:pt x="398" y="484"/>
                      </a:lnTo>
                      <a:lnTo>
                        <a:pt x="404" y="482"/>
                      </a:lnTo>
                      <a:lnTo>
                        <a:pt x="410" y="478"/>
                      </a:lnTo>
                      <a:lnTo>
                        <a:pt x="410" y="478"/>
                      </a:lnTo>
                      <a:lnTo>
                        <a:pt x="419" y="478"/>
                      </a:lnTo>
                      <a:lnTo>
                        <a:pt x="421" y="486"/>
                      </a:lnTo>
                      <a:lnTo>
                        <a:pt x="424" y="491"/>
                      </a:lnTo>
                      <a:lnTo>
                        <a:pt x="428" y="495"/>
                      </a:lnTo>
                      <a:lnTo>
                        <a:pt x="433" y="500"/>
                      </a:lnTo>
                      <a:lnTo>
                        <a:pt x="433" y="499"/>
                      </a:lnTo>
                      <a:lnTo>
                        <a:pt x="433" y="497"/>
                      </a:lnTo>
                      <a:lnTo>
                        <a:pt x="433" y="493"/>
                      </a:lnTo>
                      <a:lnTo>
                        <a:pt x="433" y="489"/>
                      </a:lnTo>
                      <a:lnTo>
                        <a:pt x="432" y="486"/>
                      </a:lnTo>
                      <a:lnTo>
                        <a:pt x="430" y="482"/>
                      </a:lnTo>
                      <a:lnTo>
                        <a:pt x="428" y="478"/>
                      </a:lnTo>
                      <a:lnTo>
                        <a:pt x="426" y="476"/>
                      </a:lnTo>
                      <a:lnTo>
                        <a:pt x="421" y="469"/>
                      </a:lnTo>
                      <a:lnTo>
                        <a:pt x="415" y="464"/>
                      </a:lnTo>
                      <a:lnTo>
                        <a:pt x="410" y="460"/>
                      </a:lnTo>
                      <a:lnTo>
                        <a:pt x="410" y="460"/>
                      </a:lnTo>
                      <a:lnTo>
                        <a:pt x="406" y="454"/>
                      </a:lnTo>
                      <a:lnTo>
                        <a:pt x="404" y="458"/>
                      </a:lnTo>
                      <a:lnTo>
                        <a:pt x="400" y="464"/>
                      </a:lnTo>
                      <a:lnTo>
                        <a:pt x="400" y="464"/>
                      </a:lnTo>
                      <a:lnTo>
                        <a:pt x="393" y="462"/>
                      </a:lnTo>
                      <a:lnTo>
                        <a:pt x="387" y="460"/>
                      </a:lnTo>
                      <a:lnTo>
                        <a:pt x="380" y="458"/>
                      </a:lnTo>
                      <a:lnTo>
                        <a:pt x="373" y="456"/>
                      </a:lnTo>
                      <a:lnTo>
                        <a:pt x="373" y="456"/>
                      </a:lnTo>
                      <a:lnTo>
                        <a:pt x="373" y="451"/>
                      </a:lnTo>
                      <a:lnTo>
                        <a:pt x="373" y="445"/>
                      </a:lnTo>
                      <a:lnTo>
                        <a:pt x="360" y="441"/>
                      </a:lnTo>
                      <a:lnTo>
                        <a:pt x="345" y="438"/>
                      </a:lnTo>
                      <a:lnTo>
                        <a:pt x="332" y="434"/>
                      </a:lnTo>
                      <a:lnTo>
                        <a:pt x="317" y="430"/>
                      </a:lnTo>
                      <a:lnTo>
                        <a:pt x="314" y="419"/>
                      </a:lnTo>
                      <a:lnTo>
                        <a:pt x="310" y="408"/>
                      </a:lnTo>
                      <a:lnTo>
                        <a:pt x="306" y="397"/>
                      </a:lnTo>
                      <a:lnTo>
                        <a:pt x="301" y="386"/>
                      </a:lnTo>
                      <a:lnTo>
                        <a:pt x="297" y="375"/>
                      </a:lnTo>
                      <a:lnTo>
                        <a:pt x="293" y="364"/>
                      </a:lnTo>
                      <a:lnTo>
                        <a:pt x="290" y="353"/>
                      </a:lnTo>
                      <a:lnTo>
                        <a:pt x="286" y="342"/>
                      </a:lnTo>
                      <a:lnTo>
                        <a:pt x="282" y="342"/>
                      </a:lnTo>
                      <a:lnTo>
                        <a:pt x="280" y="340"/>
                      </a:lnTo>
                      <a:lnTo>
                        <a:pt x="277" y="338"/>
                      </a:lnTo>
                      <a:lnTo>
                        <a:pt x="273" y="338"/>
                      </a:lnTo>
                      <a:lnTo>
                        <a:pt x="273" y="336"/>
                      </a:lnTo>
                      <a:lnTo>
                        <a:pt x="273" y="329"/>
                      </a:lnTo>
                      <a:lnTo>
                        <a:pt x="273" y="321"/>
                      </a:lnTo>
                      <a:lnTo>
                        <a:pt x="273" y="312"/>
                      </a:lnTo>
                      <a:lnTo>
                        <a:pt x="273" y="303"/>
                      </a:lnTo>
                      <a:lnTo>
                        <a:pt x="275" y="303"/>
                      </a:lnTo>
                      <a:lnTo>
                        <a:pt x="278" y="303"/>
                      </a:lnTo>
                      <a:lnTo>
                        <a:pt x="284" y="303"/>
                      </a:lnTo>
                      <a:lnTo>
                        <a:pt x="286" y="299"/>
                      </a:lnTo>
                      <a:lnTo>
                        <a:pt x="286" y="296"/>
                      </a:lnTo>
                      <a:lnTo>
                        <a:pt x="286" y="290"/>
                      </a:lnTo>
                      <a:lnTo>
                        <a:pt x="288" y="286"/>
                      </a:lnTo>
                      <a:lnTo>
                        <a:pt x="299" y="285"/>
                      </a:lnTo>
                      <a:lnTo>
                        <a:pt x="308" y="283"/>
                      </a:lnTo>
                      <a:lnTo>
                        <a:pt x="319" y="281"/>
                      </a:lnTo>
                      <a:lnTo>
                        <a:pt x="326" y="279"/>
                      </a:lnTo>
                      <a:lnTo>
                        <a:pt x="319" y="273"/>
                      </a:lnTo>
                      <a:lnTo>
                        <a:pt x="310" y="266"/>
                      </a:lnTo>
                      <a:lnTo>
                        <a:pt x="301" y="261"/>
                      </a:lnTo>
                      <a:lnTo>
                        <a:pt x="290" y="253"/>
                      </a:lnTo>
                      <a:lnTo>
                        <a:pt x="269" y="238"/>
                      </a:lnTo>
                      <a:lnTo>
                        <a:pt x="249" y="224"/>
                      </a:lnTo>
                      <a:lnTo>
                        <a:pt x="238" y="216"/>
                      </a:lnTo>
                      <a:lnTo>
                        <a:pt x="229" y="209"/>
                      </a:lnTo>
                      <a:lnTo>
                        <a:pt x="219" y="201"/>
                      </a:lnTo>
                      <a:lnTo>
                        <a:pt x="210" y="194"/>
                      </a:lnTo>
                      <a:lnTo>
                        <a:pt x="201" y="185"/>
                      </a:lnTo>
                      <a:lnTo>
                        <a:pt x="194" y="177"/>
                      </a:lnTo>
                      <a:lnTo>
                        <a:pt x="190" y="174"/>
                      </a:lnTo>
                      <a:lnTo>
                        <a:pt x="186" y="170"/>
                      </a:lnTo>
                      <a:lnTo>
                        <a:pt x="186" y="170"/>
                      </a:lnTo>
                      <a:lnTo>
                        <a:pt x="183" y="165"/>
                      </a:lnTo>
                      <a:lnTo>
                        <a:pt x="181" y="161"/>
                      </a:lnTo>
                      <a:lnTo>
                        <a:pt x="177" y="161"/>
                      </a:lnTo>
                      <a:lnTo>
                        <a:pt x="173" y="161"/>
                      </a:lnTo>
                      <a:lnTo>
                        <a:pt x="171" y="163"/>
                      </a:lnTo>
                      <a:lnTo>
                        <a:pt x="168" y="163"/>
                      </a:lnTo>
                      <a:lnTo>
                        <a:pt x="168" y="163"/>
                      </a:lnTo>
                      <a:lnTo>
                        <a:pt x="166" y="157"/>
                      </a:lnTo>
                      <a:lnTo>
                        <a:pt x="164" y="153"/>
                      </a:lnTo>
                      <a:lnTo>
                        <a:pt x="164" y="153"/>
                      </a:lnTo>
                      <a:lnTo>
                        <a:pt x="164" y="152"/>
                      </a:lnTo>
                      <a:lnTo>
                        <a:pt x="162" y="148"/>
                      </a:lnTo>
                      <a:lnTo>
                        <a:pt x="155" y="142"/>
                      </a:lnTo>
                      <a:lnTo>
                        <a:pt x="146" y="139"/>
                      </a:lnTo>
                      <a:lnTo>
                        <a:pt x="142" y="135"/>
                      </a:lnTo>
                      <a:lnTo>
                        <a:pt x="142" y="135"/>
                      </a:lnTo>
                      <a:lnTo>
                        <a:pt x="138" y="133"/>
                      </a:lnTo>
                      <a:lnTo>
                        <a:pt x="136" y="129"/>
                      </a:lnTo>
                      <a:lnTo>
                        <a:pt x="136" y="129"/>
                      </a:lnTo>
                      <a:lnTo>
                        <a:pt x="133" y="128"/>
                      </a:lnTo>
                      <a:lnTo>
                        <a:pt x="131" y="124"/>
                      </a:lnTo>
                      <a:lnTo>
                        <a:pt x="131" y="124"/>
                      </a:lnTo>
                      <a:lnTo>
                        <a:pt x="127" y="120"/>
                      </a:lnTo>
                      <a:lnTo>
                        <a:pt x="125" y="117"/>
                      </a:lnTo>
                      <a:lnTo>
                        <a:pt x="123" y="113"/>
                      </a:lnTo>
                      <a:lnTo>
                        <a:pt x="123" y="113"/>
                      </a:lnTo>
                      <a:lnTo>
                        <a:pt x="123" y="109"/>
                      </a:lnTo>
                      <a:lnTo>
                        <a:pt x="122" y="104"/>
                      </a:lnTo>
                      <a:lnTo>
                        <a:pt x="122" y="98"/>
                      </a:lnTo>
                      <a:lnTo>
                        <a:pt x="122" y="94"/>
                      </a:lnTo>
                      <a:lnTo>
                        <a:pt x="122" y="94"/>
                      </a:lnTo>
                      <a:lnTo>
                        <a:pt x="120" y="96"/>
                      </a:lnTo>
                      <a:lnTo>
                        <a:pt x="118" y="96"/>
                      </a:lnTo>
                      <a:lnTo>
                        <a:pt x="118" y="94"/>
                      </a:lnTo>
                      <a:lnTo>
                        <a:pt x="118" y="94"/>
                      </a:lnTo>
                      <a:lnTo>
                        <a:pt x="116" y="93"/>
                      </a:lnTo>
                      <a:lnTo>
                        <a:pt x="116" y="93"/>
                      </a:lnTo>
                      <a:lnTo>
                        <a:pt x="118" y="91"/>
                      </a:lnTo>
                      <a:lnTo>
                        <a:pt x="118" y="91"/>
                      </a:lnTo>
                      <a:lnTo>
                        <a:pt x="118" y="89"/>
                      </a:lnTo>
                      <a:lnTo>
                        <a:pt x="111" y="83"/>
                      </a:lnTo>
                      <a:lnTo>
                        <a:pt x="101" y="78"/>
                      </a:lnTo>
                      <a:lnTo>
                        <a:pt x="92" y="72"/>
                      </a:lnTo>
                      <a:lnTo>
                        <a:pt x="83" y="65"/>
                      </a:lnTo>
                      <a:lnTo>
                        <a:pt x="83" y="65"/>
                      </a:lnTo>
                      <a:lnTo>
                        <a:pt x="85" y="61"/>
                      </a:lnTo>
                      <a:lnTo>
                        <a:pt x="85" y="58"/>
                      </a:lnTo>
                      <a:lnTo>
                        <a:pt x="81" y="54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0" y="46"/>
                      </a:lnTo>
                      <a:lnTo>
                        <a:pt x="66" y="43"/>
                      </a:lnTo>
                      <a:lnTo>
                        <a:pt x="57" y="34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46" y="21"/>
                      </a:lnTo>
                      <a:lnTo>
                        <a:pt x="42" y="17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5" y="10"/>
                      </a:lnTo>
                      <a:lnTo>
                        <a:pt x="31" y="6"/>
                      </a:lnTo>
                      <a:lnTo>
                        <a:pt x="27" y="4"/>
                      </a:lnTo>
                      <a:lnTo>
                        <a:pt x="22" y="2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6" name="Freeform 3010"/>
                <p:cNvSpPr>
                  <a:spLocks/>
                </p:cNvSpPr>
                <p:nvPr/>
              </p:nvSpPr>
              <p:spPr bwMode="auto">
                <a:xfrm>
                  <a:off x="5037" y="2251"/>
                  <a:ext cx="11" cy="26"/>
                </a:xfrm>
                <a:custGeom>
                  <a:avLst/>
                  <a:gdLst>
                    <a:gd name="T0" fmla="*/ 0 w 11"/>
                    <a:gd name="T1" fmla="*/ 0 h 26"/>
                    <a:gd name="T2" fmla="*/ 0 w 11"/>
                    <a:gd name="T3" fmla="*/ 0 h 26"/>
                    <a:gd name="T4" fmla="*/ 0 w 11"/>
                    <a:gd name="T5" fmla="*/ 0 h 26"/>
                    <a:gd name="T6" fmla="*/ 1 w 11"/>
                    <a:gd name="T7" fmla="*/ 2 h 26"/>
                    <a:gd name="T8" fmla="*/ 3 w 11"/>
                    <a:gd name="T9" fmla="*/ 4 h 26"/>
                    <a:gd name="T10" fmla="*/ 5 w 11"/>
                    <a:gd name="T11" fmla="*/ 6 h 26"/>
                    <a:gd name="T12" fmla="*/ 5 w 11"/>
                    <a:gd name="T13" fmla="*/ 6 h 26"/>
                    <a:gd name="T14" fmla="*/ 7 w 11"/>
                    <a:gd name="T15" fmla="*/ 6 h 26"/>
                    <a:gd name="T16" fmla="*/ 7 w 11"/>
                    <a:gd name="T17" fmla="*/ 6 h 26"/>
                    <a:gd name="T18" fmla="*/ 7 w 11"/>
                    <a:gd name="T19" fmla="*/ 8 h 26"/>
                    <a:gd name="T20" fmla="*/ 7 w 11"/>
                    <a:gd name="T21" fmla="*/ 8 h 26"/>
                    <a:gd name="T22" fmla="*/ 9 w 11"/>
                    <a:gd name="T23" fmla="*/ 12 h 26"/>
                    <a:gd name="T24" fmla="*/ 9 w 11"/>
                    <a:gd name="T25" fmla="*/ 12 h 26"/>
                    <a:gd name="T26" fmla="*/ 9 w 11"/>
                    <a:gd name="T27" fmla="*/ 15 h 26"/>
                    <a:gd name="T28" fmla="*/ 9 w 11"/>
                    <a:gd name="T29" fmla="*/ 19 h 26"/>
                    <a:gd name="T30" fmla="*/ 11 w 11"/>
                    <a:gd name="T31" fmla="*/ 26 h 26"/>
                    <a:gd name="T32" fmla="*/ 9 w 11"/>
                    <a:gd name="T33" fmla="*/ 19 h 26"/>
                    <a:gd name="T34" fmla="*/ 9 w 11"/>
                    <a:gd name="T35" fmla="*/ 15 h 26"/>
                    <a:gd name="T36" fmla="*/ 9 w 11"/>
                    <a:gd name="T37" fmla="*/ 12 h 26"/>
                    <a:gd name="T38" fmla="*/ 9 w 11"/>
                    <a:gd name="T39" fmla="*/ 12 h 26"/>
                    <a:gd name="T40" fmla="*/ 7 w 11"/>
                    <a:gd name="T41" fmla="*/ 8 h 26"/>
                    <a:gd name="T42" fmla="*/ 7 w 11"/>
                    <a:gd name="T43" fmla="*/ 8 h 26"/>
                    <a:gd name="T44" fmla="*/ 7 w 11"/>
                    <a:gd name="T45" fmla="*/ 6 h 26"/>
                    <a:gd name="T46" fmla="*/ 7 w 11"/>
                    <a:gd name="T47" fmla="*/ 6 h 26"/>
                    <a:gd name="T48" fmla="*/ 5 w 11"/>
                    <a:gd name="T49" fmla="*/ 6 h 26"/>
                    <a:gd name="T50" fmla="*/ 5 w 11"/>
                    <a:gd name="T51" fmla="*/ 6 h 26"/>
                    <a:gd name="T52" fmla="*/ 3 w 11"/>
                    <a:gd name="T53" fmla="*/ 4 h 26"/>
                    <a:gd name="T54" fmla="*/ 1 w 11"/>
                    <a:gd name="T55" fmla="*/ 2 h 26"/>
                    <a:gd name="T56" fmla="*/ 0 w 11"/>
                    <a:gd name="T57" fmla="*/ 0 h 26"/>
                    <a:gd name="T58" fmla="*/ 0 w 11"/>
                    <a:gd name="T59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9" y="12"/>
                      </a:lnTo>
                      <a:lnTo>
                        <a:pt x="9" y="12"/>
                      </a:lnTo>
                      <a:lnTo>
                        <a:pt x="9" y="15"/>
                      </a:lnTo>
                      <a:lnTo>
                        <a:pt x="9" y="19"/>
                      </a:lnTo>
                      <a:lnTo>
                        <a:pt x="11" y="26"/>
                      </a:lnTo>
                      <a:lnTo>
                        <a:pt x="9" y="19"/>
                      </a:lnTo>
                      <a:lnTo>
                        <a:pt x="9" y="15"/>
                      </a:lnTo>
                      <a:lnTo>
                        <a:pt x="9" y="12"/>
                      </a:lnTo>
                      <a:lnTo>
                        <a:pt x="9" y="12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3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7" name="Freeform 3011"/>
                <p:cNvSpPr>
                  <a:spLocks/>
                </p:cNvSpPr>
                <p:nvPr/>
              </p:nvSpPr>
              <p:spPr bwMode="auto">
                <a:xfrm>
                  <a:off x="5037" y="2251"/>
                  <a:ext cx="11" cy="26"/>
                </a:xfrm>
                <a:custGeom>
                  <a:avLst/>
                  <a:gdLst>
                    <a:gd name="T0" fmla="*/ 0 w 11"/>
                    <a:gd name="T1" fmla="*/ 0 h 26"/>
                    <a:gd name="T2" fmla="*/ 0 w 11"/>
                    <a:gd name="T3" fmla="*/ 0 h 26"/>
                    <a:gd name="T4" fmla="*/ 0 w 11"/>
                    <a:gd name="T5" fmla="*/ 0 h 26"/>
                    <a:gd name="T6" fmla="*/ 1 w 11"/>
                    <a:gd name="T7" fmla="*/ 2 h 26"/>
                    <a:gd name="T8" fmla="*/ 3 w 11"/>
                    <a:gd name="T9" fmla="*/ 4 h 26"/>
                    <a:gd name="T10" fmla="*/ 5 w 11"/>
                    <a:gd name="T11" fmla="*/ 6 h 26"/>
                    <a:gd name="T12" fmla="*/ 5 w 11"/>
                    <a:gd name="T13" fmla="*/ 6 h 26"/>
                    <a:gd name="T14" fmla="*/ 7 w 11"/>
                    <a:gd name="T15" fmla="*/ 6 h 26"/>
                    <a:gd name="T16" fmla="*/ 7 w 11"/>
                    <a:gd name="T17" fmla="*/ 6 h 26"/>
                    <a:gd name="T18" fmla="*/ 7 w 11"/>
                    <a:gd name="T19" fmla="*/ 8 h 26"/>
                    <a:gd name="T20" fmla="*/ 7 w 11"/>
                    <a:gd name="T21" fmla="*/ 8 h 26"/>
                    <a:gd name="T22" fmla="*/ 9 w 11"/>
                    <a:gd name="T23" fmla="*/ 12 h 26"/>
                    <a:gd name="T24" fmla="*/ 9 w 11"/>
                    <a:gd name="T25" fmla="*/ 12 h 26"/>
                    <a:gd name="T26" fmla="*/ 9 w 11"/>
                    <a:gd name="T27" fmla="*/ 15 h 26"/>
                    <a:gd name="T28" fmla="*/ 9 w 11"/>
                    <a:gd name="T29" fmla="*/ 19 h 26"/>
                    <a:gd name="T30" fmla="*/ 11 w 11"/>
                    <a:gd name="T31" fmla="*/ 26 h 26"/>
                    <a:gd name="T32" fmla="*/ 9 w 11"/>
                    <a:gd name="T33" fmla="*/ 19 h 26"/>
                    <a:gd name="T34" fmla="*/ 9 w 11"/>
                    <a:gd name="T35" fmla="*/ 15 h 26"/>
                    <a:gd name="T36" fmla="*/ 9 w 11"/>
                    <a:gd name="T37" fmla="*/ 12 h 26"/>
                    <a:gd name="T38" fmla="*/ 9 w 11"/>
                    <a:gd name="T39" fmla="*/ 12 h 26"/>
                    <a:gd name="T40" fmla="*/ 7 w 11"/>
                    <a:gd name="T41" fmla="*/ 8 h 26"/>
                    <a:gd name="T42" fmla="*/ 7 w 11"/>
                    <a:gd name="T43" fmla="*/ 8 h 26"/>
                    <a:gd name="T44" fmla="*/ 7 w 11"/>
                    <a:gd name="T45" fmla="*/ 6 h 26"/>
                    <a:gd name="T46" fmla="*/ 7 w 11"/>
                    <a:gd name="T47" fmla="*/ 6 h 26"/>
                    <a:gd name="T48" fmla="*/ 5 w 11"/>
                    <a:gd name="T49" fmla="*/ 6 h 26"/>
                    <a:gd name="T50" fmla="*/ 5 w 11"/>
                    <a:gd name="T51" fmla="*/ 6 h 26"/>
                    <a:gd name="T52" fmla="*/ 3 w 11"/>
                    <a:gd name="T53" fmla="*/ 4 h 26"/>
                    <a:gd name="T54" fmla="*/ 1 w 11"/>
                    <a:gd name="T55" fmla="*/ 2 h 26"/>
                    <a:gd name="T56" fmla="*/ 0 w 11"/>
                    <a:gd name="T57" fmla="*/ 0 h 26"/>
                    <a:gd name="T58" fmla="*/ 0 w 11"/>
                    <a:gd name="T59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9" y="12"/>
                      </a:lnTo>
                      <a:lnTo>
                        <a:pt x="9" y="12"/>
                      </a:lnTo>
                      <a:lnTo>
                        <a:pt x="9" y="15"/>
                      </a:lnTo>
                      <a:lnTo>
                        <a:pt x="9" y="19"/>
                      </a:lnTo>
                      <a:lnTo>
                        <a:pt x="11" y="26"/>
                      </a:lnTo>
                      <a:lnTo>
                        <a:pt x="9" y="19"/>
                      </a:lnTo>
                      <a:lnTo>
                        <a:pt x="9" y="15"/>
                      </a:lnTo>
                      <a:lnTo>
                        <a:pt x="9" y="12"/>
                      </a:lnTo>
                      <a:lnTo>
                        <a:pt x="9" y="12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3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8" name="Freeform 3012"/>
                <p:cNvSpPr>
                  <a:spLocks noEditPoints="1"/>
                </p:cNvSpPr>
                <p:nvPr/>
              </p:nvSpPr>
              <p:spPr bwMode="auto">
                <a:xfrm>
                  <a:off x="4996" y="2203"/>
                  <a:ext cx="437" cy="560"/>
                </a:xfrm>
                <a:custGeom>
                  <a:avLst/>
                  <a:gdLst>
                    <a:gd name="T0" fmla="*/ 24 w 437"/>
                    <a:gd name="T1" fmla="*/ 4 h 560"/>
                    <a:gd name="T2" fmla="*/ 59 w 437"/>
                    <a:gd name="T3" fmla="*/ 36 h 560"/>
                    <a:gd name="T4" fmla="*/ 94 w 437"/>
                    <a:gd name="T5" fmla="*/ 74 h 560"/>
                    <a:gd name="T6" fmla="*/ 120 w 437"/>
                    <a:gd name="T7" fmla="*/ 98 h 560"/>
                    <a:gd name="T8" fmla="*/ 129 w 437"/>
                    <a:gd name="T9" fmla="*/ 122 h 560"/>
                    <a:gd name="T10" fmla="*/ 157 w 437"/>
                    <a:gd name="T11" fmla="*/ 144 h 560"/>
                    <a:gd name="T12" fmla="*/ 179 w 437"/>
                    <a:gd name="T13" fmla="*/ 163 h 560"/>
                    <a:gd name="T14" fmla="*/ 231 w 437"/>
                    <a:gd name="T15" fmla="*/ 211 h 560"/>
                    <a:gd name="T16" fmla="*/ 310 w 437"/>
                    <a:gd name="T17" fmla="*/ 285 h 560"/>
                    <a:gd name="T18" fmla="*/ 275 w 437"/>
                    <a:gd name="T19" fmla="*/ 314 h 560"/>
                    <a:gd name="T20" fmla="*/ 295 w 437"/>
                    <a:gd name="T21" fmla="*/ 366 h 560"/>
                    <a:gd name="T22" fmla="*/ 375 w 437"/>
                    <a:gd name="T23" fmla="*/ 447 h 560"/>
                    <a:gd name="T24" fmla="*/ 408 w 437"/>
                    <a:gd name="T25" fmla="*/ 456 h 560"/>
                    <a:gd name="T26" fmla="*/ 435 w 437"/>
                    <a:gd name="T27" fmla="*/ 495 h 560"/>
                    <a:gd name="T28" fmla="*/ 406 w 437"/>
                    <a:gd name="T29" fmla="*/ 484 h 560"/>
                    <a:gd name="T30" fmla="*/ 373 w 437"/>
                    <a:gd name="T31" fmla="*/ 501 h 560"/>
                    <a:gd name="T32" fmla="*/ 373 w 437"/>
                    <a:gd name="T33" fmla="*/ 552 h 560"/>
                    <a:gd name="T34" fmla="*/ 338 w 437"/>
                    <a:gd name="T35" fmla="*/ 502 h 560"/>
                    <a:gd name="T36" fmla="*/ 314 w 437"/>
                    <a:gd name="T37" fmla="*/ 473 h 560"/>
                    <a:gd name="T38" fmla="*/ 295 w 437"/>
                    <a:gd name="T39" fmla="*/ 434 h 560"/>
                    <a:gd name="T40" fmla="*/ 277 w 437"/>
                    <a:gd name="T41" fmla="*/ 408 h 560"/>
                    <a:gd name="T42" fmla="*/ 225 w 437"/>
                    <a:gd name="T43" fmla="*/ 338 h 560"/>
                    <a:gd name="T44" fmla="*/ 185 w 437"/>
                    <a:gd name="T45" fmla="*/ 279 h 560"/>
                    <a:gd name="T46" fmla="*/ 162 w 437"/>
                    <a:gd name="T47" fmla="*/ 253 h 560"/>
                    <a:gd name="T48" fmla="*/ 135 w 437"/>
                    <a:gd name="T49" fmla="*/ 213 h 560"/>
                    <a:gd name="T50" fmla="*/ 68 w 437"/>
                    <a:gd name="T51" fmla="*/ 150 h 560"/>
                    <a:gd name="T52" fmla="*/ 46 w 437"/>
                    <a:gd name="T53" fmla="*/ 111 h 560"/>
                    <a:gd name="T54" fmla="*/ 28 w 437"/>
                    <a:gd name="T55" fmla="*/ 89 h 560"/>
                    <a:gd name="T56" fmla="*/ 50 w 437"/>
                    <a:gd name="T57" fmla="*/ 67 h 560"/>
                    <a:gd name="T58" fmla="*/ 44 w 437"/>
                    <a:gd name="T59" fmla="*/ 52 h 560"/>
                    <a:gd name="T60" fmla="*/ 26 w 437"/>
                    <a:gd name="T61" fmla="*/ 30 h 560"/>
                    <a:gd name="T62" fmla="*/ 20 w 437"/>
                    <a:gd name="T63" fmla="*/ 0 h 560"/>
                    <a:gd name="T64" fmla="*/ 0 w 437"/>
                    <a:gd name="T65" fmla="*/ 13 h 560"/>
                    <a:gd name="T66" fmla="*/ 41 w 437"/>
                    <a:gd name="T67" fmla="*/ 43 h 560"/>
                    <a:gd name="T68" fmla="*/ 41 w 437"/>
                    <a:gd name="T69" fmla="*/ 52 h 560"/>
                    <a:gd name="T70" fmla="*/ 50 w 437"/>
                    <a:gd name="T71" fmla="*/ 72 h 560"/>
                    <a:gd name="T72" fmla="*/ 26 w 437"/>
                    <a:gd name="T73" fmla="*/ 89 h 560"/>
                    <a:gd name="T74" fmla="*/ 52 w 437"/>
                    <a:gd name="T75" fmla="*/ 120 h 560"/>
                    <a:gd name="T76" fmla="*/ 68 w 437"/>
                    <a:gd name="T77" fmla="*/ 159 h 560"/>
                    <a:gd name="T78" fmla="*/ 146 w 437"/>
                    <a:gd name="T79" fmla="*/ 227 h 560"/>
                    <a:gd name="T80" fmla="*/ 166 w 437"/>
                    <a:gd name="T81" fmla="*/ 270 h 560"/>
                    <a:gd name="T82" fmla="*/ 203 w 437"/>
                    <a:gd name="T83" fmla="*/ 305 h 560"/>
                    <a:gd name="T84" fmla="*/ 260 w 437"/>
                    <a:gd name="T85" fmla="*/ 397 h 560"/>
                    <a:gd name="T86" fmla="*/ 295 w 437"/>
                    <a:gd name="T87" fmla="*/ 440 h 560"/>
                    <a:gd name="T88" fmla="*/ 332 w 437"/>
                    <a:gd name="T89" fmla="*/ 495 h 560"/>
                    <a:gd name="T90" fmla="*/ 386 w 437"/>
                    <a:gd name="T91" fmla="*/ 560 h 560"/>
                    <a:gd name="T92" fmla="*/ 371 w 437"/>
                    <a:gd name="T93" fmla="*/ 491 h 560"/>
                    <a:gd name="T94" fmla="*/ 395 w 437"/>
                    <a:gd name="T95" fmla="*/ 490 h 560"/>
                    <a:gd name="T96" fmla="*/ 437 w 437"/>
                    <a:gd name="T97" fmla="*/ 501 h 560"/>
                    <a:gd name="T98" fmla="*/ 432 w 437"/>
                    <a:gd name="T99" fmla="*/ 480 h 560"/>
                    <a:gd name="T100" fmla="*/ 397 w 437"/>
                    <a:gd name="T101" fmla="*/ 462 h 560"/>
                    <a:gd name="T102" fmla="*/ 321 w 437"/>
                    <a:gd name="T103" fmla="*/ 430 h 560"/>
                    <a:gd name="T104" fmla="*/ 297 w 437"/>
                    <a:gd name="T105" fmla="*/ 364 h 560"/>
                    <a:gd name="T106" fmla="*/ 277 w 437"/>
                    <a:gd name="T107" fmla="*/ 314 h 560"/>
                    <a:gd name="T108" fmla="*/ 310 w 437"/>
                    <a:gd name="T109" fmla="*/ 287 h 560"/>
                    <a:gd name="T110" fmla="*/ 231 w 437"/>
                    <a:gd name="T111" fmla="*/ 211 h 560"/>
                    <a:gd name="T112" fmla="*/ 183 w 437"/>
                    <a:gd name="T113" fmla="*/ 161 h 560"/>
                    <a:gd name="T114" fmla="*/ 157 w 437"/>
                    <a:gd name="T115" fmla="*/ 144 h 560"/>
                    <a:gd name="T116" fmla="*/ 127 w 437"/>
                    <a:gd name="T117" fmla="*/ 109 h 560"/>
                    <a:gd name="T118" fmla="*/ 122 w 437"/>
                    <a:gd name="T119" fmla="*/ 93 h 560"/>
                    <a:gd name="T120" fmla="*/ 77 w 437"/>
                    <a:gd name="T121" fmla="*/ 52 h 560"/>
                    <a:gd name="T122" fmla="*/ 46 w 437"/>
                    <a:gd name="T123" fmla="*/ 19 h 560"/>
                    <a:gd name="T124" fmla="*/ 20 w 437"/>
                    <a:gd name="T12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37" h="560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9" y="8"/>
                      </a:lnTo>
                      <a:lnTo>
                        <a:pt x="13" y="6"/>
                      </a:lnTo>
                      <a:lnTo>
                        <a:pt x="17" y="6"/>
                      </a:lnTo>
                      <a:lnTo>
                        <a:pt x="18" y="6"/>
                      </a:lnTo>
                      <a:lnTo>
                        <a:pt x="18" y="4"/>
                      </a:lnTo>
                      <a:lnTo>
                        <a:pt x="20" y="2"/>
                      </a:lnTo>
                      <a:lnTo>
                        <a:pt x="24" y="4"/>
                      </a:lnTo>
                      <a:lnTo>
                        <a:pt x="29" y="6"/>
                      </a:lnTo>
                      <a:lnTo>
                        <a:pt x="33" y="8"/>
                      </a:lnTo>
                      <a:lnTo>
                        <a:pt x="37" y="12"/>
                      </a:lnTo>
                      <a:lnTo>
                        <a:pt x="41" y="15"/>
                      </a:lnTo>
                      <a:lnTo>
                        <a:pt x="41" y="15"/>
                      </a:lnTo>
                      <a:lnTo>
                        <a:pt x="44" y="19"/>
                      </a:lnTo>
                      <a:lnTo>
                        <a:pt x="48" y="23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9" y="36"/>
                      </a:lnTo>
                      <a:lnTo>
                        <a:pt x="68" y="45"/>
                      </a:lnTo>
                      <a:lnTo>
                        <a:pt x="72" y="48"/>
                      </a:lnTo>
                      <a:lnTo>
                        <a:pt x="77" y="52"/>
                      </a:lnTo>
                      <a:lnTo>
                        <a:pt x="77" y="52"/>
                      </a:lnTo>
                      <a:lnTo>
                        <a:pt x="83" y="56"/>
                      </a:lnTo>
                      <a:lnTo>
                        <a:pt x="87" y="60"/>
                      </a:lnTo>
                      <a:lnTo>
                        <a:pt x="87" y="63"/>
                      </a:lnTo>
                      <a:lnTo>
                        <a:pt x="85" y="67"/>
                      </a:lnTo>
                      <a:lnTo>
                        <a:pt x="85" y="67"/>
                      </a:lnTo>
                      <a:lnTo>
                        <a:pt x="94" y="74"/>
                      </a:lnTo>
                      <a:lnTo>
                        <a:pt x="103" y="80"/>
                      </a:lnTo>
                      <a:lnTo>
                        <a:pt x="113" y="85"/>
                      </a:lnTo>
                      <a:lnTo>
                        <a:pt x="120" y="91"/>
                      </a:lnTo>
                      <a:lnTo>
                        <a:pt x="120" y="93"/>
                      </a:lnTo>
                      <a:lnTo>
                        <a:pt x="120" y="93"/>
                      </a:lnTo>
                      <a:lnTo>
                        <a:pt x="118" y="95"/>
                      </a:lnTo>
                      <a:lnTo>
                        <a:pt x="118" y="95"/>
                      </a:lnTo>
                      <a:lnTo>
                        <a:pt x="120" y="96"/>
                      </a:lnTo>
                      <a:lnTo>
                        <a:pt x="120" y="96"/>
                      </a:lnTo>
                      <a:lnTo>
                        <a:pt x="120" y="98"/>
                      </a:lnTo>
                      <a:lnTo>
                        <a:pt x="122" y="98"/>
                      </a:lnTo>
                      <a:lnTo>
                        <a:pt x="124" y="96"/>
                      </a:lnTo>
                      <a:lnTo>
                        <a:pt x="124" y="96"/>
                      </a:lnTo>
                      <a:lnTo>
                        <a:pt x="124" y="100"/>
                      </a:lnTo>
                      <a:lnTo>
                        <a:pt x="124" y="106"/>
                      </a:lnTo>
                      <a:lnTo>
                        <a:pt x="125" y="111"/>
                      </a:lnTo>
                      <a:lnTo>
                        <a:pt x="125" y="115"/>
                      </a:lnTo>
                      <a:lnTo>
                        <a:pt x="125" y="115"/>
                      </a:lnTo>
                      <a:lnTo>
                        <a:pt x="127" y="119"/>
                      </a:lnTo>
                      <a:lnTo>
                        <a:pt x="129" y="122"/>
                      </a:lnTo>
                      <a:lnTo>
                        <a:pt x="133" y="126"/>
                      </a:lnTo>
                      <a:lnTo>
                        <a:pt x="133" y="126"/>
                      </a:lnTo>
                      <a:lnTo>
                        <a:pt x="135" y="130"/>
                      </a:lnTo>
                      <a:lnTo>
                        <a:pt x="138" y="131"/>
                      </a:lnTo>
                      <a:lnTo>
                        <a:pt x="138" y="131"/>
                      </a:lnTo>
                      <a:lnTo>
                        <a:pt x="140" y="135"/>
                      </a:lnTo>
                      <a:lnTo>
                        <a:pt x="144" y="137"/>
                      </a:lnTo>
                      <a:lnTo>
                        <a:pt x="144" y="137"/>
                      </a:lnTo>
                      <a:lnTo>
                        <a:pt x="148" y="141"/>
                      </a:lnTo>
                      <a:lnTo>
                        <a:pt x="157" y="144"/>
                      </a:lnTo>
                      <a:lnTo>
                        <a:pt x="164" y="150"/>
                      </a:lnTo>
                      <a:lnTo>
                        <a:pt x="166" y="154"/>
                      </a:lnTo>
                      <a:lnTo>
                        <a:pt x="166" y="155"/>
                      </a:lnTo>
                      <a:lnTo>
                        <a:pt x="166" y="155"/>
                      </a:lnTo>
                      <a:lnTo>
                        <a:pt x="168" y="159"/>
                      </a:lnTo>
                      <a:lnTo>
                        <a:pt x="170" y="165"/>
                      </a:lnTo>
                      <a:lnTo>
                        <a:pt x="170" y="165"/>
                      </a:lnTo>
                      <a:lnTo>
                        <a:pt x="173" y="165"/>
                      </a:lnTo>
                      <a:lnTo>
                        <a:pt x="175" y="163"/>
                      </a:lnTo>
                      <a:lnTo>
                        <a:pt x="179" y="163"/>
                      </a:lnTo>
                      <a:lnTo>
                        <a:pt x="183" y="163"/>
                      </a:lnTo>
                      <a:lnTo>
                        <a:pt x="185" y="167"/>
                      </a:lnTo>
                      <a:lnTo>
                        <a:pt x="188" y="172"/>
                      </a:lnTo>
                      <a:lnTo>
                        <a:pt x="188" y="172"/>
                      </a:lnTo>
                      <a:lnTo>
                        <a:pt x="192" y="176"/>
                      </a:lnTo>
                      <a:lnTo>
                        <a:pt x="196" y="179"/>
                      </a:lnTo>
                      <a:lnTo>
                        <a:pt x="203" y="187"/>
                      </a:lnTo>
                      <a:lnTo>
                        <a:pt x="212" y="196"/>
                      </a:lnTo>
                      <a:lnTo>
                        <a:pt x="221" y="203"/>
                      </a:lnTo>
                      <a:lnTo>
                        <a:pt x="231" y="211"/>
                      </a:lnTo>
                      <a:lnTo>
                        <a:pt x="240" y="218"/>
                      </a:lnTo>
                      <a:lnTo>
                        <a:pt x="251" y="226"/>
                      </a:lnTo>
                      <a:lnTo>
                        <a:pt x="271" y="240"/>
                      </a:lnTo>
                      <a:lnTo>
                        <a:pt x="292" y="255"/>
                      </a:lnTo>
                      <a:lnTo>
                        <a:pt x="303" y="263"/>
                      </a:lnTo>
                      <a:lnTo>
                        <a:pt x="312" y="268"/>
                      </a:lnTo>
                      <a:lnTo>
                        <a:pt x="321" y="275"/>
                      </a:lnTo>
                      <a:lnTo>
                        <a:pt x="328" y="281"/>
                      </a:lnTo>
                      <a:lnTo>
                        <a:pt x="321" y="283"/>
                      </a:lnTo>
                      <a:lnTo>
                        <a:pt x="310" y="285"/>
                      </a:lnTo>
                      <a:lnTo>
                        <a:pt x="301" y="287"/>
                      </a:lnTo>
                      <a:lnTo>
                        <a:pt x="290" y="288"/>
                      </a:lnTo>
                      <a:lnTo>
                        <a:pt x="288" y="292"/>
                      </a:lnTo>
                      <a:lnTo>
                        <a:pt x="288" y="298"/>
                      </a:lnTo>
                      <a:lnTo>
                        <a:pt x="288" y="301"/>
                      </a:lnTo>
                      <a:lnTo>
                        <a:pt x="286" y="305"/>
                      </a:lnTo>
                      <a:lnTo>
                        <a:pt x="280" y="305"/>
                      </a:lnTo>
                      <a:lnTo>
                        <a:pt x="277" y="305"/>
                      </a:lnTo>
                      <a:lnTo>
                        <a:pt x="275" y="305"/>
                      </a:lnTo>
                      <a:lnTo>
                        <a:pt x="275" y="314"/>
                      </a:lnTo>
                      <a:lnTo>
                        <a:pt x="275" y="323"/>
                      </a:lnTo>
                      <a:lnTo>
                        <a:pt x="275" y="331"/>
                      </a:lnTo>
                      <a:lnTo>
                        <a:pt x="275" y="338"/>
                      </a:lnTo>
                      <a:lnTo>
                        <a:pt x="275" y="340"/>
                      </a:lnTo>
                      <a:lnTo>
                        <a:pt x="279" y="340"/>
                      </a:lnTo>
                      <a:lnTo>
                        <a:pt x="282" y="342"/>
                      </a:lnTo>
                      <a:lnTo>
                        <a:pt x="284" y="344"/>
                      </a:lnTo>
                      <a:lnTo>
                        <a:pt x="288" y="344"/>
                      </a:lnTo>
                      <a:lnTo>
                        <a:pt x="292" y="355"/>
                      </a:lnTo>
                      <a:lnTo>
                        <a:pt x="295" y="366"/>
                      </a:lnTo>
                      <a:lnTo>
                        <a:pt x="299" y="377"/>
                      </a:lnTo>
                      <a:lnTo>
                        <a:pt x="303" y="388"/>
                      </a:lnTo>
                      <a:lnTo>
                        <a:pt x="308" y="399"/>
                      </a:lnTo>
                      <a:lnTo>
                        <a:pt x="312" y="410"/>
                      </a:lnTo>
                      <a:lnTo>
                        <a:pt x="316" y="421"/>
                      </a:lnTo>
                      <a:lnTo>
                        <a:pt x="319" y="432"/>
                      </a:lnTo>
                      <a:lnTo>
                        <a:pt x="334" y="436"/>
                      </a:lnTo>
                      <a:lnTo>
                        <a:pt x="347" y="440"/>
                      </a:lnTo>
                      <a:lnTo>
                        <a:pt x="362" y="443"/>
                      </a:lnTo>
                      <a:lnTo>
                        <a:pt x="375" y="447"/>
                      </a:lnTo>
                      <a:lnTo>
                        <a:pt x="375" y="453"/>
                      </a:lnTo>
                      <a:lnTo>
                        <a:pt x="375" y="458"/>
                      </a:lnTo>
                      <a:lnTo>
                        <a:pt x="375" y="458"/>
                      </a:lnTo>
                      <a:lnTo>
                        <a:pt x="382" y="460"/>
                      </a:lnTo>
                      <a:lnTo>
                        <a:pt x="389" y="462"/>
                      </a:lnTo>
                      <a:lnTo>
                        <a:pt x="395" y="464"/>
                      </a:lnTo>
                      <a:lnTo>
                        <a:pt x="402" y="466"/>
                      </a:lnTo>
                      <a:lnTo>
                        <a:pt x="402" y="466"/>
                      </a:lnTo>
                      <a:lnTo>
                        <a:pt x="406" y="460"/>
                      </a:lnTo>
                      <a:lnTo>
                        <a:pt x="408" y="456"/>
                      </a:lnTo>
                      <a:lnTo>
                        <a:pt x="412" y="462"/>
                      </a:lnTo>
                      <a:lnTo>
                        <a:pt x="412" y="462"/>
                      </a:lnTo>
                      <a:lnTo>
                        <a:pt x="417" y="466"/>
                      </a:lnTo>
                      <a:lnTo>
                        <a:pt x="423" y="471"/>
                      </a:lnTo>
                      <a:lnTo>
                        <a:pt x="428" y="478"/>
                      </a:lnTo>
                      <a:lnTo>
                        <a:pt x="430" y="480"/>
                      </a:lnTo>
                      <a:lnTo>
                        <a:pt x="432" y="484"/>
                      </a:lnTo>
                      <a:lnTo>
                        <a:pt x="434" y="488"/>
                      </a:lnTo>
                      <a:lnTo>
                        <a:pt x="435" y="491"/>
                      </a:lnTo>
                      <a:lnTo>
                        <a:pt x="435" y="495"/>
                      </a:lnTo>
                      <a:lnTo>
                        <a:pt x="435" y="499"/>
                      </a:lnTo>
                      <a:lnTo>
                        <a:pt x="435" y="501"/>
                      </a:lnTo>
                      <a:lnTo>
                        <a:pt x="435" y="502"/>
                      </a:lnTo>
                      <a:lnTo>
                        <a:pt x="430" y="497"/>
                      </a:lnTo>
                      <a:lnTo>
                        <a:pt x="426" y="493"/>
                      </a:lnTo>
                      <a:lnTo>
                        <a:pt x="423" y="488"/>
                      </a:lnTo>
                      <a:lnTo>
                        <a:pt x="421" y="480"/>
                      </a:lnTo>
                      <a:lnTo>
                        <a:pt x="412" y="480"/>
                      </a:lnTo>
                      <a:lnTo>
                        <a:pt x="412" y="480"/>
                      </a:lnTo>
                      <a:lnTo>
                        <a:pt x="406" y="484"/>
                      </a:lnTo>
                      <a:lnTo>
                        <a:pt x="400" y="486"/>
                      </a:lnTo>
                      <a:lnTo>
                        <a:pt x="395" y="488"/>
                      </a:lnTo>
                      <a:lnTo>
                        <a:pt x="389" y="490"/>
                      </a:lnTo>
                      <a:lnTo>
                        <a:pt x="382" y="491"/>
                      </a:lnTo>
                      <a:lnTo>
                        <a:pt x="380" y="491"/>
                      </a:lnTo>
                      <a:lnTo>
                        <a:pt x="376" y="491"/>
                      </a:lnTo>
                      <a:lnTo>
                        <a:pt x="373" y="491"/>
                      </a:lnTo>
                      <a:lnTo>
                        <a:pt x="371" y="491"/>
                      </a:lnTo>
                      <a:lnTo>
                        <a:pt x="369" y="490"/>
                      </a:lnTo>
                      <a:lnTo>
                        <a:pt x="373" y="501"/>
                      </a:lnTo>
                      <a:lnTo>
                        <a:pt x="375" y="508"/>
                      </a:lnTo>
                      <a:lnTo>
                        <a:pt x="376" y="517"/>
                      </a:lnTo>
                      <a:lnTo>
                        <a:pt x="380" y="525"/>
                      </a:lnTo>
                      <a:lnTo>
                        <a:pt x="382" y="532"/>
                      </a:lnTo>
                      <a:lnTo>
                        <a:pt x="386" y="541"/>
                      </a:lnTo>
                      <a:lnTo>
                        <a:pt x="388" y="550"/>
                      </a:lnTo>
                      <a:lnTo>
                        <a:pt x="389" y="558"/>
                      </a:lnTo>
                      <a:lnTo>
                        <a:pt x="386" y="558"/>
                      </a:lnTo>
                      <a:lnTo>
                        <a:pt x="382" y="558"/>
                      </a:lnTo>
                      <a:lnTo>
                        <a:pt x="373" y="552"/>
                      </a:lnTo>
                      <a:lnTo>
                        <a:pt x="373" y="552"/>
                      </a:lnTo>
                      <a:lnTo>
                        <a:pt x="373" y="552"/>
                      </a:lnTo>
                      <a:lnTo>
                        <a:pt x="373" y="552"/>
                      </a:lnTo>
                      <a:lnTo>
                        <a:pt x="373" y="552"/>
                      </a:lnTo>
                      <a:lnTo>
                        <a:pt x="364" y="545"/>
                      </a:lnTo>
                      <a:lnTo>
                        <a:pt x="356" y="537"/>
                      </a:lnTo>
                      <a:lnTo>
                        <a:pt x="347" y="530"/>
                      </a:lnTo>
                      <a:lnTo>
                        <a:pt x="345" y="521"/>
                      </a:lnTo>
                      <a:lnTo>
                        <a:pt x="341" y="512"/>
                      </a:lnTo>
                      <a:lnTo>
                        <a:pt x="338" y="502"/>
                      </a:lnTo>
                      <a:lnTo>
                        <a:pt x="332" y="495"/>
                      </a:lnTo>
                      <a:lnTo>
                        <a:pt x="330" y="490"/>
                      </a:lnTo>
                      <a:lnTo>
                        <a:pt x="328" y="486"/>
                      </a:lnTo>
                      <a:lnTo>
                        <a:pt x="328" y="486"/>
                      </a:lnTo>
                      <a:lnTo>
                        <a:pt x="325" y="482"/>
                      </a:lnTo>
                      <a:lnTo>
                        <a:pt x="321" y="478"/>
                      </a:lnTo>
                      <a:lnTo>
                        <a:pt x="321" y="478"/>
                      </a:lnTo>
                      <a:lnTo>
                        <a:pt x="317" y="477"/>
                      </a:lnTo>
                      <a:lnTo>
                        <a:pt x="314" y="473"/>
                      </a:lnTo>
                      <a:lnTo>
                        <a:pt x="314" y="473"/>
                      </a:lnTo>
                      <a:lnTo>
                        <a:pt x="310" y="471"/>
                      </a:lnTo>
                      <a:lnTo>
                        <a:pt x="310" y="471"/>
                      </a:lnTo>
                      <a:lnTo>
                        <a:pt x="304" y="469"/>
                      </a:lnTo>
                      <a:lnTo>
                        <a:pt x="301" y="453"/>
                      </a:lnTo>
                      <a:lnTo>
                        <a:pt x="297" y="440"/>
                      </a:lnTo>
                      <a:lnTo>
                        <a:pt x="295" y="434"/>
                      </a:lnTo>
                      <a:lnTo>
                        <a:pt x="293" y="434"/>
                      </a:lnTo>
                      <a:lnTo>
                        <a:pt x="295" y="434"/>
                      </a:lnTo>
                      <a:lnTo>
                        <a:pt x="293" y="434"/>
                      </a:lnTo>
                      <a:lnTo>
                        <a:pt x="295" y="434"/>
                      </a:lnTo>
                      <a:lnTo>
                        <a:pt x="293" y="429"/>
                      </a:lnTo>
                      <a:lnTo>
                        <a:pt x="292" y="423"/>
                      </a:lnTo>
                      <a:lnTo>
                        <a:pt x="292" y="423"/>
                      </a:lnTo>
                      <a:lnTo>
                        <a:pt x="288" y="419"/>
                      </a:lnTo>
                      <a:lnTo>
                        <a:pt x="288" y="419"/>
                      </a:lnTo>
                      <a:lnTo>
                        <a:pt x="284" y="416"/>
                      </a:lnTo>
                      <a:lnTo>
                        <a:pt x="284" y="416"/>
                      </a:lnTo>
                      <a:lnTo>
                        <a:pt x="280" y="412"/>
                      </a:lnTo>
                      <a:lnTo>
                        <a:pt x="280" y="412"/>
                      </a:lnTo>
                      <a:lnTo>
                        <a:pt x="277" y="408"/>
                      </a:lnTo>
                      <a:lnTo>
                        <a:pt x="273" y="405"/>
                      </a:lnTo>
                      <a:lnTo>
                        <a:pt x="273" y="405"/>
                      </a:lnTo>
                      <a:lnTo>
                        <a:pt x="268" y="401"/>
                      </a:lnTo>
                      <a:lnTo>
                        <a:pt x="262" y="397"/>
                      </a:lnTo>
                      <a:lnTo>
                        <a:pt x="255" y="394"/>
                      </a:lnTo>
                      <a:lnTo>
                        <a:pt x="247" y="388"/>
                      </a:lnTo>
                      <a:lnTo>
                        <a:pt x="242" y="375"/>
                      </a:lnTo>
                      <a:lnTo>
                        <a:pt x="234" y="357"/>
                      </a:lnTo>
                      <a:lnTo>
                        <a:pt x="229" y="347"/>
                      </a:lnTo>
                      <a:lnTo>
                        <a:pt x="225" y="338"/>
                      </a:lnTo>
                      <a:lnTo>
                        <a:pt x="220" y="329"/>
                      </a:lnTo>
                      <a:lnTo>
                        <a:pt x="216" y="320"/>
                      </a:lnTo>
                      <a:lnTo>
                        <a:pt x="210" y="312"/>
                      </a:lnTo>
                      <a:lnTo>
                        <a:pt x="205" y="303"/>
                      </a:lnTo>
                      <a:lnTo>
                        <a:pt x="199" y="296"/>
                      </a:lnTo>
                      <a:lnTo>
                        <a:pt x="194" y="288"/>
                      </a:lnTo>
                      <a:lnTo>
                        <a:pt x="190" y="285"/>
                      </a:lnTo>
                      <a:lnTo>
                        <a:pt x="186" y="281"/>
                      </a:lnTo>
                      <a:lnTo>
                        <a:pt x="185" y="279"/>
                      </a:lnTo>
                      <a:lnTo>
                        <a:pt x="185" y="279"/>
                      </a:lnTo>
                      <a:lnTo>
                        <a:pt x="181" y="275"/>
                      </a:lnTo>
                      <a:lnTo>
                        <a:pt x="177" y="274"/>
                      </a:lnTo>
                      <a:lnTo>
                        <a:pt x="177" y="274"/>
                      </a:lnTo>
                      <a:lnTo>
                        <a:pt x="173" y="272"/>
                      </a:lnTo>
                      <a:lnTo>
                        <a:pt x="170" y="270"/>
                      </a:lnTo>
                      <a:lnTo>
                        <a:pt x="170" y="270"/>
                      </a:lnTo>
                      <a:lnTo>
                        <a:pt x="166" y="268"/>
                      </a:lnTo>
                      <a:lnTo>
                        <a:pt x="166" y="263"/>
                      </a:lnTo>
                      <a:lnTo>
                        <a:pt x="164" y="257"/>
                      </a:lnTo>
                      <a:lnTo>
                        <a:pt x="162" y="253"/>
                      </a:lnTo>
                      <a:lnTo>
                        <a:pt x="161" y="248"/>
                      </a:lnTo>
                      <a:lnTo>
                        <a:pt x="161" y="248"/>
                      </a:lnTo>
                      <a:lnTo>
                        <a:pt x="159" y="244"/>
                      </a:lnTo>
                      <a:lnTo>
                        <a:pt x="157" y="240"/>
                      </a:lnTo>
                      <a:lnTo>
                        <a:pt x="155" y="237"/>
                      </a:lnTo>
                      <a:lnTo>
                        <a:pt x="155" y="237"/>
                      </a:lnTo>
                      <a:lnTo>
                        <a:pt x="151" y="233"/>
                      </a:lnTo>
                      <a:lnTo>
                        <a:pt x="146" y="226"/>
                      </a:lnTo>
                      <a:lnTo>
                        <a:pt x="140" y="220"/>
                      </a:lnTo>
                      <a:lnTo>
                        <a:pt x="135" y="213"/>
                      </a:lnTo>
                      <a:lnTo>
                        <a:pt x="129" y="207"/>
                      </a:lnTo>
                      <a:lnTo>
                        <a:pt x="114" y="198"/>
                      </a:lnTo>
                      <a:lnTo>
                        <a:pt x="100" y="187"/>
                      </a:lnTo>
                      <a:lnTo>
                        <a:pt x="92" y="181"/>
                      </a:lnTo>
                      <a:lnTo>
                        <a:pt x="85" y="174"/>
                      </a:lnTo>
                      <a:lnTo>
                        <a:pt x="77" y="167"/>
                      </a:lnTo>
                      <a:lnTo>
                        <a:pt x="70" y="159"/>
                      </a:lnTo>
                      <a:lnTo>
                        <a:pt x="68" y="155"/>
                      </a:lnTo>
                      <a:lnTo>
                        <a:pt x="68" y="155"/>
                      </a:lnTo>
                      <a:lnTo>
                        <a:pt x="68" y="150"/>
                      </a:lnTo>
                      <a:lnTo>
                        <a:pt x="66" y="144"/>
                      </a:lnTo>
                      <a:lnTo>
                        <a:pt x="65" y="141"/>
                      </a:lnTo>
                      <a:lnTo>
                        <a:pt x="63" y="135"/>
                      </a:lnTo>
                      <a:lnTo>
                        <a:pt x="59" y="131"/>
                      </a:lnTo>
                      <a:lnTo>
                        <a:pt x="57" y="128"/>
                      </a:lnTo>
                      <a:lnTo>
                        <a:pt x="55" y="122"/>
                      </a:lnTo>
                      <a:lnTo>
                        <a:pt x="55" y="122"/>
                      </a:lnTo>
                      <a:lnTo>
                        <a:pt x="52" y="119"/>
                      </a:lnTo>
                      <a:lnTo>
                        <a:pt x="50" y="115"/>
                      </a:lnTo>
                      <a:lnTo>
                        <a:pt x="46" y="111"/>
                      </a:lnTo>
                      <a:lnTo>
                        <a:pt x="46" y="111"/>
                      </a:lnTo>
                      <a:lnTo>
                        <a:pt x="42" y="108"/>
                      </a:lnTo>
                      <a:lnTo>
                        <a:pt x="39" y="104"/>
                      </a:lnTo>
                      <a:lnTo>
                        <a:pt x="39" y="104"/>
                      </a:lnTo>
                      <a:lnTo>
                        <a:pt x="35" y="102"/>
                      </a:lnTo>
                      <a:lnTo>
                        <a:pt x="31" y="98"/>
                      </a:lnTo>
                      <a:lnTo>
                        <a:pt x="31" y="98"/>
                      </a:lnTo>
                      <a:lnTo>
                        <a:pt x="28" y="95"/>
                      </a:lnTo>
                      <a:lnTo>
                        <a:pt x="28" y="93"/>
                      </a:lnTo>
                      <a:lnTo>
                        <a:pt x="28" y="89"/>
                      </a:lnTo>
                      <a:lnTo>
                        <a:pt x="28" y="87"/>
                      </a:lnTo>
                      <a:lnTo>
                        <a:pt x="28" y="84"/>
                      </a:lnTo>
                      <a:lnTo>
                        <a:pt x="29" y="78"/>
                      </a:lnTo>
                      <a:lnTo>
                        <a:pt x="33" y="69"/>
                      </a:lnTo>
                      <a:lnTo>
                        <a:pt x="37" y="71"/>
                      </a:lnTo>
                      <a:lnTo>
                        <a:pt x="41" y="72"/>
                      </a:lnTo>
                      <a:lnTo>
                        <a:pt x="44" y="72"/>
                      </a:lnTo>
                      <a:lnTo>
                        <a:pt x="50" y="74"/>
                      </a:lnTo>
                      <a:lnTo>
                        <a:pt x="52" y="74"/>
                      </a:lnTo>
                      <a:lnTo>
                        <a:pt x="50" y="67"/>
                      </a:lnTo>
                      <a:lnTo>
                        <a:pt x="50" y="63"/>
                      </a:lnTo>
                      <a:lnTo>
                        <a:pt x="50" y="60"/>
                      </a:lnTo>
                      <a:lnTo>
                        <a:pt x="50" y="60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4" y="52"/>
                      </a:lnTo>
                      <a:lnTo>
                        <a:pt x="42" y="50"/>
                      </a:lnTo>
                      <a:lnTo>
                        <a:pt x="41" y="48"/>
                      </a:lnTo>
                      <a:lnTo>
                        <a:pt x="41" y="48"/>
                      </a:lnTo>
                      <a:lnTo>
                        <a:pt x="41" y="47"/>
                      </a:lnTo>
                      <a:lnTo>
                        <a:pt x="42" y="43"/>
                      </a:lnTo>
                      <a:lnTo>
                        <a:pt x="42" y="43"/>
                      </a:lnTo>
                      <a:lnTo>
                        <a:pt x="35" y="37"/>
                      </a:lnTo>
                      <a:lnTo>
                        <a:pt x="31" y="34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2" y="26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3" y="23"/>
                      </a:lnTo>
                      <a:lnTo>
                        <a:pt x="13" y="23"/>
                      </a:lnTo>
                      <a:lnTo>
                        <a:pt x="7" y="21"/>
                      </a:lnTo>
                      <a:lnTo>
                        <a:pt x="2" y="19"/>
                      </a:lnTo>
                      <a:lnTo>
                        <a:pt x="2" y="13"/>
                      </a:lnTo>
                      <a:lnTo>
                        <a:pt x="2" y="8"/>
                      </a:lnTo>
                      <a:close/>
                      <a:moveTo>
                        <a:pt x="20" y="0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7" y="4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9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19"/>
                      </a:lnTo>
                      <a:lnTo>
                        <a:pt x="7" y="23"/>
                      </a:lnTo>
                      <a:lnTo>
                        <a:pt x="13" y="24"/>
                      </a:lnTo>
                      <a:lnTo>
                        <a:pt x="18" y="26"/>
                      </a:lnTo>
                      <a:lnTo>
                        <a:pt x="22" y="28"/>
                      </a:lnTo>
                      <a:lnTo>
                        <a:pt x="26" y="30"/>
                      </a:lnTo>
                      <a:lnTo>
                        <a:pt x="29" y="34"/>
                      </a:lnTo>
                      <a:lnTo>
                        <a:pt x="35" y="37"/>
                      </a:lnTo>
                      <a:lnTo>
                        <a:pt x="41" y="43"/>
                      </a:lnTo>
                      <a:lnTo>
                        <a:pt x="39" y="45"/>
                      </a:lnTo>
                      <a:lnTo>
                        <a:pt x="39" y="45"/>
                      </a:lnTo>
                      <a:lnTo>
                        <a:pt x="39" y="48"/>
                      </a:lnTo>
                      <a:lnTo>
                        <a:pt x="39" y="48"/>
                      </a:lnTo>
                      <a:lnTo>
                        <a:pt x="39" y="50"/>
                      </a:lnTo>
                      <a:lnTo>
                        <a:pt x="41" y="52"/>
                      </a:lnTo>
                      <a:lnTo>
                        <a:pt x="41" y="52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1" y="52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6" y="56"/>
                      </a:lnTo>
                      <a:lnTo>
                        <a:pt x="48" y="58"/>
                      </a:lnTo>
                      <a:lnTo>
                        <a:pt x="48" y="60"/>
                      </a:lnTo>
                      <a:lnTo>
                        <a:pt x="48" y="63"/>
                      </a:lnTo>
                      <a:lnTo>
                        <a:pt x="48" y="67"/>
                      </a:lnTo>
                      <a:lnTo>
                        <a:pt x="50" y="72"/>
                      </a:lnTo>
                      <a:lnTo>
                        <a:pt x="46" y="71"/>
                      </a:lnTo>
                      <a:lnTo>
                        <a:pt x="41" y="71"/>
                      </a:lnTo>
                      <a:lnTo>
                        <a:pt x="37" y="69"/>
                      </a:lnTo>
                      <a:lnTo>
                        <a:pt x="33" y="69"/>
                      </a:lnTo>
                      <a:lnTo>
                        <a:pt x="31" y="67"/>
                      </a:lnTo>
                      <a:lnTo>
                        <a:pt x="28" y="78"/>
                      </a:lnTo>
                      <a:lnTo>
                        <a:pt x="26" y="84"/>
                      </a:lnTo>
                      <a:lnTo>
                        <a:pt x="26" y="84"/>
                      </a:lnTo>
                      <a:lnTo>
                        <a:pt x="26" y="85"/>
                      </a:lnTo>
                      <a:lnTo>
                        <a:pt x="26" y="89"/>
                      </a:lnTo>
                      <a:lnTo>
                        <a:pt x="26" y="93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9" y="98"/>
                      </a:lnTo>
                      <a:lnTo>
                        <a:pt x="35" y="102"/>
                      </a:lnTo>
                      <a:lnTo>
                        <a:pt x="39" y="106"/>
                      </a:lnTo>
                      <a:lnTo>
                        <a:pt x="41" y="109"/>
                      </a:lnTo>
                      <a:lnTo>
                        <a:pt x="44" y="113"/>
                      </a:lnTo>
                      <a:lnTo>
                        <a:pt x="48" y="117"/>
                      </a:lnTo>
                      <a:lnTo>
                        <a:pt x="52" y="120"/>
                      </a:lnTo>
                      <a:lnTo>
                        <a:pt x="53" y="124"/>
                      </a:lnTo>
                      <a:lnTo>
                        <a:pt x="55" y="128"/>
                      </a:lnTo>
                      <a:lnTo>
                        <a:pt x="59" y="131"/>
                      </a:lnTo>
                      <a:lnTo>
                        <a:pt x="59" y="131"/>
                      </a:lnTo>
                      <a:lnTo>
                        <a:pt x="61" y="137"/>
                      </a:lnTo>
                      <a:lnTo>
                        <a:pt x="63" y="141"/>
                      </a:lnTo>
                      <a:lnTo>
                        <a:pt x="65" y="146"/>
                      </a:lnTo>
                      <a:lnTo>
                        <a:pt x="66" y="150"/>
                      </a:lnTo>
                      <a:lnTo>
                        <a:pt x="68" y="155"/>
                      </a:lnTo>
                      <a:lnTo>
                        <a:pt x="68" y="159"/>
                      </a:lnTo>
                      <a:lnTo>
                        <a:pt x="68" y="161"/>
                      </a:lnTo>
                      <a:lnTo>
                        <a:pt x="76" y="168"/>
                      </a:lnTo>
                      <a:lnTo>
                        <a:pt x="83" y="176"/>
                      </a:lnTo>
                      <a:lnTo>
                        <a:pt x="92" y="181"/>
                      </a:lnTo>
                      <a:lnTo>
                        <a:pt x="100" y="189"/>
                      </a:lnTo>
                      <a:lnTo>
                        <a:pt x="113" y="200"/>
                      </a:lnTo>
                      <a:lnTo>
                        <a:pt x="127" y="209"/>
                      </a:lnTo>
                      <a:lnTo>
                        <a:pt x="133" y="215"/>
                      </a:lnTo>
                      <a:lnTo>
                        <a:pt x="140" y="220"/>
                      </a:lnTo>
                      <a:lnTo>
                        <a:pt x="146" y="227"/>
                      </a:lnTo>
                      <a:lnTo>
                        <a:pt x="151" y="233"/>
                      </a:lnTo>
                      <a:lnTo>
                        <a:pt x="153" y="237"/>
                      </a:lnTo>
                      <a:lnTo>
                        <a:pt x="155" y="240"/>
                      </a:lnTo>
                      <a:lnTo>
                        <a:pt x="157" y="244"/>
                      </a:lnTo>
                      <a:lnTo>
                        <a:pt x="159" y="250"/>
                      </a:lnTo>
                      <a:lnTo>
                        <a:pt x="161" y="253"/>
                      </a:lnTo>
                      <a:lnTo>
                        <a:pt x="162" y="259"/>
                      </a:lnTo>
                      <a:lnTo>
                        <a:pt x="164" y="264"/>
                      </a:lnTo>
                      <a:lnTo>
                        <a:pt x="166" y="270"/>
                      </a:lnTo>
                      <a:lnTo>
                        <a:pt x="166" y="270"/>
                      </a:lnTo>
                      <a:lnTo>
                        <a:pt x="170" y="272"/>
                      </a:lnTo>
                      <a:lnTo>
                        <a:pt x="173" y="274"/>
                      </a:lnTo>
                      <a:lnTo>
                        <a:pt x="175" y="275"/>
                      </a:lnTo>
                      <a:lnTo>
                        <a:pt x="179" y="277"/>
                      </a:lnTo>
                      <a:lnTo>
                        <a:pt x="183" y="279"/>
                      </a:lnTo>
                      <a:lnTo>
                        <a:pt x="186" y="283"/>
                      </a:lnTo>
                      <a:lnTo>
                        <a:pt x="188" y="287"/>
                      </a:lnTo>
                      <a:lnTo>
                        <a:pt x="192" y="288"/>
                      </a:lnTo>
                      <a:lnTo>
                        <a:pt x="197" y="296"/>
                      </a:lnTo>
                      <a:lnTo>
                        <a:pt x="203" y="305"/>
                      </a:lnTo>
                      <a:lnTo>
                        <a:pt x="209" y="312"/>
                      </a:lnTo>
                      <a:lnTo>
                        <a:pt x="214" y="322"/>
                      </a:lnTo>
                      <a:lnTo>
                        <a:pt x="220" y="331"/>
                      </a:lnTo>
                      <a:lnTo>
                        <a:pt x="223" y="340"/>
                      </a:lnTo>
                      <a:lnTo>
                        <a:pt x="229" y="349"/>
                      </a:lnTo>
                      <a:lnTo>
                        <a:pt x="232" y="358"/>
                      </a:lnTo>
                      <a:lnTo>
                        <a:pt x="240" y="375"/>
                      </a:lnTo>
                      <a:lnTo>
                        <a:pt x="247" y="390"/>
                      </a:lnTo>
                      <a:lnTo>
                        <a:pt x="255" y="394"/>
                      </a:lnTo>
                      <a:lnTo>
                        <a:pt x="260" y="397"/>
                      </a:lnTo>
                      <a:lnTo>
                        <a:pt x="266" y="401"/>
                      </a:lnTo>
                      <a:lnTo>
                        <a:pt x="271" y="405"/>
                      </a:lnTo>
                      <a:lnTo>
                        <a:pt x="277" y="408"/>
                      </a:lnTo>
                      <a:lnTo>
                        <a:pt x="280" y="412"/>
                      </a:lnTo>
                      <a:lnTo>
                        <a:pt x="284" y="416"/>
                      </a:lnTo>
                      <a:lnTo>
                        <a:pt x="286" y="421"/>
                      </a:lnTo>
                      <a:lnTo>
                        <a:pt x="290" y="425"/>
                      </a:lnTo>
                      <a:lnTo>
                        <a:pt x="292" y="430"/>
                      </a:lnTo>
                      <a:lnTo>
                        <a:pt x="293" y="434"/>
                      </a:lnTo>
                      <a:lnTo>
                        <a:pt x="295" y="440"/>
                      </a:lnTo>
                      <a:lnTo>
                        <a:pt x="299" y="453"/>
                      </a:lnTo>
                      <a:lnTo>
                        <a:pt x="303" y="471"/>
                      </a:lnTo>
                      <a:lnTo>
                        <a:pt x="308" y="473"/>
                      </a:lnTo>
                      <a:lnTo>
                        <a:pt x="314" y="475"/>
                      </a:lnTo>
                      <a:lnTo>
                        <a:pt x="317" y="478"/>
                      </a:lnTo>
                      <a:lnTo>
                        <a:pt x="321" y="480"/>
                      </a:lnTo>
                      <a:lnTo>
                        <a:pt x="325" y="484"/>
                      </a:lnTo>
                      <a:lnTo>
                        <a:pt x="327" y="488"/>
                      </a:lnTo>
                      <a:lnTo>
                        <a:pt x="328" y="491"/>
                      </a:lnTo>
                      <a:lnTo>
                        <a:pt x="332" y="495"/>
                      </a:lnTo>
                      <a:lnTo>
                        <a:pt x="336" y="502"/>
                      </a:lnTo>
                      <a:lnTo>
                        <a:pt x="340" y="512"/>
                      </a:lnTo>
                      <a:lnTo>
                        <a:pt x="340" y="512"/>
                      </a:lnTo>
                      <a:lnTo>
                        <a:pt x="343" y="521"/>
                      </a:lnTo>
                      <a:lnTo>
                        <a:pt x="347" y="532"/>
                      </a:lnTo>
                      <a:lnTo>
                        <a:pt x="354" y="539"/>
                      </a:lnTo>
                      <a:lnTo>
                        <a:pt x="364" y="545"/>
                      </a:lnTo>
                      <a:lnTo>
                        <a:pt x="373" y="552"/>
                      </a:lnTo>
                      <a:lnTo>
                        <a:pt x="382" y="560"/>
                      </a:lnTo>
                      <a:lnTo>
                        <a:pt x="386" y="560"/>
                      </a:lnTo>
                      <a:lnTo>
                        <a:pt x="391" y="558"/>
                      </a:lnTo>
                      <a:lnTo>
                        <a:pt x="391" y="558"/>
                      </a:lnTo>
                      <a:lnTo>
                        <a:pt x="389" y="549"/>
                      </a:lnTo>
                      <a:lnTo>
                        <a:pt x="386" y="541"/>
                      </a:lnTo>
                      <a:lnTo>
                        <a:pt x="384" y="532"/>
                      </a:lnTo>
                      <a:lnTo>
                        <a:pt x="382" y="525"/>
                      </a:lnTo>
                      <a:lnTo>
                        <a:pt x="378" y="515"/>
                      </a:lnTo>
                      <a:lnTo>
                        <a:pt x="376" y="508"/>
                      </a:lnTo>
                      <a:lnTo>
                        <a:pt x="373" y="499"/>
                      </a:lnTo>
                      <a:lnTo>
                        <a:pt x="371" y="491"/>
                      </a:lnTo>
                      <a:lnTo>
                        <a:pt x="373" y="493"/>
                      </a:lnTo>
                      <a:lnTo>
                        <a:pt x="373" y="493"/>
                      </a:lnTo>
                      <a:lnTo>
                        <a:pt x="376" y="493"/>
                      </a:lnTo>
                      <a:lnTo>
                        <a:pt x="376" y="493"/>
                      </a:lnTo>
                      <a:lnTo>
                        <a:pt x="380" y="493"/>
                      </a:lnTo>
                      <a:lnTo>
                        <a:pt x="384" y="493"/>
                      </a:lnTo>
                      <a:lnTo>
                        <a:pt x="384" y="493"/>
                      </a:lnTo>
                      <a:lnTo>
                        <a:pt x="389" y="491"/>
                      </a:lnTo>
                      <a:lnTo>
                        <a:pt x="389" y="491"/>
                      </a:lnTo>
                      <a:lnTo>
                        <a:pt x="395" y="490"/>
                      </a:lnTo>
                      <a:lnTo>
                        <a:pt x="400" y="488"/>
                      </a:lnTo>
                      <a:lnTo>
                        <a:pt x="406" y="484"/>
                      </a:lnTo>
                      <a:lnTo>
                        <a:pt x="413" y="482"/>
                      </a:lnTo>
                      <a:lnTo>
                        <a:pt x="419" y="480"/>
                      </a:lnTo>
                      <a:lnTo>
                        <a:pt x="423" y="490"/>
                      </a:lnTo>
                      <a:lnTo>
                        <a:pt x="424" y="493"/>
                      </a:lnTo>
                      <a:lnTo>
                        <a:pt x="424" y="493"/>
                      </a:lnTo>
                      <a:lnTo>
                        <a:pt x="428" y="499"/>
                      </a:lnTo>
                      <a:lnTo>
                        <a:pt x="435" y="506"/>
                      </a:lnTo>
                      <a:lnTo>
                        <a:pt x="437" y="501"/>
                      </a:lnTo>
                      <a:lnTo>
                        <a:pt x="437" y="501"/>
                      </a:lnTo>
                      <a:lnTo>
                        <a:pt x="437" y="499"/>
                      </a:lnTo>
                      <a:lnTo>
                        <a:pt x="437" y="499"/>
                      </a:lnTo>
                      <a:lnTo>
                        <a:pt x="437" y="495"/>
                      </a:lnTo>
                      <a:lnTo>
                        <a:pt x="435" y="491"/>
                      </a:lnTo>
                      <a:lnTo>
                        <a:pt x="435" y="491"/>
                      </a:lnTo>
                      <a:lnTo>
                        <a:pt x="435" y="488"/>
                      </a:lnTo>
                      <a:lnTo>
                        <a:pt x="434" y="484"/>
                      </a:lnTo>
                      <a:lnTo>
                        <a:pt x="434" y="484"/>
                      </a:lnTo>
                      <a:lnTo>
                        <a:pt x="432" y="480"/>
                      </a:lnTo>
                      <a:lnTo>
                        <a:pt x="432" y="480"/>
                      </a:lnTo>
                      <a:lnTo>
                        <a:pt x="428" y="477"/>
                      </a:lnTo>
                      <a:lnTo>
                        <a:pt x="424" y="471"/>
                      </a:lnTo>
                      <a:lnTo>
                        <a:pt x="419" y="466"/>
                      </a:lnTo>
                      <a:lnTo>
                        <a:pt x="413" y="460"/>
                      </a:lnTo>
                      <a:lnTo>
                        <a:pt x="410" y="454"/>
                      </a:lnTo>
                      <a:lnTo>
                        <a:pt x="408" y="454"/>
                      </a:lnTo>
                      <a:lnTo>
                        <a:pt x="404" y="460"/>
                      </a:lnTo>
                      <a:lnTo>
                        <a:pt x="402" y="464"/>
                      </a:lnTo>
                      <a:lnTo>
                        <a:pt x="397" y="462"/>
                      </a:lnTo>
                      <a:lnTo>
                        <a:pt x="389" y="460"/>
                      </a:lnTo>
                      <a:lnTo>
                        <a:pt x="382" y="460"/>
                      </a:lnTo>
                      <a:lnTo>
                        <a:pt x="376" y="458"/>
                      </a:lnTo>
                      <a:lnTo>
                        <a:pt x="376" y="453"/>
                      </a:lnTo>
                      <a:lnTo>
                        <a:pt x="376" y="447"/>
                      </a:lnTo>
                      <a:lnTo>
                        <a:pt x="376" y="447"/>
                      </a:lnTo>
                      <a:lnTo>
                        <a:pt x="362" y="442"/>
                      </a:lnTo>
                      <a:lnTo>
                        <a:pt x="349" y="438"/>
                      </a:lnTo>
                      <a:lnTo>
                        <a:pt x="334" y="434"/>
                      </a:lnTo>
                      <a:lnTo>
                        <a:pt x="321" y="430"/>
                      </a:lnTo>
                      <a:lnTo>
                        <a:pt x="317" y="419"/>
                      </a:lnTo>
                      <a:lnTo>
                        <a:pt x="314" y="408"/>
                      </a:lnTo>
                      <a:lnTo>
                        <a:pt x="308" y="397"/>
                      </a:lnTo>
                      <a:lnTo>
                        <a:pt x="304" y="386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1" y="375"/>
                      </a:lnTo>
                      <a:lnTo>
                        <a:pt x="297" y="364"/>
                      </a:lnTo>
                      <a:lnTo>
                        <a:pt x="293" y="355"/>
                      </a:lnTo>
                      <a:lnTo>
                        <a:pt x="288" y="342"/>
                      </a:lnTo>
                      <a:lnTo>
                        <a:pt x="286" y="342"/>
                      </a:lnTo>
                      <a:lnTo>
                        <a:pt x="282" y="340"/>
                      </a:lnTo>
                      <a:lnTo>
                        <a:pt x="279" y="340"/>
                      </a:lnTo>
                      <a:lnTo>
                        <a:pt x="279" y="340"/>
                      </a:lnTo>
                      <a:lnTo>
                        <a:pt x="277" y="338"/>
                      </a:lnTo>
                      <a:lnTo>
                        <a:pt x="277" y="331"/>
                      </a:lnTo>
                      <a:lnTo>
                        <a:pt x="277" y="323"/>
                      </a:lnTo>
                      <a:lnTo>
                        <a:pt x="277" y="314"/>
                      </a:lnTo>
                      <a:lnTo>
                        <a:pt x="277" y="307"/>
                      </a:lnTo>
                      <a:lnTo>
                        <a:pt x="280" y="307"/>
                      </a:lnTo>
                      <a:lnTo>
                        <a:pt x="288" y="307"/>
                      </a:lnTo>
                      <a:lnTo>
                        <a:pt x="288" y="307"/>
                      </a:lnTo>
                      <a:lnTo>
                        <a:pt x="288" y="301"/>
                      </a:lnTo>
                      <a:lnTo>
                        <a:pt x="290" y="298"/>
                      </a:lnTo>
                      <a:lnTo>
                        <a:pt x="290" y="292"/>
                      </a:lnTo>
                      <a:lnTo>
                        <a:pt x="292" y="288"/>
                      </a:lnTo>
                      <a:lnTo>
                        <a:pt x="301" y="287"/>
                      </a:lnTo>
                      <a:lnTo>
                        <a:pt x="310" y="287"/>
                      </a:lnTo>
                      <a:lnTo>
                        <a:pt x="321" y="285"/>
                      </a:lnTo>
                      <a:lnTo>
                        <a:pt x="332" y="283"/>
                      </a:lnTo>
                      <a:lnTo>
                        <a:pt x="323" y="274"/>
                      </a:lnTo>
                      <a:lnTo>
                        <a:pt x="314" y="268"/>
                      </a:lnTo>
                      <a:lnTo>
                        <a:pt x="303" y="261"/>
                      </a:lnTo>
                      <a:lnTo>
                        <a:pt x="293" y="253"/>
                      </a:lnTo>
                      <a:lnTo>
                        <a:pt x="273" y="239"/>
                      </a:lnTo>
                      <a:lnTo>
                        <a:pt x="251" y="226"/>
                      </a:lnTo>
                      <a:lnTo>
                        <a:pt x="242" y="218"/>
                      </a:lnTo>
                      <a:lnTo>
                        <a:pt x="231" y="211"/>
                      </a:lnTo>
                      <a:lnTo>
                        <a:pt x="221" y="203"/>
                      </a:lnTo>
                      <a:lnTo>
                        <a:pt x="212" y="194"/>
                      </a:lnTo>
                      <a:lnTo>
                        <a:pt x="205" y="187"/>
                      </a:lnTo>
                      <a:lnTo>
                        <a:pt x="196" y="179"/>
                      </a:lnTo>
                      <a:lnTo>
                        <a:pt x="192" y="174"/>
                      </a:lnTo>
                      <a:lnTo>
                        <a:pt x="188" y="170"/>
                      </a:lnTo>
                      <a:lnTo>
                        <a:pt x="186" y="167"/>
                      </a:lnTo>
                      <a:lnTo>
                        <a:pt x="186" y="167"/>
                      </a:lnTo>
                      <a:lnTo>
                        <a:pt x="183" y="161"/>
                      </a:lnTo>
                      <a:lnTo>
                        <a:pt x="183" y="161"/>
                      </a:lnTo>
                      <a:lnTo>
                        <a:pt x="179" y="161"/>
                      </a:lnTo>
                      <a:lnTo>
                        <a:pt x="175" y="163"/>
                      </a:lnTo>
                      <a:lnTo>
                        <a:pt x="172" y="163"/>
                      </a:lnTo>
                      <a:lnTo>
                        <a:pt x="170" y="163"/>
                      </a:lnTo>
                      <a:lnTo>
                        <a:pt x="170" y="159"/>
                      </a:lnTo>
                      <a:lnTo>
                        <a:pt x="168" y="155"/>
                      </a:lnTo>
                      <a:lnTo>
                        <a:pt x="168" y="152"/>
                      </a:lnTo>
                      <a:lnTo>
                        <a:pt x="166" y="148"/>
                      </a:lnTo>
                      <a:lnTo>
                        <a:pt x="166" y="148"/>
                      </a:lnTo>
                      <a:lnTo>
                        <a:pt x="157" y="144"/>
                      </a:lnTo>
                      <a:lnTo>
                        <a:pt x="149" y="139"/>
                      </a:lnTo>
                      <a:lnTo>
                        <a:pt x="146" y="137"/>
                      </a:lnTo>
                      <a:lnTo>
                        <a:pt x="142" y="133"/>
                      </a:lnTo>
                      <a:lnTo>
                        <a:pt x="138" y="131"/>
                      </a:lnTo>
                      <a:lnTo>
                        <a:pt x="137" y="128"/>
                      </a:lnTo>
                      <a:lnTo>
                        <a:pt x="133" y="126"/>
                      </a:lnTo>
                      <a:lnTo>
                        <a:pt x="131" y="122"/>
                      </a:lnTo>
                      <a:lnTo>
                        <a:pt x="129" y="119"/>
                      </a:lnTo>
                      <a:lnTo>
                        <a:pt x="127" y="115"/>
                      </a:lnTo>
                      <a:lnTo>
                        <a:pt x="127" y="109"/>
                      </a:lnTo>
                      <a:lnTo>
                        <a:pt x="125" y="106"/>
                      </a:lnTo>
                      <a:lnTo>
                        <a:pt x="125" y="100"/>
                      </a:lnTo>
                      <a:lnTo>
                        <a:pt x="125" y="95"/>
                      </a:lnTo>
                      <a:lnTo>
                        <a:pt x="125" y="93"/>
                      </a:lnTo>
                      <a:lnTo>
                        <a:pt x="122" y="95"/>
                      </a:lnTo>
                      <a:lnTo>
                        <a:pt x="122" y="96"/>
                      </a:lnTo>
                      <a:lnTo>
                        <a:pt x="120" y="95"/>
                      </a:lnTo>
                      <a:lnTo>
                        <a:pt x="120" y="95"/>
                      </a:lnTo>
                      <a:lnTo>
                        <a:pt x="120" y="93"/>
                      </a:lnTo>
                      <a:lnTo>
                        <a:pt x="122" y="93"/>
                      </a:lnTo>
                      <a:lnTo>
                        <a:pt x="122" y="91"/>
                      </a:lnTo>
                      <a:lnTo>
                        <a:pt x="113" y="85"/>
                      </a:lnTo>
                      <a:lnTo>
                        <a:pt x="103" y="78"/>
                      </a:lnTo>
                      <a:lnTo>
                        <a:pt x="94" y="72"/>
                      </a:lnTo>
                      <a:lnTo>
                        <a:pt x="87" y="67"/>
                      </a:lnTo>
                      <a:lnTo>
                        <a:pt x="89" y="63"/>
                      </a:lnTo>
                      <a:lnTo>
                        <a:pt x="89" y="60"/>
                      </a:lnTo>
                      <a:lnTo>
                        <a:pt x="89" y="58"/>
                      </a:lnTo>
                      <a:lnTo>
                        <a:pt x="83" y="56"/>
                      </a:lnTo>
                      <a:lnTo>
                        <a:pt x="77" y="52"/>
                      </a:lnTo>
                      <a:lnTo>
                        <a:pt x="74" y="48"/>
                      </a:lnTo>
                      <a:lnTo>
                        <a:pt x="70" y="45"/>
                      </a:lnTo>
                      <a:lnTo>
                        <a:pt x="61" y="3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0" y="23"/>
                      </a:lnTo>
                      <a:lnTo>
                        <a:pt x="46" y="19"/>
                      </a:lnTo>
                      <a:lnTo>
                        <a:pt x="46" y="17"/>
                      </a:lnTo>
                      <a:lnTo>
                        <a:pt x="42" y="15"/>
                      </a:lnTo>
                      <a:lnTo>
                        <a:pt x="39" y="12"/>
                      </a:lnTo>
                      <a:lnTo>
                        <a:pt x="39" y="12"/>
                      </a:lnTo>
                      <a:lnTo>
                        <a:pt x="33" y="8"/>
                      </a:lnTo>
                      <a:lnTo>
                        <a:pt x="29" y="4"/>
                      </a:lnTo>
                      <a:lnTo>
                        <a:pt x="29" y="4"/>
                      </a:lnTo>
                      <a:lnTo>
                        <a:pt x="24" y="2"/>
                      </a:lnTo>
                      <a:lnTo>
                        <a:pt x="20" y="2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99" name="Freeform 3013"/>
                <p:cNvSpPr>
                  <a:spLocks/>
                </p:cNvSpPr>
                <p:nvPr/>
              </p:nvSpPr>
              <p:spPr bwMode="auto">
                <a:xfrm>
                  <a:off x="4998" y="2205"/>
                  <a:ext cx="433" cy="556"/>
                </a:xfrm>
                <a:custGeom>
                  <a:avLst/>
                  <a:gdLst>
                    <a:gd name="T0" fmla="*/ 11 w 433"/>
                    <a:gd name="T1" fmla="*/ 4 h 556"/>
                    <a:gd name="T2" fmla="*/ 22 w 433"/>
                    <a:gd name="T3" fmla="*/ 2 h 556"/>
                    <a:gd name="T4" fmla="*/ 39 w 433"/>
                    <a:gd name="T5" fmla="*/ 13 h 556"/>
                    <a:gd name="T6" fmla="*/ 57 w 433"/>
                    <a:gd name="T7" fmla="*/ 34 h 556"/>
                    <a:gd name="T8" fmla="*/ 81 w 433"/>
                    <a:gd name="T9" fmla="*/ 54 h 556"/>
                    <a:gd name="T10" fmla="*/ 92 w 433"/>
                    <a:gd name="T11" fmla="*/ 72 h 556"/>
                    <a:gd name="T12" fmla="*/ 118 w 433"/>
                    <a:gd name="T13" fmla="*/ 91 h 556"/>
                    <a:gd name="T14" fmla="*/ 118 w 433"/>
                    <a:gd name="T15" fmla="*/ 96 h 556"/>
                    <a:gd name="T16" fmla="*/ 122 w 433"/>
                    <a:gd name="T17" fmla="*/ 104 h 556"/>
                    <a:gd name="T18" fmla="*/ 127 w 433"/>
                    <a:gd name="T19" fmla="*/ 120 h 556"/>
                    <a:gd name="T20" fmla="*/ 136 w 433"/>
                    <a:gd name="T21" fmla="*/ 129 h 556"/>
                    <a:gd name="T22" fmla="*/ 155 w 433"/>
                    <a:gd name="T23" fmla="*/ 142 h 556"/>
                    <a:gd name="T24" fmla="*/ 166 w 433"/>
                    <a:gd name="T25" fmla="*/ 157 h 556"/>
                    <a:gd name="T26" fmla="*/ 177 w 433"/>
                    <a:gd name="T27" fmla="*/ 161 h 556"/>
                    <a:gd name="T28" fmla="*/ 190 w 433"/>
                    <a:gd name="T29" fmla="*/ 174 h 556"/>
                    <a:gd name="T30" fmla="*/ 229 w 433"/>
                    <a:gd name="T31" fmla="*/ 209 h 556"/>
                    <a:gd name="T32" fmla="*/ 301 w 433"/>
                    <a:gd name="T33" fmla="*/ 261 h 556"/>
                    <a:gd name="T34" fmla="*/ 308 w 433"/>
                    <a:gd name="T35" fmla="*/ 283 h 556"/>
                    <a:gd name="T36" fmla="*/ 286 w 433"/>
                    <a:gd name="T37" fmla="*/ 299 h 556"/>
                    <a:gd name="T38" fmla="*/ 273 w 433"/>
                    <a:gd name="T39" fmla="*/ 312 h 556"/>
                    <a:gd name="T40" fmla="*/ 277 w 433"/>
                    <a:gd name="T41" fmla="*/ 338 h 556"/>
                    <a:gd name="T42" fmla="*/ 293 w 433"/>
                    <a:gd name="T43" fmla="*/ 364 h 556"/>
                    <a:gd name="T44" fmla="*/ 314 w 433"/>
                    <a:gd name="T45" fmla="*/ 419 h 556"/>
                    <a:gd name="T46" fmla="*/ 373 w 433"/>
                    <a:gd name="T47" fmla="*/ 445 h 556"/>
                    <a:gd name="T48" fmla="*/ 387 w 433"/>
                    <a:gd name="T49" fmla="*/ 460 h 556"/>
                    <a:gd name="T50" fmla="*/ 406 w 433"/>
                    <a:gd name="T51" fmla="*/ 454 h 556"/>
                    <a:gd name="T52" fmla="*/ 426 w 433"/>
                    <a:gd name="T53" fmla="*/ 476 h 556"/>
                    <a:gd name="T54" fmla="*/ 433 w 433"/>
                    <a:gd name="T55" fmla="*/ 493 h 556"/>
                    <a:gd name="T56" fmla="*/ 424 w 433"/>
                    <a:gd name="T57" fmla="*/ 491 h 556"/>
                    <a:gd name="T58" fmla="*/ 404 w 433"/>
                    <a:gd name="T59" fmla="*/ 482 h 556"/>
                    <a:gd name="T60" fmla="*/ 378 w 433"/>
                    <a:gd name="T61" fmla="*/ 489 h 556"/>
                    <a:gd name="T62" fmla="*/ 371 w 433"/>
                    <a:gd name="T63" fmla="*/ 499 h 556"/>
                    <a:gd name="T64" fmla="*/ 384 w 433"/>
                    <a:gd name="T65" fmla="*/ 539 h 556"/>
                    <a:gd name="T66" fmla="*/ 371 w 433"/>
                    <a:gd name="T67" fmla="*/ 550 h 556"/>
                    <a:gd name="T68" fmla="*/ 362 w 433"/>
                    <a:gd name="T69" fmla="*/ 543 h 556"/>
                    <a:gd name="T70" fmla="*/ 336 w 433"/>
                    <a:gd name="T71" fmla="*/ 500 h 556"/>
                    <a:gd name="T72" fmla="*/ 323 w 433"/>
                    <a:gd name="T73" fmla="*/ 480 h 556"/>
                    <a:gd name="T74" fmla="*/ 312 w 433"/>
                    <a:gd name="T75" fmla="*/ 471 h 556"/>
                    <a:gd name="T76" fmla="*/ 295 w 433"/>
                    <a:gd name="T77" fmla="*/ 438 h 556"/>
                    <a:gd name="T78" fmla="*/ 293 w 433"/>
                    <a:gd name="T79" fmla="*/ 432 h 556"/>
                    <a:gd name="T80" fmla="*/ 286 w 433"/>
                    <a:gd name="T81" fmla="*/ 417 h 556"/>
                    <a:gd name="T82" fmla="*/ 275 w 433"/>
                    <a:gd name="T83" fmla="*/ 406 h 556"/>
                    <a:gd name="T84" fmla="*/ 253 w 433"/>
                    <a:gd name="T85" fmla="*/ 392 h 556"/>
                    <a:gd name="T86" fmla="*/ 223 w 433"/>
                    <a:gd name="T87" fmla="*/ 336 h 556"/>
                    <a:gd name="T88" fmla="*/ 197 w 433"/>
                    <a:gd name="T89" fmla="*/ 294 h 556"/>
                    <a:gd name="T90" fmla="*/ 183 w 433"/>
                    <a:gd name="T91" fmla="*/ 277 h 556"/>
                    <a:gd name="T92" fmla="*/ 168 w 433"/>
                    <a:gd name="T93" fmla="*/ 268 h 556"/>
                    <a:gd name="T94" fmla="*/ 160 w 433"/>
                    <a:gd name="T95" fmla="*/ 251 h 556"/>
                    <a:gd name="T96" fmla="*/ 153 w 433"/>
                    <a:gd name="T97" fmla="*/ 235 h 556"/>
                    <a:gd name="T98" fmla="*/ 133 w 433"/>
                    <a:gd name="T99" fmla="*/ 211 h 556"/>
                    <a:gd name="T100" fmla="*/ 83 w 433"/>
                    <a:gd name="T101" fmla="*/ 172 h 556"/>
                    <a:gd name="T102" fmla="*/ 66 w 433"/>
                    <a:gd name="T103" fmla="*/ 148 h 556"/>
                    <a:gd name="T104" fmla="*/ 55 w 433"/>
                    <a:gd name="T105" fmla="*/ 126 h 556"/>
                    <a:gd name="T106" fmla="*/ 44 w 433"/>
                    <a:gd name="T107" fmla="*/ 109 h 556"/>
                    <a:gd name="T108" fmla="*/ 33 w 433"/>
                    <a:gd name="T109" fmla="*/ 100 h 556"/>
                    <a:gd name="T110" fmla="*/ 26 w 433"/>
                    <a:gd name="T111" fmla="*/ 87 h 556"/>
                    <a:gd name="T112" fmla="*/ 35 w 433"/>
                    <a:gd name="T113" fmla="*/ 69 h 556"/>
                    <a:gd name="T114" fmla="*/ 48 w 433"/>
                    <a:gd name="T115" fmla="*/ 65 h 556"/>
                    <a:gd name="T116" fmla="*/ 46 w 433"/>
                    <a:gd name="T117" fmla="*/ 54 h 556"/>
                    <a:gd name="T118" fmla="*/ 42 w 433"/>
                    <a:gd name="T119" fmla="*/ 50 h 556"/>
                    <a:gd name="T120" fmla="*/ 40 w 433"/>
                    <a:gd name="T121" fmla="*/ 41 h 556"/>
                    <a:gd name="T122" fmla="*/ 24 w 433"/>
                    <a:gd name="T123" fmla="*/ 28 h 556"/>
                    <a:gd name="T124" fmla="*/ 11 w 433"/>
                    <a:gd name="T125" fmla="*/ 21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33" h="55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4"/>
                      </a:lnTo>
                      <a:lnTo>
                        <a:pt x="15" y="4"/>
                      </a:lnTo>
                      <a:lnTo>
                        <a:pt x="16" y="4"/>
                      </a:lnTo>
                      <a:lnTo>
                        <a:pt x="16" y="2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7" y="4"/>
                      </a:lnTo>
                      <a:lnTo>
                        <a:pt x="31" y="6"/>
                      </a:lnTo>
                      <a:lnTo>
                        <a:pt x="35" y="10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42" y="17"/>
                      </a:lnTo>
                      <a:lnTo>
                        <a:pt x="46" y="21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57" y="34"/>
                      </a:lnTo>
                      <a:lnTo>
                        <a:pt x="66" y="43"/>
                      </a:lnTo>
                      <a:lnTo>
                        <a:pt x="70" y="46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81" y="54"/>
                      </a:lnTo>
                      <a:lnTo>
                        <a:pt x="85" y="58"/>
                      </a:lnTo>
                      <a:lnTo>
                        <a:pt x="85" y="61"/>
                      </a:lnTo>
                      <a:lnTo>
                        <a:pt x="83" y="65"/>
                      </a:lnTo>
                      <a:lnTo>
                        <a:pt x="83" y="65"/>
                      </a:lnTo>
                      <a:lnTo>
                        <a:pt x="92" y="72"/>
                      </a:lnTo>
                      <a:lnTo>
                        <a:pt x="101" y="78"/>
                      </a:lnTo>
                      <a:lnTo>
                        <a:pt x="111" y="83"/>
                      </a:lnTo>
                      <a:lnTo>
                        <a:pt x="118" y="89"/>
                      </a:lnTo>
                      <a:lnTo>
                        <a:pt x="118" y="91"/>
                      </a:lnTo>
                      <a:lnTo>
                        <a:pt x="118" y="91"/>
                      </a:lnTo>
                      <a:lnTo>
                        <a:pt x="116" y="93"/>
                      </a:lnTo>
                      <a:lnTo>
                        <a:pt x="116" y="93"/>
                      </a:lnTo>
                      <a:lnTo>
                        <a:pt x="118" y="94"/>
                      </a:lnTo>
                      <a:lnTo>
                        <a:pt x="118" y="94"/>
                      </a:lnTo>
                      <a:lnTo>
                        <a:pt x="118" y="96"/>
                      </a:lnTo>
                      <a:lnTo>
                        <a:pt x="120" y="96"/>
                      </a:lnTo>
                      <a:lnTo>
                        <a:pt x="122" y="94"/>
                      </a:lnTo>
                      <a:lnTo>
                        <a:pt x="122" y="94"/>
                      </a:lnTo>
                      <a:lnTo>
                        <a:pt x="122" y="98"/>
                      </a:lnTo>
                      <a:lnTo>
                        <a:pt x="122" y="104"/>
                      </a:lnTo>
                      <a:lnTo>
                        <a:pt x="123" y="109"/>
                      </a:lnTo>
                      <a:lnTo>
                        <a:pt x="123" y="113"/>
                      </a:lnTo>
                      <a:lnTo>
                        <a:pt x="123" y="113"/>
                      </a:lnTo>
                      <a:lnTo>
                        <a:pt x="125" y="117"/>
                      </a:lnTo>
                      <a:lnTo>
                        <a:pt x="127" y="120"/>
                      </a:lnTo>
                      <a:lnTo>
                        <a:pt x="131" y="124"/>
                      </a:lnTo>
                      <a:lnTo>
                        <a:pt x="131" y="124"/>
                      </a:lnTo>
                      <a:lnTo>
                        <a:pt x="133" y="128"/>
                      </a:lnTo>
                      <a:lnTo>
                        <a:pt x="136" y="129"/>
                      </a:lnTo>
                      <a:lnTo>
                        <a:pt x="136" y="129"/>
                      </a:lnTo>
                      <a:lnTo>
                        <a:pt x="138" y="133"/>
                      </a:lnTo>
                      <a:lnTo>
                        <a:pt x="142" y="135"/>
                      </a:lnTo>
                      <a:lnTo>
                        <a:pt x="142" y="135"/>
                      </a:lnTo>
                      <a:lnTo>
                        <a:pt x="146" y="139"/>
                      </a:lnTo>
                      <a:lnTo>
                        <a:pt x="155" y="142"/>
                      </a:lnTo>
                      <a:lnTo>
                        <a:pt x="162" y="148"/>
                      </a:lnTo>
                      <a:lnTo>
                        <a:pt x="164" y="152"/>
                      </a:lnTo>
                      <a:lnTo>
                        <a:pt x="164" y="153"/>
                      </a:lnTo>
                      <a:lnTo>
                        <a:pt x="164" y="153"/>
                      </a:lnTo>
                      <a:lnTo>
                        <a:pt x="166" y="157"/>
                      </a:lnTo>
                      <a:lnTo>
                        <a:pt x="168" y="163"/>
                      </a:lnTo>
                      <a:lnTo>
                        <a:pt x="168" y="163"/>
                      </a:lnTo>
                      <a:lnTo>
                        <a:pt x="171" y="163"/>
                      </a:lnTo>
                      <a:lnTo>
                        <a:pt x="173" y="161"/>
                      </a:lnTo>
                      <a:lnTo>
                        <a:pt x="177" y="161"/>
                      </a:lnTo>
                      <a:lnTo>
                        <a:pt x="181" y="161"/>
                      </a:lnTo>
                      <a:lnTo>
                        <a:pt x="183" y="165"/>
                      </a:lnTo>
                      <a:lnTo>
                        <a:pt x="186" y="170"/>
                      </a:lnTo>
                      <a:lnTo>
                        <a:pt x="186" y="170"/>
                      </a:lnTo>
                      <a:lnTo>
                        <a:pt x="190" y="174"/>
                      </a:lnTo>
                      <a:lnTo>
                        <a:pt x="194" y="177"/>
                      </a:lnTo>
                      <a:lnTo>
                        <a:pt x="201" y="185"/>
                      </a:lnTo>
                      <a:lnTo>
                        <a:pt x="210" y="194"/>
                      </a:lnTo>
                      <a:lnTo>
                        <a:pt x="219" y="201"/>
                      </a:lnTo>
                      <a:lnTo>
                        <a:pt x="229" y="209"/>
                      </a:lnTo>
                      <a:lnTo>
                        <a:pt x="238" y="216"/>
                      </a:lnTo>
                      <a:lnTo>
                        <a:pt x="249" y="224"/>
                      </a:lnTo>
                      <a:lnTo>
                        <a:pt x="269" y="238"/>
                      </a:lnTo>
                      <a:lnTo>
                        <a:pt x="290" y="253"/>
                      </a:lnTo>
                      <a:lnTo>
                        <a:pt x="301" y="261"/>
                      </a:lnTo>
                      <a:lnTo>
                        <a:pt x="310" y="266"/>
                      </a:lnTo>
                      <a:lnTo>
                        <a:pt x="319" y="273"/>
                      </a:lnTo>
                      <a:lnTo>
                        <a:pt x="326" y="279"/>
                      </a:lnTo>
                      <a:lnTo>
                        <a:pt x="319" y="281"/>
                      </a:lnTo>
                      <a:lnTo>
                        <a:pt x="308" y="283"/>
                      </a:lnTo>
                      <a:lnTo>
                        <a:pt x="299" y="285"/>
                      </a:lnTo>
                      <a:lnTo>
                        <a:pt x="288" y="286"/>
                      </a:lnTo>
                      <a:lnTo>
                        <a:pt x="286" y="290"/>
                      </a:lnTo>
                      <a:lnTo>
                        <a:pt x="286" y="296"/>
                      </a:lnTo>
                      <a:lnTo>
                        <a:pt x="286" y="299"/>
                      </a:lnTo>
                      <a:lnTo>
                        <a:pt x="284" y="303"/>
                      </a:lnTo>
                      <a:lnTo>
                        <a:pt x="278" y="303"/>
                      </a:lnTo>
                      <a:lnTo>
                        <a:pt x="275" y="303"/>
                      </a:lnTo>
                      <a:lnTo>
                        <a:pt x="273" y="303"/>
                      </a:lnTo>
                      <a:lnTo>
                        <a:pt x="273" y="312"/>
                      </a:lnTo>
                      <a:lnTo>
                        <a:pt x="273" y="321"/>
                      </a:lnTo>
                      <a:lnTo>
                        <a:pt x="273" y="329"/>
                      </a:lnTo>
                      <a:lnTo>
                        <a:pt x="273" y="336"/>
                      </a:lnTo>
                      <a:lnTo>
                        <a:pt x="273" y="338"/>
                      </a:lnTo>
                      <a:lnTo>
                        <a:pt x="277" y="338"/>
                      </a:lnTo>
                      <a:lnTo>
                        <a:pt x="280" y="340"/>
                      </a:lnTo>
                      <a:lnTo>
                        <a:pt x="282" y="342"/>
                      </a:lnTo>
                      <a:lnTo>
                        <a:pt x="286" y="342"/>
                      </a:lnTo>
                      <a:lnTo>
                        <a:pt x="290" y="353"/>
                      </a:lnTo>
                      <a:lnTo>
                        <a:pt x="293" y="364"/>
                      </a:lnTo>
                      <a:lnTo>
                        <a:pt x="297" y="375"/>
                      </a:lnTo>
                      <a:lnTo>
                        <a:pt x="301" y="386"/>
                      </a:lnTo>
                      <a:lnTo>
                        <a:pt x="306" y="397"/>
                      </a:lnTo>
                      <a:lnTo>
                        <a:pt x="310" y="408"/>
                      </a:lnTo>
                      <a:lnTo>
                        <a:pt x="314" y="419"/>
                      </a:lnTo>
                      <a:lnTo>
                        <a:pt x="317" y="430"/>
                      </a:lnTo>
                      <a:lnTo>
                        <a:pt x="332" y="434"/>
                      </a:lnTo>
                      <a:lnTo>
                        <a:pt x="345" y="438"/>
                      </a:lnTo>
                      <a:lnTo>
                        <a:pt x="360" y="441"/>
                      </a:lnTo>
                      <a:lnTo>
                        <a:pt x="373" y="445"/>
                      </a:lnTo>
                      <a:lnTo>
                        <a:pt x="373" y="451"/>
                      </a:lnTo>
                      <a:lnTo>
                        <a:pt x="373" y="456"/>
                      </a:lnTo>
                      <a:lnTo>
                        <a:pt x="373" y="456"/>
                      </a:lnTo>
                      <a:lnTo>
                        <a:pt x="380" y="458"/>
                      </a:lnTo>
                      <a:lnTo>
                        <a:pt x="387" y="460"/>
                      </a:lnTo>
                      <a:lnTo>
                        <a:pt x="393" y="462"/>
                      </a:lnTo>
                      <a:lnTo>
                        <a:pt x="400" y="464"/>
                      </a:lnTo>
                      <a:lnTo>
                        <a:pt x="400" y="464"/>
                      </a:lnTo>
                      <a:lnTo>
                        <a:pt x="404" y="458"/>
                      </a:lnTo>
                      <a:lnTo>
                        <a:pt x="406" y="454"/>
                      </a:lnTo>
                      <a:lnTo>
                        <a:pt x="410" y="460"/>
                      </a:lnTo>
                      <a:lnTo>
                        <a:pt x="410" y="460"/>
                      </a:lnTo>
                      <a:lnTo>
                        <a:pt x="415" y="464"/>
                      </a:lnTo>
                      <a:lnTo>
                        <a:pt x="421" y="469"/>
                      </a:lnTo>
                      <a:lnTo>
                        <a:pt x="426" y="476"/>
                      </a:lnTo>
                      <a:lnTo>
                        <a:pt x="428" y="478"/>
                      </a:lnTo>
                      <a:lnTo>
                        <a:pt x="430" y="482"/>
                      </a:lnTo>
                      <a:lnTo>
                        <a:pt x="432" y="486"/>
                      </a:lnTo>
                      <a:lnTo>
                        <a:pt x="433" y="489"/>
                      </a:lnTo>
                      <a:lnTo>
                        <a:pt x="433" y="493"/>
                      </a:lnTo>
                      <a:lnTo>
                        <a:pt x="433" y="497"/>
                      </a:lnTo>
                      <a:lnTo>
                        <a:pt x="433" y="499"/>
                      </a:lnTo>
                      <a:lnTo>
                        <a:pt x="433" y="500"/>
                      </a:lnTo>
                      <a:lnTo>
                        <a:pt x="428" y="495"/>
                      </a:lnTo>
                      <a:lnTo>
                        <a:pt x="424" y="491"/>
                      </a:lnTo>
                      <a:lnTo>
                        <a:pt x="421" y="486"/>
                      </a:lnTo>
                      <a:lnTo>
                        <a:pt x="419" y="478"/>
                      </a:lnTo>
                      <a:lnTo>
                        <a:pt x="410" y="478"/>
                      </a:lnTo>
                      <a:lnTo>
                        <a:pt x="410" y="478"/>
                      </a:lnTo>
                      <a:lnTo>
                        <a:pt x="404" y="482"/>
                      </a:lnTo>
                      <a:lnTo>
                        <a:pt x="398" y="484"/>
                      </a:lnTo>
                      <a:lnTo>
                        <a:pt x="393" y="486"/>
                      </a:lnTo>
                      <a:lnTo>
                        <a:pt x="387" y="488"/>
                      </a:lnTo>
                      <a:lnTo>
                        <a:pt x="380" y="489"/>
                      </a:lnTo>
                      <a:lnTo>
                        <a:pt x="378" y="489"/>
                      </a:lnTo>
                      <a:lnTo>
                        <a:pt x="374" y="489"/>
                      </a:lnTo>
                      <a:lnTo>
                        <a:pt x="371" y="489"/>
                      </a:lnTo>
                      <a:lnTo>
                        <a:pt x="369" y="489"/>
                      </a:lnTo>
                      <a:lnTo>
                        <a:pt x="367" y="488"/>
                      </a:lnTo>
                      <a:lnTo>
                        <a:pt x="371" y="499"/>
                      </a:lnTo>
                      <a:lnTo>
                        <a:pt x="373" y="506"/>
                      </a:lnTo>
                      <a:lnTo>
                        <a:pt x="374" y="515"/>
                      </a:lnTo>
                      <a:lnTo>
                        <a:pt x="378" y="523"/>
                      </a:lnTo>
                      <a:lnTo>
                        <a:pt x="380" y="530"/>
                      </a:lnTo>
                      <a:lnTo>
                        <a:pt x="384" y="539"/>
                      </a:lnTo>
                      <a:lnTo>
                        <a:pt x="386" y="548"/>
                      </a:lnTo>
                      <a:lnTo>
                        <a:pt x="387" y="556"/>
                      </a:lnTo>
                      <a:lnTo>
                        <a:pt x="384" y="556"/>
                      </a:lnTo>
                      <a:lnTo>
                        <a:pt x="380" y="556"/>
                      </a:lnTo>
                      <a:lnTo>
                        <a:pt x="371" y="550"/>
                      </a:lnTo>
                      <a:lnTo>
                        <a:pt x="371" y="550"/>
                      </a:lnTo>
                      <a:lnTo>
                        <a:pt x="371" y="550"/>
                      </a:lnTo>
                      <a:lnTo>
                        <a:pt x="371" y="550"/>
                      </a:lnTo>
                      <a:lnTo>
                        <a:pt x="371" y="550"/>
                      </a:lnTo>
                      <a:lnTo>
                        <a:pt x="362" y="543"/>
                      </a:lnTo>
                      <a:lnTo>
                        <a:pt x="354" y="535"/>
                      </a:lnTo>
                      <a:lnTo>
                        <a:pt x="345" y="528"/>
                      </a:lnTo>
                      <a:lnTo>
                        <a:pt x="343" y="519"/>
                      </a:lnTo>
                      <a:lnTo>
                        <a:pt x="339" y="510"/>
                      </a:lnTo>
                      <a:lnTo>
                        <a:pt x="336" y="500"/>
                      </a:lnTo>
                      <a:lnTo>
                        <a:pt x="330" y="493"/>
                      </a:lnTo>
                      <a:lnTo>
                        <a:pt x="328" y="488"/>
                      </a:lnTo>
                      <a:lnTo>
                        <a:pt x="326" y="484"/>
                      </a:lnTo>
                      <a:lnTo>
                        <a:pt x="326" y="484"/>
                      </a:lnTo>
                      <a:lnTo>
                        <a:pt x="323" y="480"/>
                      </a:lnTo>
                      <a:lnTo>
                        <a:pt x="319" y="476"/>
                      </a:lnTo>
                      <a:lnTo>
                        <a:pt x="319" y="476"/>
                      </a:lnTo>
                      <a:lnTo>
                        <a:pt x="315" y="475"/>
                      </a:lnTo>
                      <a:lnTo>
                        <a:pt x="312" y="471"/>
                      </a:lnTo>
                      <a:lnTo>
                        <a:pt x="312" y="471"/>
                      </a:lnTo>
                      <a:lnTo>
                        <a:pt x="308" y="469"/>
                      </a:lnTo>
                      <a:lnTo>
                        <a:pt x="308" y="469"/>
                      </a:lnTo>
                      <a:lnTo>
                        <a:pt x="302" y="467"/>
                      </a:lnTo>
                      <a:lnTo>
                        <a:pt x="299" y="451"/>
                      </a:lnTo>
                      <a:lnTo>
                        <a:pt x="295" y="438"/>
                      </a:lnTo>
                      <a:lnTo>
                        <a:pt x="293" y="432"/>
                      </a:lnTo>
                      <a:lnTo>
                        <a:pt x="291" y="432"/>
                      </a:lnTo>
                      <a:lnTo>
                        <a:pt x="293" y="432"/>
                      </a:lnTo>
                      <a:lnTo>
                        <a:pt x="291" y="432"/>
                      </a:lnTo>
                      <a:lnTo>
                        <a:pt x="293" y="432"/>
                      </a:lnTo>
                      <a:lnTo>
                        <a:pt x="291" y="427"/>
                      </a:lnTo>
                      <a:lnTo>
                        <a:pt x="290" y="421"/>
                      </a:lnTo>
                      <a:lnTo>
                        <a:pt x="290" y="421"/>
                      </a:lnTo>
                      <a:lnTo>
                        <a:pt x="286" y="417"/>
                      </a:lnTo>
                      <a:lnTo>
                        <a:pt x="286" y="417"/>
                      </a:lnTo>
                      <a:lnTo>
                        <a:pt x="282" y="414"/>
                      </a:lnTo>
                      <a:lnTo>
                        <a:pt x="282" y="414"/>
                      </a:lnTo>
                      <a:lnTo>
                        <a:pt x="278" y="410"/>
                      </a:lnTo>
                      <a:lnTo>
                        <a:pt x="278" y="410"/>
                      </a:lnTo>
                      <a:lnTo>
                        <a:pt x="275" y="406"/>
                      </a:lnTo>
                      <a:lnTo>
                        <a:pt x="271" y="403"/>
                      </a:lnTo>
                      <a:lnTo>
                        <a:pt x="271" y="403"/>
                      </a:lnTo>
                      <a:lnTo>
                        <a:pt x="266" y="399"/>
                      </a:lnTo>
                      <a:lnTo>
                        <a:pt x="260" y="395"/>
                      </a:lnTo>
                      <a:lnTo>
                        <a:pt x="253" y="392"/>
                      </a:lnTo>
                      <a:lnTo>
                        <a:pt x="245" y="386"/>
                      </a:lnTo>
                      <a:lnTo>
                        <a:pt x="240" y="373"/>
                      </a:lnTo>
                      <a:lnTo>
                        <a:pt x="232" y="355"/>
                      </a:lnTo>
                      <a:lnTo>
                        <a:pt x="227" y="345"/>
                      </a:lnTo>
                      <a:lnTo>
                        <a:pt x="223" y="336"/>
                      </a:lnTo>
                      <a:lnTo>
                        <a:pt x="218" y="327"/>
                      </a:lnTo>
                      <a:lnTo>
                        <a:pt x="214" y="318"/>
                      </a:lnTo>
                      <a:lnTo>
                        <a:pt x="208" y="310"/>
                      </a:lnTo>
                      <a:lnTo>
                        <a:pt x="203" y="301"/>
                      </a:lnTo>
                      <a:lnTo>
                        <a:pt x="197" y="294"/>
                      </a:lnTo>
                      <a:lnTo>
                        <a:pt x="192" y="286"/>
                      </a:lnTo>
                      <a:lnTo>
                        <a:pt x="188" y="283"/>
                      </a:lnTo>
                      <a:lnTo>
                        <a:pt x="184" y="279"/>
                      </a:lnTo>
                      <a:lnTo>
                        <a:pt x="183" y="277"/>
                      </a:lnTo>
                      <a:lnTo>
                        <a:pt x="183" y="277"/>
                      </a:lnTo>
                      <a:lnTo>
                        <a:pt x="179" y="273"/>
                      </a:lnTo>
                      <a:lnTo>
                        <a:pt x="175" y="272"/>
                      </a:lnTo>
                      <a:lnTo>
                        <a:pt x="175" y="272"/>
                      </a:lnTo>
                      <a:lnTo>
                        <a:pt x="171" y="270"/>
                      </a:lnTo>
                      <a:lnTo>
                        <a:pt x="168" y="268"/>
                      </a:lnTo>
                      <a:lnTo>
                        <a:pt x="168" y="268"/>
                      </a:lnTo>
                      <a:lnTo>
                        <a:pt x="164" y="266"/>
                      </a:lnTo>
                      <a:lnTo>
                        <a:pt x="164" y="261"/>
                      </a:lnTo>
                      <a:lnTo>
                        <a:pt x="162" y="255"/>
                      </a:lnTo>
                      <a:lnTo>
                        <a:pt x="160" y="251"/>
                      </a:lnTo>
                      <a:lnTo>
                        <a:pt x="159" y="246"/>
                      </a:lnTo>
                      <a:lnTo>
                        <a:pt x="159" y="246"/>
                      </a:lnTo>
                      <a:lnTo>
                        <a:pt x="157" y="242"/>
                      </a:lnTo>
                      <a:lnTo>
                        <a:pt x="155" y="238"/>
                      </a:lnTo>
                      <a:lnTo>
                        <a:pt x="153" y="235"/>
                      </a:lnTo>
                      <a:lnTo>
                        <a:pt x="153" y="235"/>
                      </a:lnTo>
                      <a:lnTo>
                        <a:pt x="149" y="231"/>
                      </a:lnTo>
                      <a:lnTo>
                        <a:pt x="144" y="224"/>
                      </a:lnTo>
                      <a:lnTo>
                        <a:pt x="138" y="218"/>
                      </a:lnTo>
                      <a:lnTo>
                        <a:pt x="133" y="211"/>
                      </a:lnTo>
                      <a:lnTo>
                        <a:pt x="127" y="205"/>
                      </a:lnTo>
                      <a:lnTo>
                        <a:pt x="112" y="196"/>
                      </a:lnTo>
                      <a:lnTo>
                        <a:pt x="98" y="185"/>
                      </a:lnTo>
                      <a:lnTo>
                        <a:pt x="90" y="179"/>
                      </a:lnTo>
                      <a:lnTo>
                        <a:pt x="83" y="172"/>
                      </a:lnTo>
                      <a:lnTo>
                        <a:pt x="75" y="165"/>
                      </a:lnTo>
                      <a:lnTo>
                        <a:pt x="68" y="157"/>
                      </a:lnTo>
                      <a:lnTo>
                        <a:pt x="66" y="153"/>
                      </a:lnTo>
                      <a:lnTo>
                        <a:pt x="66" y="153"/>
                      </a:lnTo>
                      <a:lnTo>
                        <a:pt x="66" y="148"/>
                      </a:lnTo>
                      <a:lnTo>
                        <a:pt x="64" y="142"/>
                      </a:lnTo>
                      <a:lnTo>
                        <a:pt x="63" y="139"/>
                      </a:lnTo>
                      <a:lnTo>
                        <a:pt x="61" y="133"/>
                      </a:lnTo>
                      <a:lnTo>
                        <a:pt x="57" y="129"/>
                      </a:lnTo>
                      <a:lnTo>
                        <a:pt x="55" y="126"/>
                      </a:lnTo>
                      <a:lnTo>
                        <a:pt x="53" y="120"/>
                      </a:lnTo>
                      <a:lnTo>
                        <a:pt x="53" y="120"/>
                      </a:lnTo>
                      <a:lnTo>
                        <a:pt x="50" y="117"/>
                      </a:lnTo>
                      <a:lnTo>
                        <a:pt x="48" y="113"/>
                      </a:lnTo>
                      <a:lnTo>
                        <a:pt x="44" y="109"/>
                      </a:lnTo>
                      <a:lnTo>
                        <a:pt x="44" y="109"/>
                      </a:lnTo>
                      <a:lnTo>
                        <a:pt x="40" y="106"/>
                      </a:lnTo>
                      <a:lnTo>
                        <a:pt x="37" y="102"/>
                      </a:lnTo>
                      <a:lnTo>
                        <a:pt x="37" y="102"/>
                      </a:lnTo>
                      <a:lnTo>
                        <a:pt x="33" y="100"/>
                      </a:lnTo>
                      <a:lnTo>
                        <a:pt x="29" y="96"/>
                      </a:lnTo>
                      <a:lnTo>
                        <a:pt x="29" y="96"/>
                      </a:lnTo>
                      <a:lnTo>
                        <a:pt x="26" y="93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6" y="85"/>
                      </a:lnTo>
                      <a:lnTo>
                        <a:pt x="26" y="82"/>
                      </a:lnTo>
                      <a:lnTo>
                        <a:pt x="27" y="76"/>
                      </a:lnTo>
                      <a:lnTo>
                        <a:pt x="31" y="67"/>
                      </a:lnTo>
                      <a:lnTo>
                        <a:pt x="35" y="69"/>
                      </a:lnTo>
                      <a:lnTo>
                        <a:pt x="39" y="70"/>
                      </a:lnTo>
                      <a:lnTo>
                        <a:pt x="42" y="70"/>
                      </a:lnTo>
                      <a:lnTo>
                        <a:pt x="48" y="72"/>
                      </a:lnTo>
                      <a:lnTo>
                        <a:pt x="50" y="72"/>
                      </a:lnTo>
                      <a:lnTo>
                        <a:pt x="48" y="65"/>
                      </a:lnTo>
                      <a:lnTo>
                        <a:pt x="48" y="61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2" y="50"/>
                      </a:lnTo>
                      <a:lnTo>
                        <a:pt x="40" y="48"/>
                      </a:lnTo>
                      <a:lnTo>
                        <a:pt x="39" y="46"/>
                      </a:lnTo>
                      <a:lnTo>
                        <a:pt x="39" y="46"/>
                      </a:lnTo>
                      <a:lnTo>
                        <a:pt x="39" y="45"/>
                      </a:lnTo>
                      <a:lnTo>
                        <a:pt x="40" y="41"/>
                      </a:lnTo>
                      <a:lnTo>
                        <a:pt x="40" y="41"/>
                      </a:lnTo>
                      <a:lnTo>
                        <a:pt x="33" y="35"/>
                      </a:lnTo>
                      <a:lnTo>
                        <a:pt x="29" y="32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0" y="24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1" y="21"/>
                      </a:lnTo>
                      <a:lnTo>
                        <a:pt x="11" y="21"/>
                      </a:lnTo>
                      <a:lnTo>
                        <a:pt x="5" y="19"/>
                      </a:lnTo>
                      <a:lnTo>
                        <a:pt x="0" y="17"/>
                      </a:lnTo>
                      <a:lnTo>
                        <a:pt x="0" y="11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0" name="Freeform 3014"/>
                <p:cNvSpPr>
                  <a:spLocks/>
                </p:cNvSpPr>
                <p:nvPr/>
              </p:nvSpPr>
              <p:spPr bwMode="auto">
                <a:xfrm>
                  <a:off x="4996" y="2203"/>
                  <a:ext cx="437" cy="560"/>
                </a:xfrm>
                <a:custGeom>
                  <a:avLst/>
                  <a:gdLst>
                    <a:gd name="T0" fmla="*/ 13 w 437"/>
                    <a:gd name="T1" fmla="*/ 4 h 560"/>
                    <a:gd name="T2" fmla="*/ 0 w 437"/>
                    <a:gd name="T3" fmla="*/ 8 h 560"/>
                    <a:gd name="T4" fmla="*/ 13 w 437"/>
                    <a:gd name="T5" fmla="*/ 24 h 560"/>
                    <a:gd name="T6" fmla="*/ 35 w 437"/>
                    <a:gd name="T7" fmla="*/ 37 h 560"/>
                    <a:gd name="T8" fmla="*/ 39 w 437"/>
                    <a:gd name="T9" fmla="*/ 48 h 560"/>
                    <a:gd name="T10" fmla="*/ 42 w 437"/>
                    <a:gd name="T11" fmla="*/ 52 h 560"/>
                    <a:gd name="T12" fmla="*/ 44 w 437"/>
                    <a:gd name="T13" fmla="*/ 54 h 560"/>
                    <a:gd name="T14" fmla="*/ 48 w 437"/>
                    <a:gd name="T15" fmla="*/ 67 h 560"/>
                    <a:gd name="T16" fmla="*/ 33 w 437"/>
                    <a:gd name="T17" fmla="*/ 69 h 560"/>
                    <a:gd name="T18" fmla="*/ 26 w 437"/>
                    <a:gd name="T19" fmla="*/ 85 h 560"/>
                    <a:gd name="T20" fmla="*/ 29 w 437"/>
                    <a:gd name="T21" fmla="*/ 98 h 560"/>
                    <a:gd name="T22" fmla="*/ 48 w 437"/>
                    <a:gd name="T23" fmla="*/ 117 h 560"/>
                    <a:gd name="T24" fmla="*/ 59 w 437"/>
                    <a:gd name="T25" fmla="*/ 131 h 560"/>
                    <a:gd name="T26" fmla="*/ 68 w 437"/>
                    <a:gd name="T27" fmla="*/ 155 h 560"/>
                    <a:gd name="T28" fmla="*/ 92 w 437"/>
                    <a:gd name="T29" fmla="*/ 181 h 560"/>
                    <a:gd name="T30" fmla="*/ 140 w 437"/>
                    <a:gd name="T31" fmla="*/ 220 h 560"/>
                    <a:gd name="T32" fmla="*/ 157 w 437"/>
                    <a:gd name="T33" fmla="*/ 244 h 560"/>
                    <a:gd name="T34" fmla="*/ 166 w 437"/>
                    <a:gd name="T35" fmla="*/ 270 h 560"/>
                    <a:gd name="T36" fmla="*/ 179 w 437"/>
                    <a:gd name="T37" fmla="*/ 277 h 560"/>
                    <a:gd name="T38" fmla="*/ 197 w 437"/>
                    <a:gd name="T39" fmla="*/ 296 h 560"/>
                    <a:gd name="T40" fmla="*/ 223 w 437"/>
                    <a:gd name="T41" fmla="*/ 340 h 560"/>
                    <a:gd name="T42" fmla="*/ 255 w 437"/>
                    <a:gd name="T43" fmla="*/ 394 h 560"/>
                    <a:gd name="T44" fmla="*/ 280 w 437"/>
                    <a:gd name="T45" fmla="*/ 412 h 560"/>
                    <a:gd name="T46" fmla="*/ 293 w 437"/>
                    <a:gd name="T47" fmla="*/ 434 h 560"/>
                    <a:gd name="T48" fmla="*/ 314 w 437"/>
                    <a:gd name="T49" fmla="*/ 475 h 560"/>
                    <a:gd name="T50" fmla="*/ 328 w 437"/>
                    <a:gd name="T51" fmla="*/ 491 h 560"/>
                    <a:gd name="T52" fmla="*/ 343 w 437"/>
                    <a:gd name="T53" fmla="*/ 521 h 560"/>
                    <a:gd name="T54" fmla="*/ 382 w 437"/>
                    <a:gd name="T55" fmla="*/ 560 h 560"/>
                    <a:gd name="T56" fmla="*/ 386 w 437"/>
                    <a:gd name="T57" fmla="*/ 541 h 560"/>
                    <a:gd name="T58" fmla="*/ 373 w 437"/>
                    <a:gd name="T59" fmla="*/ 499 h 560"/>
                    <a:gd name="T60" fmla="*/ 376 w 437"/>
                    <a:gd name="T61" fmla="*/ 493 h 560"/>
                    <a:gd name="T62" fmla="*/ 389 w 437"/>
                    <a:gd name="T63" fmla="*/ 491 h 560"/>
                    <a:gd name="T64" fmla="*/ 419 w 437"/>
                    <a:gd name="T65" fmla="*/ 480 h 560"/>
                    <a:gd name="T66" fmla="*/ 435 w 437"/>
                    <a:gd name="T67" fmla="*/ 506 h 560"/>
                    <a:gd name="T68" fmla="*/ 437 w 437"/>
                    <a:gd name="T69" fmla="*/ 495 h 560"/>
                    <a:gd name="T70" fmla="*/ 434 w 437"/>
                    <a:gd name="T71" fmla="*/ 484 h 560"/>
                    <a:gd name="T72" fmla="*/ 419 w 437"/>
                    <a:gd name="T73" fmla="*/ 466 h 560"/>
                    <a:gd name="T74" fmla="*/ 402 w 437"/>
                    <a:gd name="T75" fmla="*/ 464 h 560"/>
                    <a:gd name="T76" fmla="*/ 376 w 437"/>
                    <a:gd name="T77" fmla="*/ 453 h 560"/>
                    <a:gd name="T78" fmla="*/ 334 w 437"/>
                    <a:gd name="T79" fmla="*/ 434 h 560"/>
                    <a:gd name="T80" fmla="*/ 304 w 437"/>
                    <a:gd name="T81" fmla="*/ 386 h 560"/>
                    <a:gd name="T82" fmla="*/ 301 w 437"/>
                    <a:gd name="T83" fmla="*/ 375 h 560"/>
                    <a:gd name="T84" fmla="*/ 282 w 437"/>
                    <a:gd name="T85" fmla="*/ 340 h 560"/>
                    <a:gd name="T86" fmla="*/ 277 w 437"/>
                    <a:gd name="T87" fmla="*/ 323 h 560"/>
                    <a:gd name="T88" fmla="*/ 288 w 437"/>
                    <a:gd name="T89" fmla="*/ 307 h 560"/>
                    <a:gd name="T90" fmla="*/ 301 w 437"/>
                    <a:gd name="T91" fmla="*/ 287 h 560"/>
                    <a:gd name="T92" fmla="*/ 314 w 437"/>
                    <a:gd name="T93" fmla="*/ 268 h 560"/>
                    <a:gd name="T94" fmla="*/ 242 w 437"/>
                    <a:gd name="T95" fmla="*/ 218 h 560"/>
                    <a:gd name="T96" fmla="*/ 196 w 437"/>
                    <a:gd name="T97" fmla="*/ 179 h 560"/>
                    <a:gd name="T98" fmla="*/ 183 w 437"/>
                    <a:gd name="T99" fmla="*/ 161 h 560"/>
                    <a:gd name="T100" fmla="*/ 170 w 437"/>
                    <a:gd name="T101" fmla="*/ 163 h 560"/>
                    <a:gd name="T102" fmla="*/ 166 w 437"/>
                    <a:gd name="T103" fmla="*/ 148 h 560"/>
                    <a:gd name="T104" fmla="*/ 138 w 437"/>
                    <a:gd name="T105" fmla="*/ 131 h 560"/>
                    <a:gd name="T106" fmla="*/ 127 w 437"/>
                    <a:gd name="T107" fmla="*/ 115 h 560"/>
                    <a:gd name="T108" fmla="*/ 125 w 437"/>
                    <a:gd name="T109" fmla="*/ 93 h 560"/>
                    <a:gd name="T110" fmla="*/ 120 w 437"/>
                    <a:gd name="T111" fmla="*/ 93 h 560"/>
                    <a:gd name="T112" fmla="*/ 94 w 437"/>
                    <a:gd name="T113" fmla="*/ 72 h 560"/>
                    <a:gd name="T114" fmla="*/ 83 w 437"/>
                    <a:gd name="T115" fmla="*/ 56 h 560"/>
                    <a:gd name="T116" fmla="*/ 53 w 437"/>
                    <a:gd name="T117" fmla="*/ 26 h 560"/>
                    <a:gd name="T118" fmla="*/ 50 w 437"/>
                    <a:gd name="T119" fmla="*/ 23 h 560"/>
                    <a:gd name="T120" fmla="*/ 39 w 437"/>
                    <a:gd name="T121" fmla="*/ 12 h 560"/>
                    <a:gd name="T122" fmla="*/ 20 w 437"/>
                    <a:gd name="T123" fmla="*/ 2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37" h="560">
                      <a:moveTo>
                        <a:pt x="20" y="0"/>
                      </a:move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7" y="4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9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19"/>
                      </a:lnTo>
                      <a:lnTo>
                        <a:pt x="7" y="23"/>
                      </a:lnTo>
                      <a:lnTo>
                        <a:pt x="13" y="24"/>
                      </a:lnTo>
                      <a:lnTo>
                        <a:pt x="18" y="26"/>
                      </a:lnTo>
                      <a:lnTo>
                        <a:pt x="22" y="28"/>
                      </a:lnTo>
                      <a:lnTo>
                        <a:pt x="26" y="30"/>
                      </a:lnTo>
                      <a:lnTo>
                        <a:pt x="29" y="34"/>
                      </a:lnTo>
                      <a:lnTo>
                        <a:pt x="35" y="37"/>
                      </a:lnTo>
                      <a:lnTo>
                        <a:pt x="41" y="43"/>
                      </a:lnTo>
                      <a:lnTo>
                        <a:pt x="39" y="45"/>
                      </a:lnTo>
                      <a:lnTo>
                        <a:pt x="39" y="45"/>
                      </a:lnTo>
                      <a:lnTo>
                        <a:pt x="39" y="48"/>
                      </a:lnTo>
                      <a:lnTo>
                        <a:pt x="39" y="48"/>
                      </a:lnTo>
                      <a:lnTo>
                        <a:pt x="39" y="50"/>
                      </a:lnTo>
                      <a:lnTo>
                        <a:pt x="41" y="52"/>
                      </a:lnTo>
                      <a:lnTo>
                        <a:pt x="41" y="52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1" y="52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6" y="56"/>
                      </a:lnTo>
                      <a:lnTo>
                        <a:pt x="48" y="58"/>
                      </a:lnTo>
                      <a:lnTo>
                        <a:pt x="48" y="60"/>
                      </a:lnTo>
                      <a:lnTo>
                        <a:pt x="48" y="63"/>
                      </a:lnTo>
                      <a:lnTo>
                        <a:pt x="48" y="67"/>
                      </a:lnTo>
                      <a:lnTo>
                        <a:pt x="50" y="72"/>
                      </a:lnTo>
                      <a:lnTo>
                        <a:pt x="46" y="71"/>
                      </a:lnTo>
                      <a:lnTo>
                        <a:pt x="41" y="71"/>
                      </a:lnTo>
                      <a:lnTo>
                        <a:pt x="37" y="69"/>
                      </a:lnTo>
                      <a:lnTo>
                        <a:pt x="33" y="69"/>
                      </a:lnTo>
                      <a:lnTo>
                        <a:pt x="31" y="67"/>
                      </a:lnTo>
                      <a:lnTo>
                        <a:pt x="28" y="78"/>
                      </a:lnTo>
                      <a:lnTo>
                        <a:pt x="26" y="84"/>
                      </a:lnTo>
                      <a:lnTo>
                        <a:pt x="26" y="84"/>
                      </a:lnTo>
                      <a:lnTo>
                        <a:pt x="26" y="85"/>
                      </a:lnTo>
                      <a:lnTo>
                        <a:pt x="26" y="89"/>
                      </a:lnTo>
                      <a:lnTo>
                        <a:pt x="26" y="93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9" y="98"/>
                      </a:lnTo>
                      <a:lnTo>
                        <a:pt x="35" y="102"/>
                      </a:lnTo>
                      <a:lnTo>
                        <a:pt x="39" y="106"/>
                      </a:lnTo>
                      <a:lnTo>
                        <a:pt x="41" y="109"/>
                      </a:lnTo>
                      <a:lnTo>
                        <a:pt x="44" y="113"/>
                      </a:lnTo>
                      <a:lnTo>
                        <a:pt x="48" y="117"/>
                      </a:lnTo>
                      <a:lnTo>
                        <a:pt x="52" y="120"/>
                      </a:lnTo>
                      <a:lnTo>
                        <a:pt x="53" y="124"/>
                      </a:lnTo>
                      <a:lnTo>
                        <a:pt x="55" y="128"/>
                      </a:lnTo>
                      <a:lnTo>
                        <a:pt x="59" y="131"/>
                      </a:lnTo>
                      <a:lnTo>
                        <a:pt x="59" y="131"/>
                      </a:lnTo>
                      <a:lnTo>
                        <a:pt x="61" y="137"/>
                      </a:lnTo>
                      <a:lnTo>
                        <a:pt x="63" y="141"/>
                      </a:lnTo>
                      <a:lnTo>
                        <a:pt x="65" y="146"/>
                      </a:lnTo>
                      <a:lnTo>
                        <a:pt x="66" y="150"/>
                      </a:lnTo>
                      <a:lnTo>
                        <a:pt x="68" y="155"/>
                      </a:lnTo>
                      <a:lnTo>
                        <a:pt x="68" y="159"/>
                      </a:lnTo>
                      <a:lnTo>
                        <a:pt x="68" y="161"/>
                      </a:lnTo>
                      <a:lnTo>
                        <a:pt x="76" y="168"/>
                      </a:lnTo>
                      <a:lnTo>
                        <a:pt x="83" y="176"/>
                      </a:lnTo>
                      <a:lnTo>
                        <a:pt x="92" y="181"/>
                      </a:lnTo>
                      <a:lnTo>
                        <a:pt x="100" y="189"/>
                      </a:lnTo>
                      <a:lnTo>
                        <a:pt x="113" y="200"/>
                      </a:lnTo>
                      <a:lnTo>
                        <a:pt x="127" y="209"/>
                      </a:lnTo>
                      <a:lnTo>
                        <a:pt x="133" y="215"/>
                      </a:lnTo>
                      <a:lnTo>
                        <a:pt x="140" y="220"/>
                      </a:lnTo>
                      <a:lnTo>
                        <a:pt x="146" y="227"/>
                      </a:lnTo>
                      <a:lnTo>
                        <a:pt x="151" y="233"/>
                      </a:lnTo>
                      <a:lnTo>
                        <a:pt x="153" y="237"/>
                      </a:lnTo>
                      <a:lnTo>
                        <a:pt x="155" y="240"/>
                      </a:lnTo>
                      <a:lnTo>
                        <a:pt x="157" y="244"/>
                      </a:lnTo>
                      <a:lnTo>
                        <a:pt x="159" y="250"/>
                      </a:lnTo>
                      <a:lnTo>
                        <a:pt x="161" y="253"/>
                      </a:lnTo>
                      <a:lnTo>
                        <a:pt x="162" y="259"/>
                      </a:lnTo>
                      <a:lnTo>
                        <a:pt x="164" y="264"/>
                      </a:lnTo>
                      <a:lnTo>
                        <a:pt x="166" y="270"/>
                      </a:lnTo>
                      <a:lnTo>
                        <a:pt x="166" y="270"/>
                      </a:lnTo>
                      <a:lnTo>
                        <a:pt x="170" y="272"/>
                      </a:lnTo>
                      <a:lnTo>
                        <a:pt x="173" y="274"/>
                      </a:lnTo>
                      <a:lnTo>
                        <a:pt x="175" y="275"/>
                      </a:lnTo>
                      <a:lnTo>
                        <a:pt x="179" y="277"/>
                      </a:lnTo>
                      <a:lnTo>
                        <a:pt x="183" y="279"/>
                      </a:lnTo>
                      <a:lnTo>
                        <a:pt x="186" y="283"/>
                      </a:lnTo>
                      <a:lnTo>
                        <a:pt x="188" y="287"/>
                      </a:lnTo>
                      <a:lnTo>
                        <a:pt x="192" y="288"/>
                      </a:lnTo>
                      <a:lnTo>
                        <a:pt x="197" y="296"/>
                      </a:lnTo>
                      <a:lnTo>
                        <a:pt x="203" y="305"/>
                      </a:lnTo>
                      <a:lnTo>
                        <a:pt x="209" y="312"/>
                      </a:lnTo>
                      <a:lnTo>
                        <a:pt x="214" y="322"/>
                      </a:lnTo>
                      <a:lnTo>
                        <a:pt x="220" y="331"/>
                      </a:lnTo>
                      <a:lnTo>
                        <a:pt x="223" y="340"/>
                      </a:lnTo>
                      <a:lnTo>
                        <a:pt x="229" y="349"/>
                      </a:lnTo>
                      <a:lnTo>
                        <a:pt x="232" y="358"/>
                      </a:lnTo>
                      <a:lnTo>
                        <a:pt x="240" y="375"/>
                      </a:lnTo>
                      <a:lnTo>
                        <a:pt x="247" y="390"/>
                      </a:lnTo>
                      <a:lnTo>
                        <a:pt x="255" y="394"/>
                      </a:lnTo>
                      <a:lnTo>
                        <a:pt x="260" y="397"/>
                      </a:lnTo>
                      <a:lnTo>
                        <a:pt x="266" y="401"/>
                      </a:lnTo>
                      <a:lnTo>
                        <a:pt x="271" y="405"/>
                      </a:lnTo>
                      <a:lnTo>
                        <a:pt x="277" y="408"/>
                      </a:lnTo>
                      <a:lnTo>
                        <a:pt x="280" y="412"/>
                      </a:lnTo>
                      <a:lnTo>
                        <a:pt x="284" y="416"/>
                      </a:lnTo>
                      <a:lnTo>
                        <a:pt x="286" y="421"/>
                      </a:lnTo>
                      <a:lnTo>
                        <a:pt x="290" y="425"/>
                      </a:lnTo>
                      <a:lnTo>
                        <a:pt x="292" y="430"/>
                      </a:lnTo>
                      <a:lnTo>
                        <a:pt x="293" y="434"/>
                      </a:lnTo>
                      <a:lnTo>
                        <a:pt x="295" y="440"/>
                      </a:lnTo>
                      <a:lnTo>
                        <a:pt x="299" y="453"/>
                      </a:lnTo>
                      <a:lnTo>
                        <a:pt x="303" y="471"/>
                      </a:lnTo>
                      <a:lnTo>
                        <a:pt x="308" y="473"/>
                      </a:lnTo>
                      <a:lnTo>
                        <a:pt x="314" y="475"/>
                      </a:lnTo>
                      <a:lnTo>
                        <a:pt x="317" y="478"/>
                      </a:lnTo>
                      <a:lnTo>
                        <a:pt x="321" y="480"/>
                      </a:lnTo>
                      <a:lnTo>
                        <a:pt x="325" y="484"/>
                      </a:lnTo>
                      <a:lnTo>
                        <a:pt x="327" y="488"/>
                      </a:lnTo>
                      <a:lnTo>
                        <a:pt x="328" y="491"/>
                      </a:lnTo>
                      <a:lnTo>
                        <a:pt x="332" y="495"/>
                      </a:lnTo>
                      <a:lnTo>
                        <a:pt x="336" y="502"/>
                      </a:lnTo>
                      <a:lnTo>
                        <a:pt x="340" y="512"/>
                      </a:lnTo>
                      <a:lnTo>
                        <a:pt x="340" y="512"/>
                      </a:lnTo>
                      <a:lnTo>
                        <a:pt x="343" y="521"/>
                      </a:lnTo>
                      <a:lnTo>
                        <a:pt x="347" y="532"/>
                      </a:lnTo>
                      <a:lnTo>
                        <a:pt x="354" y="539"/>
                      </a:lnTo>
                      <a:lnTo>
                        <a:pt x="364" y="545"/>
                      </a:lnTo>
                      <a:lnTo>
                        <a:pt x="373" y="552"/>
                      </a:lnTo>
                      <a:lnTo>
                        <a:pt x="382" y="560"/>
                      </a:lnTo>
                      <a:lnTo>
                        <a:pt x="386" y="560"/>
                      </a:lnTo>
                      <a:lnTo>
                        <a:pt x="391" y="558"/>
                      </a:lnTo>
                      <a:lnTo>
                        <a:pt x="391" y="558"/>
                      </a:lnTo>
                      <a:lnTo>
                        <a:pt x="389" y="549"/>
                      </a:lnTo>
                      <a:lnTo>
                        <a:pt x="386" y="541"/>
                      </a:lnTo>
                      <a:lnTo>
                        <a:pt x="384" y="532"/>
                      </a:lnTo>
                      <a:lnTo>
                        <a:pt x="382" y="525"/>
                      </a:lnTo>
                      <a:lnTo>
                        <a:pt x="378" y="515"/>
                      </a:lnTo>
                      <a:lnTo>
                        <a:pt x="376" y="508"/>
                      </a:lnTo>
                      <a:lnTo>
                        <a:pt x="373" y="499"/>
                      </a:lnTo>
                      <a:lnTo>
                        <a:pt x="371" y="491"/>
                      </a:lnTo>
                      <a:lnTo>
                        <a:pt x="373" y="493"/>
                      </a:lnTo>
                      <a:lnTo>
                        <a:pt x="373" y="493"/>
                      </a:lnTo>
                      <a:lnTo>
                        <a:pt x="376" y="493"/>
                      </a:lnTo>
                      <a:lnTo>
                        <a:pt x="376" y="493"/>
                      </a:lnTo>
                      <a:lnTo>
                        <a:pt x="380" y="493"/>
                      </a:lnTo>
                      <a:lnTo>
                        <a:pt x="384" y="493"/>
                      </a:lnTo>
                      <a:lnTo>
                        <a:pt x="384" y="493"/>
                      </a:lnTo>
                      <a:lnTo>
                        <a:pt x="389" y="491"/>
                      </a:lnTo>
                      <a:lnTo>
                        <a:pt x="389" y="491"/>
                      </a:lnTo>
                      <a:lnTo>
                        <a:pt x="395" y="490"/>
                      </a:lnTo>
                      <a:lnTo>
                        <a:pt x="400" y="488"/>
                      </a:lnTo>
                      <a:lnTo>
                        <a:pt x="406" y="484"/>
                      </a:lnTo>
                      <a:lnTo>
                        <a:pt x="413" y="482"/>
                      </a:lnTo>
                      <a:lnTo>
                        <a:pt x="419" y="480"/>
                      </a:lnTo>
                      <a:lnTo>
                        <a:pt x="423" y="490"/>
                      </a:lnTo>
                      <a:lnTo>
                        <a:pt x="424" y="493"/>
                      </a:lnTo>
                      <a:lnTo>
                        <a:pt x="424" y="493"/>
                      </a:lnTo>
                      <a:lnTo>
                        <a:pt x="428" y="499"/>
                      </a:lnTo>
                      <a:lnTo>
                        <a:pt x="435" y="506"/>
                      </a:lnTo>
                      <a:lnTo>
                        <a:pt x="437" y="501"/>
                      </a:lnTo>
                      <a:lnTo>
                        <a:pt x="437" y="501"/>
                      </a:lnTo>
                      <a:lnTo>
                        <a:pt x="437" y="499"/>
                      </a:lnTo>
                      <a:lnTo>
                        <a:pt x="437" y="499"/>
                      </a:lnTo>
                      <a:lnTo>
                        <a:pt x="437" y="495"/>
                      </a:lnTo>
                      <a:lnTo>
                        <a:pt x="435" y="491"/>
                      </a:lnTo>
                      <a:lnTo>
                        <a:pt x="435" y="491"/>
                      </a:lnTo>
                      <a:lnTo>
                        <a:pt x="435" y="488"/>
                      </a:lnTo>
                      <a:lnTo>
                        <a:pt x="434" y="484"/>
                      </a:lnTo>
                      <a:lnTo>
                        <a:pt x="434" y="484"/>
                      </a:lnTo>
                      <a:lnTo>
                        <a:pt x="432" y="480"/>
                      </a:lnTo>
                      <a:lnTo>
                        <a:pt x="432" y="480"/>
                      </a:lnTo>
                      <a:lnTo>
                        <a:pt x="428" y="477"/>
                      </a:lnTo>
                      <a:lnTo>
                        <a:pt x="424" y="471"/>
                      </a:lnTo>
                      <a:lnTo>
                        <a:pt x="419" y="466"/>
                      </a:lnTo>
                      <a:lnTo>
                        <a:pt x="413" y="460"/>
                      </a:lnTo>
                      <a:lnTo>
                        <a:pt x="410" y="454"/>
                      </a:lnTo>
                      <a:lnTo>
                        <a:pt x="408" y="454"/>
                      </a:lnTo>
                      <a:lnTo>
                        <a:pt x="404" y="460"/>
                      </a:lnTo>
                      <a:lnTo>
                        <a:pt x="402" y="464"/>
                      </a:lnTo>
                      <a:lnTo>
                        <a:pt x="397" y="462"/>
                      </a:lnTo>
                      <a:lnTo>
                        <a:pt x="389" y="460"/>
                      </a:lnTo>
                      <a:lnTo>
                        <a:pt x="382" y="460"/>
                      </a:lnTo>
                      <a:lnTo>
                        <a:pt x="376" y="458"/>
                      </a:lnTo>
                      <a:lnTo>
                        <a:pt x="376" y="453"/>
                      </a:lnTo>
                      <a:lnTo>
                        <a:pt x="376" y="447"/>
                      </a:lnTo>
                      <a:lnTo>
                        <a:pt x="376" y="447"/>
                      </a:lnTo>
                      <a:lnTo>
                        <a:pt x="362" y="442"/>
                      </a:lnTo>
                      <a:lnTo>
                        <a:pt x="349" y="438"/>
                      </a:lnTo>
                      <a:lnTo>
                        <a:pt x="334" y="434"/>
                      </a:lnTo>
                      <a:lnTo>
                        <a:pt x="321" y="430"/>
                      </a:lnTo>
                      <a:lnTo>
                        <a:pt x="317" y="419"/>
                      </a:lnTo>
                      <a:lnTo>
                        <a:pt x="314" y="408"/>
                      </a:lnTo>
                      <a:lnTo>
                        <a:pt x="308" y="397"/>
                      </a:lnTo>
                      <a:lnTo>
                        <a:pt x="304" y="386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1" y="375"/>
                      </a:lnTo>
                      <a:lnTo>
                        <a:pt x="297" y="364"/>
                      </a:lnTo>
                      <a:lnTo>
                        <a:pt x="293" y="355"/>
                      </a:lnTo>
                      <a:lnTo>
                        <a:pt x="288" y="342"/>
                      </a:lnTo>
                      <a:lnTo>
                        <a:pt x="286" y="342"/>
                      </a:lnTo>
                      <a:lnTo>
                        <a:pt x="282" y="340"/>
                      </a:lnTo>
                      <a:lnTo>
                        <a:pt x="279" y="340"/>
                      </a:lnTo>
                      <a:lnTo>
                        <a:pt x="279" y="340"/>
                      </a:lnTo>
                      <a:lnTo>
                        <a:pt x="277" y="338"/>
                      </a:lnTo>
                      <a:lnTo>
                        <a:pt x="277" y="331"/>
                      </a:lnTo>
                      <a:lnTo>
                        <a:pt x="277" y="323"/>
                      </a:lnTo>
                      <a:lnTo>
                        <a:pt x="277" y="314"/>
                      </a:lnTo>
                      <a:lnTo>
                        <a:pt x="277" y="307"/>
                      </a:lnTo>
                      <a:lnTo>
                        <a:pt x="280" y="307"/>
                      </a:lnTo>
                      <a:lnTo>
                        <a:pt x="288" y="307"/>
                      </a:lnTo>
                      <a:lnTo>
                        <a:pt x="288" y="307"/>
                      </a:lnTo>
                      <a:lnTo>
                        <a:pt x="288" y="301"/>
                      </a:lnTo>
                      <a:lnTo>
                        <a:pt x="290" y="298"/>
                      </a:lnTo>
                      <a:lnTo>
                        <a:pt x="290" y="292"/>
                      </a:lnTo>
                      <a:lnTo>
                        <a:pt x="292" y="288"/>
                      </a:lnTo>
                      <a:lnTo>
                        <a:pt x="301" y="287"/>
                      </a:lnTo>
                      <a:lnTo>
                        <a:pt x="310" y="287"/>
                      </a:lnTo>
                      <a:lnTo>
                        <a:pt x="321" y="285"/>
                      </a:lnTo>
                      <a:lnTo>
                        <a:pt x="332" y="283"/>
                      </a:lnTo>
                      <a:lnTo>
                        <a:pt x="323" y="274"/>
                      </a:lnTo>
                      <a:lnTo>
                        <a:pt x="314" y="268"/>
                      </a:lnTo>
                      <a:lnTo>
                        <a:pt x="303" y="261"/>
                      </a:lnTo>
                      <a:lnTo>
                        <a:pt x="293" y="253"/>
                      </a:lnTo>
                      <a:lnTo>
                        <a:pt x="273" y="239"/>
                      </a:lnTo>
                      <a:lnTo>
                        <a:pt x="251" y="226"/>
                      </a:lnTo>
                      <a:lnTo>
                        <a:pt x="242" y="218"/>
                      </a:lnTo>
                      <a:lnTo>
                        <a:pt x="231" y="211"/>
                      </a:lnTo>
                      <a:lnTo>
                        <a:pt x="221" y="203"/>
                      </a:lnTo>
                      <a:lnTo>
                        <a:pt x="212" y="194"/>
                      </a:lnTo>
                      <a:lnTo>
                        <a:pt x="205" y="187"/>
                      </a:lnTo>
                      <a:lnTo>
                        <a:pt x="196" y="179"/>
                      </a:lnTo>
                      <a:lnTo>
                        <a:pt x="192" y="174"/>
                      </a:lnTo>
                      <a:lnTo>
                        <a:pt x="188" y="170"/>
                      </a:lnTo>
                      <a:lnTo>
                        <a:pt x="186" y="167"/>
                      </a:lnTo>
                      <a:lnTo>
                        <a:pt x="186" y="167"/>
                      </a:lnTo>
                      <a:lnTo>
                        <a:pt x="183" y="161"/>
                      </a:lnTo>
                      <a:lnTo>
                        <a:pt x="183" y="161"/>
                      </a:lnTo>
                      <a:lnTo>
                        <a:pt x="179" y="161"/>
                      </a:lnTo>
                      <a:lnTo>
                        <a:pt x="175" y="163"/>
                      </a:lnTo>
                      <a:lnTo>
                        <a:pt x="172" y="163"/>
                      </a:lnTo>
                      <a:lnTo>
                        <a:pt x="170" y="163"/>
                      </a:lnTo>
                      <a:lnTo>
                        <a:pt x="170" y="159"/>
                      </a:lnTo>
                      <a:lnTo>
                        <a:pt x="168" y="155"/>
                      </a:lnTo>
                      <a:lnTo>
                        <a:pt x="168" y="152"/>
                      </a:lnTo>
                      <a:lnTo>
                        <a:pt x="166" y="148"/>
                      </a:lnTo>
                      <a:lnTo>
                        <a:pt x="166" y="148"/>
                      </a:lnTo>
                      <a:lnTo>
                        <a:pt x="157" y="144"/>
                      </a:lnTo>
                      <a:lnTo>
                        <a:pt x="149" y="139"/>
                      </a:lnTo>
                      <a:lnTo>
                        <a:pt x="146" y="137"/>
                      </a:lnTo>
                      <a:lnTo>
                        <a:pt x="142" y="133"/>
                      </a:lnTo>
                      <a:lnTo>
                        <a:pt x="138" y="131"/>
                      </a:lnTo>
                      <a:lnTo>
                        <a:pt x="137" y="128"/>
                      </a:lnTo>
                      <a:lnTo>
                        <a:pt x="133" y="126"/>
                      </a:lnTo>
                      <a:lnTo>
                        <a:pt x="131" y="122"/>
                      </a:lnTo>
                      <a:lnTo>
                        <a:pt x="129" y="119"/>
                      </a:lnTo>
                      <a:lnTo>
                        <a:pt x="127" y="115"/>
                      </a:lnTo>
                      <a:lnTo>
                        <a:pt x="127" y="109"/>
                      </a:lnTo>
                      <a:lnTo>
                        <a:pt x="125" y="106"/>
                      </a:lnTo>
                      <a:lnTo>
                        <a:pt x="125" y="100"/>
                      </a:lnTo>
                      <a:lnTo>
                        <a:pt x="125" y="95"/>
                      </a:lnTo>
                      <a:lnTo>
                        <a:pt x="125" y="93"/>
                      </a:lnTo>
                      <a:lnTo>
                        <a:pt x="122" y="95"/>
                      </a:lnTo>
                      <a:lnTo>
                        <a:pt x="122" y="96"/>
                      </a:lnTo>
                      <a:lnTo>
                        <a:pt x="120" y="95"/>
                      </a:lnTo>
                      <a:lnTo>
                        <a:pt x="120" y="95"/>
                      </a:lnTo>
                      <a:lnTo>
                        <a:pt x="120" y="93"/>
                      </a:lnTo>
                      <a:lnTo>
                        <a:pt x="122" y="93"/>
                      </a:lnTo>
                      <a:lnTo>
                        <a:pt x="122" y="91"/>
                      </a:lnTo>
                      <a:lnTo>
                        <a:pt x="113" y="85"/>
                      </a:lnTo>
                      <a:lnTo>
                        <a:pt x="103" y="78"/>
                      </a:lnTo>
                      <a:lnTo>
                        <a:pt x="94" y="72"/>
                      </a:lnTo>
                      <a:lnTo>
                        <a:pt x="87" y="67"/>
                      </a:lnTo>
                      <a:lnTo>
                        <a:pt x="89" y="63"/>
                      </a:lnTo>
                      <a:lnTo>
                        <a:pt x="89" y="60"/>
                      </a:lnTo>
                      <a:lnTo>
                        <a:pt x="89" y="58"/>
                      </a:lnTo>
                      <a:lnTo>
                        <a:pt x="83" y="56"/>
                      </a:lnTo>
                      <a:lnTo>
                        <a:pt x="77" y="52"/>
                      </a:lnTo>
                      <a:lnTo>
                        <a:pt x="74" y="48"/>
                      </a:lnTo>
                      <a:lnTo>
                        <a:pt x="70" y="45"/>
                      </a:lnTo>
                      <a:lnTo>
                        <a:pt x="61" y="3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0" y="23"/>
                      </a:lnTo>
                      <a:lnTo>
                        <a:pt x="46" y="19"/>
                      </a:lnTo>
                      <a:lnTo>
                        <a:pt x="46" y="17"/>
                      </a:lnTo>
                      <a:lnTo>
                        <a:pt x="42" y="15"/>
                      </a:lnTo>
                      <a:lnTo>
                        <a:pt x="39" y="12"/>
                      </a:lnTo>
                      <a:lnTo>
                        <a:pt x="39" y="12"/>
                      </a:lnTo>
                      <a:lnTo>
                        <a:pt x="33" y="8"/>
                      </a:lnTo>
                      <a:lnTo>
                        <a:pt x="29" y="4"/>
                      </a:lnTo>
                      <a:lnTo>
                        <a:pt x="29" y="4"/>
                      </a:lnTo>
                      <a:lnTo>
                        <a:pt x="24" y="2"/>
                      </a:lnTo>
                      <a:lnTo>
                        <a:pt x="20" y="2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1" name="Freeform 3015"/>
                <p:cNvSpPr>
                  <a:spLocks/>
                </p:cNvSpPr>
                <p:nvPr/>
              </p:nvSpPr>
              <p:spPr bwMode="auto">
                <a:xfrm>
                  <a:off x="4634" y="1048"/>
                  <a:ext cx="561" cy="726"/>
                </a:xfrm>
                <a:custGeom>
                  <a:avLst/>
                  <a:gdLst>
                    <a:gd name="T0" fmla="*/ 345 w 561"/>
                    <a:gd name="T1" fmla="*/ 22 h 726"/>
                    <a:gd name="T2" fmla="*/ 279 w 561"/>
                    <a:gd name="T3" fmla="*/ 50 h 726"/>
                    <a:gd name="T4" fmla="*/ 198 w 561"/>
                    <a:gd name="T5" fmla="*/ 35 h 726"/>
                    <a:gd name="T6" fmla="*/ 179 w 561"/>
                    <a:gd name="T7" fmla="*/ 61 h 726"/>
                    <a:gd name="T8" fmla="*/ 159 w 561"/>
                    <a:gd name="T9" fmla="*/ 96 h 726"/>
                    <a:gd name="T10" fmla="*/ 126 w 561"/>
                    <a:gd name="T11" fmla="*/ 117 h 726"/>
                    <a:gd name="T12" fmla="*/ 102 w 561"/>
                    <a:gd name="T13" fmla="*/ 133 h 726"/>
                    <a:gd name="T14" fmla="*/ 91 w 561"/>
                    <a:gd name="T15" fmla="*/ 161 h 726"/>
                    <a:gd name="T16" fmla="*/ 94 w 561"/>
                    <a:gd name="T17" fmla="*/ 190 h 726"/>
                    <a:gd name="T18" fmla="*/ 105 w 561"/>
                    <a:gd name="T19" fmla="*/ 236 h 726"/>
                    <a:gd name="T20" fmla="*/ 139 w 561"/>
                    <a:gd name="T21" fmla="*/ 292 h 726"/>
                    <a:gd name="T22" fmla="*/ 117 w 561"/>
                    <a:gd name="T23" fmla="*/ 327 h 726"/>
                    <a:gd name="T24" fmla="*/ 105 w 561"/>
                    <a:gd name="T25" fmla="*/ 353 h 726"/>
                    <a:gd name="T26" fmla="*/ 83 w 561"/>
                    <a:gd name="T27" fmla="*/ 347 h 726"/>
                    <a:gd name="T28" fmla="*/ 52 w 561"/>
                    <a:gd name="T29" fmla="*/ 377 h 726"/>
                    <a:gd name="T30" fmla="*/ 37 w 561"/>
                    <a:gd name="T31" fmla="*/ 397 h 726"/>
                    <a:gd name="T32" fmla="*/ 46 w 561"/>
                    <a:gd name="T33" fmla="*/ 428 h 726"/>
                    <a:gd name="T34" fmla="*/ 30 w 561"/>
                    <a:gd name="T35" fmla="*/ 434 h 726"/>
                    <a:gd name="T36" fmla="*/ 9 w 561"/>
                    <a:gd name="T37" fmla="*/ 499 h 726"/>
                    <a:gd name="T38" fmla="*/ 54 w 561"/>
                    <a:gd name="T39" fmla="*/ 563 h 726"/>
                    <a:gd name="T40" fmla="*/ 65 w 561"/>
                    <a:gd name="T41" fmla="*/ 604 h 726"/>
                    <a:gd name="T42" fmla="*/ 85 w 561"/>
                    <a:gd name="T43" fmla="*/ 607 h 726"/>
                    <a:gd name="T44" fmla="*/ 133 w 561"/>
                    <a:gd name="T45" fmla="*/ 604 h 726"/>
                    <a:gd name="T46" fmla="*/ 170 w 561"/>
                    <a:gd name="T47" fmla="*/ 631 h 726"/>
                    <a:gd name="T48" fmla="*/ 168 w 561"/>
                    <a:gd name="T49" fmla="*/ 672 h 726"/>
                    <a:gd name="T50" fmla="*/ 218 w 561"/>
                    <a:gd name="T51" fmla="*/ 694 h 726"/>
                    <a:gd name="T52" fmla="*/ 268 w 561"/>
                    <a:gd name="T53" fmla="*/ 726 h 726"/>
                    <a:gd name="T54" fmla="*/ 314 w 561"/>
                    <a:gd name="T55" fmla="*/ 690 h 726"/>
                    <a:gd name="T56" fmla="*/ 316 w 561"/>
                    <a:gd name="T57" fmla="*/ 678 h 726"/>
                    <a:gd name="T58" fmla="*/ 329 w 561"/>
                    <a:gd name="T59" fmla="*/ 665 h 726"/>
                    <a:gd name="T60" fmla="*/ 325 w 561"/>
                    <a:gd name="T61" fmla="*/ 637 h 726"/>
                    <a:gd name="T62" fmla="*/ 375 w 561"/>
                    <a:gd name="T63" fmla="*/ 618 h 726"/>
                    <a:gd name="T64" fmla="*/ 414 w 561"/>
                    <a:gd name="T65" fmla="*/ 602 h 726"/>
                    <a:gd name="T66" fmla="*/ 430 w 561"/>
                    <a:gd name="T67" fmla="*/ 604 h 726"/>
                    <a:gd name="T68" fmla="*/ 419 w 561"/>
                    <a:gd name="T69" fmla="*/ 641 h 726"/>
                    <a:gd name="T70" fmla="*/ 441 w 561"/>
                    <a:gd name="T71" fmla="*/ 622 h 726"/>
                    <a:gd name="T72" fmla="*/ 469 w 561"/>
                    <a:gd name="T73" fmla="*/ 594 h 726"/>
                    <a:gd name="T74" fmla="*/ 463 w 561"/>
                    <a:gd name="T75" fmla="*/ 559 h 726"/>
                    <a:gd name="T76" fmla="*/ 487 w 561"/>
                    <a:gd name="T77" fmla="*/ 548 h 726"/>
                    <a:gd name="T78" fmla="*/ 497 w 561"/>
                    <a:gd name="T79" fmla="*/ 530 h 726"/>
                    <a:gd name="T80" fmla="*/ 513 w 561"/>
                    <a:gd name="T81" fmla="*/ 510 h 726"/>
                    <a:gd name="T82" fmla="*/ 489 w 561"/>
                    <a:gd name="T83" fmla="*/ 511 h 726"/>
                    <a:gd name="T84" fmla="*/ 469 w 561"/>
                    <a:gd name="T85" fmla="*/ 526 h 726"/>
                    <a:gd name="T86" fmla="*/ 452 w 561"/>
                    <a:gd name="T87" fmla="*/ 508 h 726"/>
                    <a:gd name="T88" fmla="*/ 439 w 561"/>
                    <a:gd name="T89" fmla="*/ 391 h 726"/>
                    <a:gd name="T90" fmla="*/ 419 w 561"/>
                    <a:gd name="T91" fmla="*/ 305 h 726"/>
                    <a:gd name="T92" fmla="*/ 460 w 561"/>
                    <a:gd name="T93" fmla="*/ 249 h 726"/>
                    <a:gd name="T94" fmla="*/ 482 w 561"/>
                    <a:gd name="T95" fmla="*/ 225 h 726"/>
                    <a:gd name="T96" fmla="*/ 508 w 561"/>
                    <a:gd name="T97" fmla="*/ 238 h 726"/>
                    <a:gd name="T98" fmla="*/ 515 w 561"/>
                    <a:gd name="T99" fmla="*/ 262 h 726"/>
                    <a:gd name="T100" fmla="*/ 530 w 561"/>
                    <a:gd name="T101" fmla="*/ 277 h 726"/>
                    <a:gd name="T102" fmla="*/ 534 w 561"/>
                    <a:gd name="T103" fmla="*/ 262 h 726"/>
                    <a:gd name="T104" fmla="*/ 556 w 561"/>
                    <a:gd name="T105" fmla="*/ 279 h 726"/>
                    <a:gd name="T106" fmla="*/ 556 w 561"/>
                    <a:gd name="T107" fmla="*/ 242 h 726"/>
                    <a:gd name="T108" fmla="*/ 543 w 561"/>
                    <a:gd name="T109" fmla="*/ 170 h 726"/>
                    <a:gd name="T110" fmla="*/ 513 w 561"/>
                    <a:gd name="T111" fmla="*/ 150 h 726"/>
                    <a:gd name="T112" fmla="*/ 510 w 561"/>
                    <a:gd name="T113" fmla="*/ 137 h 726"/>
                    <a:gd name="T114" fmla="*/ 480 w 561"/>
                    <a:gd name="T115" fmla="*/ 111 h 726"/>
                    <a:gd name="T116" fmla="*/ 456 w 561"/>
                    <a:gd name="T117" fmla="*/ 94 h 726"/>
                    <a:gd name="T118" fmla="*/ 439 w 561"/>
                    <a:gd name="T119" fmla="*/ 70 h 726"/>
                    <a:gd name="T120" fmla="*/ 408 w 561"/>
                    <a:gd name="T121" fmla="*/ 52 h 726"/>
                    <a:gd name="T122" fmla="*/ 391 w 561"/>
                    <a:gd name="T123" fmla="*/ 22 h 726"/>
                    <a:gd name="T124" fmla="*/ 367 w 561"/>
                    <a:gd name="T125" fmla="*/ 0 h 7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61" h="726">
                      <a:moveTo>
                        <a:pt x="367" y="0"/>
                      </a:moveTo>
                      <a:lnTo>
                        <a:pt x="366" y="0"/>
                      </a:lnTo>
                      <a:lnTo>
                        <a:pt x="364" y="2"/>
                      </a:lnTo>
                      <a:lnTo>
                        <a:pt x="362" y="6"/>
                      </a:lnTo>
                      <a:lnTo>
                        <a:pt x="360" y="9"/>
                      </a:lnTo>
                      <a:lnTo>
                        <a:pt x="356" y="13"/>
                      </a:lnTo>
                      <a:lnTo>
                        <a:pt x="353" y="17"/>
                      </a:lnTo>
                      <a:lnTo>
                        <a:pt x="353" y="17"/>
                      </a:lnTo>
                      <a:lnTo>
                        <a:pt x="349" y="21"/>
                      </a:lnTo>
                      <a:lnTo>
                        <a:pt x="345" y="22"/>
                      </a:lnTo>
                      <a:lnTo>
                        <a:pt x="342" y="26"/>
                      </a:lnTo>
                      <a:lnTo>
                        <a:pt x="342" y="26"/>
                      </a:lnTo>
                      <a:lnTo>
                        <a:pt x="336" y="30"/>
                      </a:lnTo>
                      <a:lnTo>
                        <a:pt x="332" y="32"/>
                      </a:lnTo>
                      <a:lnTo>
                        <a:pt x="327" y="33"/>
                      </a:lnTo>
                      <a:lnTo>
                        <a:pt x="321" y="37"/>
                      </a:lnTo>
                      <a:lnTo>
                        <a:pt x="316" y="39"/>
                      </a:lnTo>
                      <a:lnTo>
                        <a:pt x="305" y="43"/>
                      </a:lnTo>
                      <a:lnTo>
                        <a:pt x="292" y="46"/>
                      </a:lnTo>
                      <a:lnTo>
                        <a:pt x="279" y="50"/>
                      </a:lnTo>
                      <a:lnTo>
                        <a:pt x="266" y="52"/>
                      </a:lnTo>
                      <a:lnTo>
                        <a:pt x="255" y="54"/>
                      </a:lnTo>
                      <a:lnTo>
                        <a:pt x="242" y="57"/>
                      </a:lnTo>
                      <a:lnTo>
                        <a:pt x="222" y="59"/>
                      </a:lnTo>
                      <a:lnTo>
                        <a:pt x="203" y="63"/>
                      </a:lnTo>
                      <a:lnTo>
                        <a:pt x="203" y="63"/>
                      </a:lnTo>
                      <a:lnTo>
                        <a:pt x="201" y="56"/>
                      </a:lnTo>
                      <a:lnTo>
                        <a:pt x="200" y="48"/>
                      </a:lnTo>
                      <a:lnTo>
                        <a:pt x="200" y="41"/>
                      </a:lnTo>
                      <a:lnTo>
                        <a:pt x="198" y="35"/>
                      </a:lnTo>
                      <a:lnTo>
                        <a:pt x="192" y="39"/>
                      </a:lnTo>
                      <a:lnTo>
                        <a:pt x="185" y="41"/>
                      </a:lnTo>
                      <a:lnTo>
                        <a:pt x="177" y="45"/>
                      </a:lnTo>
                      <a:lnTo>
                        <a:pt x="172" y="46"/>
                      </a:lnTo>
                      <a:lnTo>
                        <a:pt x="174" y="48"/>
                      </a:lnTo>
                      <a:lnTo>
                        <a:pt x="176" y="52"/>
                      </a:lnTo>
                      <a:lnTo>
                        <a:pt x="176" y="52"/>
                      </a:lnTo>
                      <a:lnTo>
                        <a:pt x="177" y="56"/>
                      </a:lnTo>
                      <a:lnTo>
                        <a:pt x="181" y="59"/>
                      </a:lnTo>
                      <a:lnTo>
                        <a:pt x="179" y="61"/>
                      </a:lnTo>
                      <a:lnTo>
                        <a:pt x="176" y="63"/>
                      </a:lnTo>
                      <a:lnTo>
                        <a:pt x="172" y="65"/>
                      </a:lnTo>
                      <a:lnTo>
                        <a:pt x="170" y="67"/>
                      </a:lnTo>
                      <a:lnTo>
                        <a:pt x="166" y="69"/>
                      </a:lnTo>
                      <a:lnTo>
                        <a:pt x="166" y="74"/>
                      </a:lnTo>
                      <a:lnTo>
                        <a:pt x="166" y="81"/>
                      </a:lnTo>
                      <a:lnTo>
                        <a:pt x="168" y="89"/>
                      </a:lnTo>
                      <a:lnTo>
                        <a:pt x="168" y="98"/>
                      </a:lnTo>
                      <a:lnTo>
                        <a:pt x="166" y="98"/>
                      </a:lnTo>
                      <a:lnTo>
                        <a:pt x="159" y="96"/>
                      </a:lnTo>
                      <a:lnTo>
                        <a:pt x="150" y="96"/>
                      </a:lnTo>
                      <a:lnTo>
                        <a:pt x="140" y="96"/>
                      </a:lnTo>
                      <a:lnTo>
                        <a:pt x="133" y="96"/>
                      </a:lnTo>
                      <a:lnTo>
                        <a:pt x="133" y="100"/>
                      </a:lnTo>
                      <a:lnTo>
                        <a:pt x="133" y="104"/>
                      </a:lnTo>
                      <a:lnTo>
                        <a:pt x="133" y="109"/>
                      </a:lnTo>
                      <a:lnTo>
                        <a:pt x="135" y="113"/>
                      </a:lnTo>
                      <a:lnTo>
                        <a:pt x="133" y="113"/>
                      </a:lnTo>
                      <a:lnTo>
                        <a:pt x="129" y="115"/>
                      </a:lnTo>
                      <a:lnTo>
                        <a:pt x="126" y="117"/>
                      </a:lnTo>
                      <a:lnTo>
                        <a:pt x="122" y="117"/>
                      </a:lnTo>
                      <a:lnTo>
                        <a:pt x="117" y="118"/>
                      </a:lnTo>
                      <a:lnTo>
                        <a:pt x="117" y="124"/>
                      </a:lnTo>
                      <a:lnTo>
                        <a:pt x="117" y="129"/>
                      </a:lnTo>
                      <a:lnTo>
                        <a:pt x="117" y="129"/>
                      </a:lnTo>
                      <a:lnTo>
                        <a:pt x="113" y="129"/>
                      </a:lnTo>
                      <a:lnTo>
                        <a:pt x="107" y="129"/>
                      </a:lnTo>
                      <a:lnTo>
                        <a:pt x="104" y="129"/>
                      </a:lnTo>
                      <a:lnTo>
                        <a:pt x="102" y="129"/>
                      </a:lnTo>
                      <a:lnTo>
                        <a:pt x="102" y="133"/>
                      </a:lnTo>
                      <a:lnTo>
                        <a:pt x="102" y="139"/>
                      </a:lnTo>
                      <a:lnTo>
                        <a:pt x="100" y="139"/>
                      </a:lnTo>
                      <a:lnTo>
                        <a:pt x="96" y="139"/>
                      </a:lnTo>
                      <a:lnTo>
                        <a:pt x="91" y="139"/>
                      </a:lnTo>
                      <a:lnTo>
                        <a:pt x="87" y="139"/>
                      </a:lnTo>
                      <a:lnTo>
                        <a:pt x="85" y="139"/>
                      </a:lnTo>
                      <a:lnTo>
                        <a:pt x="85" y="144"/>
                      </a:lnTo>
                      <a:lnTo>
                        <a:pt x="87" y="150"/>
                      </a:lnTo>
                      <a:lnTo>
                        <a:pt x="89" y="155"/>
                      </a:lnTo>
                      <a:lnTo>
                        <a:pt x="91" y="161"/>
                      </a:lnTo>
                      <a:lnTo>
                        <a:pt x="94" y="161"/>
                      </a:lnTo>
                      <a:lnTo>
                        <a:pt x="102" y="161"/>
                      </a:lnTo>
                      <a:lnTo>
                        <a:pt x="102" y="161"/>
                      </a:lnTo>
                      <a:lnTo>
                        <a:pt x="98" y="168"/>
                      </a:lnTo>
                      <a:lnTo>
                        <a:pt x="98" y="174"/>
                      </a:lnTo>
                      <a:lnTo>
                        <a:pt x="96" y="179"/>
                      </a:lnTo>
                      <a:lnTo>
                        <a:pt x="94" y="183"/>
                      </a:lnTo>
                      <a:lnTo>
                        <a:pt x="94" y="187"/>
                      </a:lnTo>
                      <a:lnTo>
                        <a:pt x="94" y="188"/>
                      </a:lnTo>
                      <a:lnTo>
                        <a:pt x="94" y="190"/>
                      </a:lnTo>
                      <a:lnTo>
                        <a:pt x="96" y="192"/>
                      </a:lnTo>
                      <a:lnTo>
                        <a:pt x="96" y="198"/>
                      </a:lnTo>
                      <a:lnTo>
                        <a:pt x="100" y="205"/>
                      </a:lnTo>
                      <a:lnTo>
                        <a:pt x="102" y="205"/>
                      </a:lnTo>
                      <a:lnTo>
                        <a:pt x="105" y="207"/>
                      </a:lnTo>
                      <a:lnTo>
                        <a:pt x="109" y="209"/>
                      </a:lnTo>
                      <a:lnTo>
                        <a:pt x="113" y="209"/>
                      </a:lnTo>
                      <a:lnTo>
                        <a:pt x="111" y="218"/>
                      </a:lnTo>
                      <a:lnTo>
                        <a:pt x="107" y="227"/>
                      </a:lnTo>
                      <a:lnTo>
                        <a:pt x="105" y="236"/>
                      </a:lnTo>
                      <a:lnTo>
                        <a:pt x="104" y="246"/>
                      </a:lnTo>
                      <a:lnTo>
                        <a:pt x="111" y="253"/>
                      </a:lnTo>
                      <a:lnTo>
                        <a:pt x="117" y="259"/>
                      </a:lnTo>
                      <a:lnTo>
                        <a:pt x="118" y="260"/>
                      </a:lnTo>
                      <a:lnTo>
                        <a:pt x="122" y="262"/>
                      </a:lnTo>
                      <a:lnTo>
                        <a:pt x="126" y="264"/>
                      </a:lnTo>
                      <a:lnTo>
                        <a:pt x="129" y="268"/>
                      </a:lnTo>
                      <a:lnTo>
                        <a:pt x="133" y="281"/>
                      </a:lnTo>
                      <a:lnTo>
                        <a:pt x="137" y="288"/>
                      </a:lnTo>
                      <a:lnTo>
                        <a:pt x="139" y="292"/>
                      </a:lnTo>
                      <a:lnTo>
                        <a:pt x="140" y="294"/>
                      </a:lnTo>
                      <a:lnTo>
                        <a:pt x="140" y="296"/>
                      </a:lnTo>
                      <a:lnTo>
                        <a:pt x="144" y="297"/>
                      </a:lnTo>
                      <a:lnTo>
                        <a:pt x="142" y="299"/>
                      </a:lnTo>
                      <a:lnTo>
                        <a:pt x="139" y="299"/>
                      </a:lnTo>
                      <a:lnTo>
                        <a:pt x="133" y="301"/>
                      </a:lnTo>
                      <a:lnTo>
                        <a:pt x="128" y="303"/>
                      </a:lnTo>
                      <a:lnTo>
                        <a:pt x="124" y="303"/>
                      </a:lnTo>
                      <a:lnTo>
                        <a:pt x="120" y="316"/>
                      </a:lnTo>
                      <a:lnTo>
                        <a:pt x="117" y="327"/>
                      </a:lnTo>
                      <a:lnTo>
                        <a:pt x="117" y="327"/>
                      </a:lnTo>
                      <a:lnTo>
                        <a:pt x="115" y="331"/>
                      </a:lnTo>
                      <a:lnTo>
                        <a:pt x="115" y="331"/>
                      </a:lnTo>
                      <a:lnTo>
                        <a:pt x="111" y="336"/>
                      </a:lnTo>
                      <a:lnTo>
                        <a:pt x="111" y="336"/>
                      </a:lnTo>
                      <a:lnTo>
                        <a:pt x="107" y="340"/>
                      </a:lnTo>
                      <a:lnTo>
                        <a:pt x="107" y="340"/>
                      </a:lnTo>
                      <a:lnTo>
                        <a:pt x="104" y="345"/>
                      </a:lnTo>
                      <a:lnTo>
                        <a:pt x="104" y="349"/>
                      </a:lnTo>
                      <a:lnTo>
                        <a:pt x="105" y="353"/>
                      </a:lnTo>
                      <a:lnTo>
                        <a:pt x="105" y="358"/>
                      </a:lnTo>
                      <a:lnTo>
                        <a:pt x="107" y="364"/>
                      </a:lnTo>
                      <a:lnTo>
                        <a:pt x="105" y="364"/>
                      </a:lnTo>
                      <a:lnTo>
                        <a:pt x="100" y="362"/>
                      </a:lnTo>
                      <a:lnTo>
                        <a:pt x="96" y="360"/>
                      </a:lnTo>
                      <a:lnTo>
                        <a:pt x="89" y="358"/>
                      </a:lnTo>
                      <a:lnTo>
                        <a:pt x="83" y="358"/>
                      </a:lnTo>
                      <a:lnTo>
                        <a:pt x="83" y="356"/>
                      </a:lnTo>
                      <a:lnTo>
                        <a:pt x="83" y="353"/>
                      </a:lnTo>
                      <a:lnTo>
                        <a:pt x="83" y="347"/>
                      </a:lnTo>
                      <a:lnTo>
                        <a:pt x="81" y="347"/>
                      </a:lnTo>
                      <a:lnTo>
                        <a:pt x="80" y="349"/>
                      </a:lnTo>
                      <a:lnTo>
                        <a:pt x="78" y="349"/>
                      </a:lnTo>
                      <a:lnTo>
                        <a:pt x="76" y="351"/>
                      </a:lnTo>
                      <a:lnTo>
                        <a:pt x="72" y="355"/>
                      </a:lnTo>
                      <a:lnTo>
                        <a:pt x="69" y="356"/>
                      </a:lnTo>
                      <a:lnTo>
                        <a:pt x="65" y="366"/>
                      </a:lnTo>
                      <a:lnTo>
                        <a:pt x="59" y="375"/>
                      </a:lnTo>
                      <a:lnTo>
                        <a:pt x="59" y="375"/>
                      </a:lnTo>
                      <a:lnTo>
                        <a:pt x="52" y="377"/>
                      </a:lnTo>
                      <a:lnTo>
                        <a:pt x="46" y="379"/>
                      </a:lnTo>
                      <a:lnTo>
                        <a:pt x="41" y="379"/>
                      </a:lnTo>
                      <a:lnTo>
                        <a:pt x="35" y="380"/>
                      </a:lnTo>
                      <a:lnTo>
                        <a:pt x="35" y="384"/>
                      </a:lnTo>
                      <a:lnTo>
                        <a:pt x="33" y="388"/>
                      </a:lnTo>
                      <a:lnTo>
                        <a:pt x="33" y="393"/>
                      </a:lnTo>
                      <a:lnTo>
                        <a:pt x="33" y="393"/>
                      </a:lnTo>
                      <a:lnTo>
                        <a:pt x="32" y="397"/>
                      </a:lnTo>
                      <a:lnTo>
                        <a:pt x="35" y="397"/>
                      </a:lnTo>
                      <a:lnTo>
                        <a:pt x="37" y="397"/>
                      </a:lnTo>
                      <a:lnTo>
                        <a:pt x="41" y="399"/>
                      </a:lnTo>
                      <a:lnTo>
                        <a:pt x="46" y="399"/>
                      </a:lnTo>
                      <a:lnTo>
                        <a:pt x="52" y="401"/>
                      </a:lnTo>
                      <a:lnTo>
                        <a:pt x="52" y="401"/>
                      </a:lnTo>
                      <a:lnTo>
                        <a:pt x="52" y="408"/>
                      </a:lnTo>
                      <a:lnTo>
                        <a:pt x="52" y="414"/>
                      </a:lnTo>
                      <a:lnTo>
                        <a:pt x="52" y="421"/>
                      </a:lnTo>
                      <a:lnTo>
                        <a:pt x="52" y="428"/>
                      </a:lnTo>
                      <a:lnTo>
                        <a:pt x="52" y="428"/>
                      </a:lnTo>
                      <a:lnTo>
                        <a:pt x="46" y="428"/>
                      </a:lnTo>
                      <a:lnTo>
                        <a:pt x="43" y="427"/>
                      </a:lnTo>
                      <a:lnTo>
                        <a:pt x="39" y="425"/>
                      </a:lnTo>
                      <a:lnTo>
                        <a:pt x="35" y="425"/>
                      </a:lnTo>
                      <a:lnTo>
                        <a:pt x="33" y="427"/>
                      </a:lnTo>
                      <a:lnTo>
                        <a:pt x="33" y="427"/>
                      </a:lnTo>
                      <a:lnTo>
                        <a:pt x="33" y="430"/>
                      </a:lnTo>
                      <a:lnTo>
                        <a:pt x="33" y="430"/>
                      </a:lnTo>
                      <a:lnTo>
                        <a:pt x="32" y="432"/>
                      </a:lnTo>
                      <a:lnTo>
                        <a:pt x="32" y="432"/>
                      </a:lnTo>
                      <a:lnTo>
                        <a:pt x="30" y="434"/>
                      </a:lnTo>
                      <a:lnTo>
                        <a:pt x="30" y="434"/>
                      </a:lnTo>
                      <a:lnTo>
                        <a:pt x="26" y="438"/>
                      </a:lnTo>
                      <a:lnTo>
                        <a:pt x="24" y="438"/>
                      </a:lnTo>
                      <a:lnTo>
                        <a:pt x="21" y="439"/>
                      </a:lnTo>
                      <a:lnTo>
                        <a:pt x="11" y="445"/>
                      </a:lnTo>
                      <a:lnTo>
                        <a:pt x="0" y="451"/>
                      </a:lnTo>
                      <a:lnTo>
                        <a:pt x="4" y="467"/>
                      </a:lnTo>
                      <a:lnTo>
                        <a:pt x="6" y="484"/>
                      </a:lnTo>
                      <a:lnTo>
                        <a:pt x="8" y="491"/>
                      </a:lnTo>
                      <a:lnTo>
                        <a:pt x="9" y="499"/>
                      </a:lnTo>
                      <a:lnTo>
                        <a:pt x="11" y="504"/>
                      </a:lnTo>
                      <a:lnTo>
                        <a:pt x="13" y="511"/>
                      </a:lnTo>
                      <a:lnTo>
                        <a:pt x="17" y="517"/>
                      </a:lnTo>
                      <a:lnTo>
                        <a:pt x="19" y="523"/>
                      </a:lnTo>
                      <a:lnTo>
                        <a:pt x="22" y="530"/>
                      </a:lnTo>
                      <a:lnTo>
                        <a:pt x="28" y="535"/>
                      </a:lnTo>
                      <a:lnTo>
                        <a:pt x="33" y="543"/>
                      </a:lnTo>
                      <a:lnTo>
                        <a:pt x="39" y="548"/>
                      </a:lnTo>
                      <a:lnTo>
                        <a:pt x="46" y="556"/>
                      </a:lnTo>
                      <a:lnTo>
                        <a:pt x="54" y="563"/>
                      </a:lnTo>
                      <a:lnTo>
                        <a:pt x="54" y="563"/>
                      </a:lnTo>
                      <a:lnTo>
                        <a:pt x="54" y="570"/>
                      </a:lnTo>
                      <a:lnTo>
                        <a:pt x="54" y="578"/>
                      </a:lnTo>
                      <a:lnTo>
                        <a:pt x="54" y="585"/>
                      </a:lnTo>
                      <a:lnTo>
                        <a:pt x="54" y="591"/>
                      </a:lnTo>
                      <a:lnTo>
                        <a:pt x="59" y="591"/>
                      </a:lnTo>
                      <a:lnTo>
                        <a:pt x="65" y="591"/>
                      </a:lnTo>
                      <a:lnTo>
                        <a:pt x="65" y="593"/>
                      </a:lnTo>
                      <a:lnTo>
                        <a:pt x="65" y="596"/>
                      </a:lnTo>
                      <a:lnTo>
                        <a:pt x="65" y="604"/>
                      </a:lnTo>
                      <a:lnTo>
                        <a:pt x="65" y="607"/>
                      </a:lnTo>
                      <a:lnTo>
                        <a:pt x="65" y="613"/>
                      </a:lnTo>
                      <a:lnTo>
                        <a:pt x="67" y="615"/>
                      </a:lnTo>
                      <a:lnTo>
                        <a:pt x="70" y="615"/>
                      </a:lnTo>
                      <a:lnTo>
                        <a:pt x="72" y="615"/>
                      </a:lnTo>
                      <a:lnTo>
                        <a:pt x="76" y="617"/>
                      </a:lnTo>
                      <a:lnTo>
                        <a:pt x="78" y="613"/>
                      </a:lnTo>
                      <a:lnTo>
                        <a:pt x="80" y="607"/>
                      </a:lnTo>
                      <a:lnTo>
                        <a:pt x="80" y="607"/>
                      </a:lnTo>
                      <a:lnTo>
                        <a:pt x="85" y="607"/>
                      </a:lnTo>
                      <a:lnTo>
                        <a:pt x="91" y="607"/>
                      </a:lnTo>
                      <a:lnTo>
                        <a:pt x="91" y="602"/>
                      </a:lnTo>
                      <a:lnTo>
                        <a:pt x="91" y="596"/>
                      </a:lnTo>
                      <a:lnTo>
                        <a:pt x="91" y="596"/>
                      </a:lnTo>
                      <a:lnTo>
                        <a:pt x="100" y="596"/>
                      </a:lnTo>
                      <a:lnTo>
                        <a:pt x="100" y="596"/>
                      </a:lnTo>
                      <a:lnTo>
                        <a:pt x="109" y="598"/>
                      </a:lnTo>
                      <a:lnTo>
                        <a:pt x="117" y="600"/>
                      </a:lnTo>
                      <a:lnTo>
                        <a:pt x="126" y="602"/>
                      </a:lnTo>
                      <a:lnTo>
                        <a:pt x="133" y="604"/>
                      </a:lnTo>
                      <a:lnTo>
                        <a:pt x="140" y="606"/>
                      </a:lnTo>
                      <a:lnTo>
                        <a:pt x="150" y="609"/>
                      </a:lnTo>
                      <a:lnTo>
                        <a:pt x="157" y="613"/>
                      </a:lnTo>
                      <a:lnTo>
                        <a:pt x="157" y="613"/>
                      </a:lnTo>
                      <a:lnTo>
                        <a:pt x="157" y="618"/>
                      </a:lnTo>
                      <a:lnTo>
                        <a:pt x="157" y="624"/>
                      </a:lnTo>
                      <a:lnTo>
                        <a:pt x="163" y="622"/>
                      </a:lnTo>
                      <a:lnTo>
                        <a:pt x="168" y="622"/>
                      </a:lnTo>
                      <a:lnTo>
                        <a:pt x="168" y="624"/>
                      </a:lnTo>
                      <a:lnTo>
                        <a:pt x="170" y="631"/>
                      </a:lnTo>
                      <a:lnTo>
                        <a:pt x="172" y="637"/>
                      </a:lnTo>
                      <a:lnTo>
                        <a:pt x="172" y="637"/>
                      </a:lnTo>
                      <a:lnTo>
                        <a:pt x="172" y="642"/>
                      </a:lnTo>
                      <a:lnTo>
                        <a:pt x="172" y="642"/>
                      </a:lnTo>
                      <a:lnTo>
                        <a:pt x="172" y="648"/>
                      </a:lnTo>
                      <a:lnTo>
                        <a:pt x="172" y="657"/>
                      </a:lnTo>
                      <a:lnTo>
                        <a:pt x="172" y="657"/>
                      </a:lnTo>
                      <a:lnTo>
                        <a:pt x="170" y="665"/>
                      </a:lnTo>
                      <a:lnTo>
                        <a:pt x="170" y="665"/>
                      </a:lnTo>
                      <a:lnTo>
                        <a:pt x="168" y="672"/>
                      </a:lnTo>
                      <a:lnTo>
                        <a:pt x="168" y="679"/>
                      </a:lnTo>
                      <a:lnTo>
                        <a:pt x="168" y="683"/>
                      </a:lnTo>
                      <a:lnTo>
                        <a:pt x="166" y="689"/>
                      </a:lnTo>
                      <a:lnTo>
                        <a:pt x="168" y="694"/>
                      </a:lnTo>
                      <a:lnTo>
                        <a:pt x="168" y="700"/>
                      </a:lnTo>
                      <a:lnTo>
                        <a:pt x="179" y="698"/>
                      </a:lnTo>
                      <a:lnTo>
                        <a:pt x="192" y="698"/>
                      </a:lnTo>
                      <a:lnTo>
                        <a:pt x="205" y="696"/>
                      </a:lnTo>
                      <a:lnTo>
                        <a:pt x="218" y="694"/>
                      </a:lnTo>
                      <a:lnTo>
                        <a:pt x="218" y="694"/>
                      </a:lnTo>
                      <a:lnTo>
                        <a:pt x="218" y="700"/>
                      </a:lnTo>
                      <a:lnTo>
                        <a:pt x="218" y="705"/>
                      </a:lnTo>
                      <a:lnTo>
                        <a:pt x="225" y="703"/>
                      </a:lnTo>
                      <a:lnTo>
                        <a:pt x="233" y="702"/>
                      </a:lnTo>
                      <a:lnTo>
                        <a:pt x="240" y="700"/>
                      </a:lnTo>
                      <a:lnTo>
                        <a:pt x="248" y="700"/>
                      </a:lnTo>
                      <a:lnTo>
                        <a:pt x="253" y="705"/>
                      </a:lnTo>
                      <a:lnTo>
                        <a:pt x="259" y="713"/>
                      </a:lnTo>
                      <a:lnTo>
                        <a:pt x="262" y="720"/>
                      </a:lnTo>
                      <a:lnTo>
                        <a:pt x="268" y="726"/>
                      </a:lnTo>
                      <a:lnTo>
                        <a:pt x="275" y="722"/>
                      </a:lnTo>
                      <a:lnTo>
                        <a:pt x="283" y="718"/>
                      </a:lnTo>
                      <a:lnTo>
                        <a:pt x="290" y="714"/>
                      </a:lnTo>
                      <a:lnTo>
                        <a:pt x="297" y="711"/>
                      </a:lnTo>
                      <a:lnTo>
                        <a:pt x="297" y="709"/>
                      </a:lnTo>
                      <a:lnTo>
                        <a:pt x="296" y="705"/>
                      </a:lnTo>
                      <a:lnTo>
                        <a:pt x="294" y="703"/>
                      </a:lnTo>
                      <a:lnTo>
                        <a:pt x="294" y="700"/>
                      </a:lnTo>
                      <a:lnTo>
                        <a:pt x="305" y="694"/>
                      </a:lnTo>
                      <a:lnTo>
                        <a:pt x="314" y="690"/>
                      </a:lnTo>
                      <a:lnTo>
                        <a:pt x="325" y="687"/>
                      </a:lnTo>
                      <a:lnTo>
                        <a:pt x="334" y="683"/>
                      </a:lnTo>
                      <a:lnTo>
                        <a:pt x="336" y="681"/>
                      </a:lnTo>
                      <a:lnTo>
                        <a:pt x="336" y="681"/>
                      </a:lnTo>
                      <a:lnTo>
                        <a:pt x="336" y="681"/>
                      </a:lnTo>
                      <a:lnTo>
                        <a:pt x="332" y="681"/>
                      </a:lnTo>
                      <a:lnTo>
                        <a:pt x="327" y="679"/>
                      </a:lnTo>
                      <a:lnTo>
                        <a:pt x="321" y="679"/>
                      </a:lnTo>
                      <a:lnTo>
                        <a:pt x="316" y="679"/>
                      </a:lnTo>
                      <a:lnTo>
                        <a:pt x="316" y="678"/>
                      </a:lnTo>
                      <a:lnTo>
                        <a:pt x="318" y="674"/>
                      </a:lnTo>
                      <a:lnTo>
                        <a:pt x="318" y="672"/>
                      </a:lnTo>
                      <a:lnTo>
                        <a:pt x="318" y="672"/>
                      </a:lnTo>
                      <a:lnTo>
                        <a:pt x="320" y="670"/>
                      </a:lnTo>
                      <a:lnTo>
                        <a:pt x="320" y="670"/>
                      </a:lnTo>
                      <a:lnTo>
                        <a:pt x="321" y="668"/>
                      </a:lnTo>
                      <a:lnTo>
                        <a:pt x="323" y="666"/>
                      </a:lnTo>
                      <a:lnTo>
                        <a:pt x="323" y="666"/>
                      </a:lnTo>
                      <a:lnTo>
                        <a:pt x="325" y="666"/>
                      </a:lnTo>
                      <a:lnTo>
                        <a:pt x="329" y="665"/>
                      </a:lnTo>
                      <a:lnTo>
                        <a:pt x="329" y="665"/>
                      </a:lnTo>
                      <a:lnTo>
                        <a:pt x="331" y="665"/>
                      </a:lnTo>
                      <a:lnTo>
                        <a:pt x="327" y="663"/>
                      </a:lnTo>
                      <a:lnTo>
                        <a:pt x="321" y="663"/>
                      </a:lnTo>
                      <a:lnTo>
                        <a:pt x="321" y="661"/>
                      </a:lnTo>
                      <a:lnTo>
                        <a:pt x="321" y="655"/>
                      </a:lnTo>
                      <a:lnTo>
                        <a:pt x="321" y="655"/>
                      </a:lnTo>
                      <a:lnTo>
                        <a:pt x="323" y="650"/>
                      </a:lnTo>
                      <a:lnTo>
                        <a:pt x="323" y="644"/>
                      </a:lnTo>
                      <a:lnTo>
                        <a:pt x="325" y="637"/>
                      </a:lnTo>
                      <a:lnTo>
                        <a:pt x="338" y="633"/>
                      </a:lnTo>
                      <a:lnTo>
                        <a:pt x="347" y="631"/>
                      </a:lnTo>
                      <a:lnTo>
                        <a:pt x="353" y="630"/>
                      </a:lnTo>
                      <a:lnTo>
                        <a:pt x="356" y="630"/>
                      </a:lnTo>
                      <a:lnTo>
                        <a:pt x="356" y="630"/>
                      </a:lnTo>
                      <a:lnTo>
                        <a:pt x="360" y="628"/>
                      </a:lnTo>
                      <a:lnTo>
                        <a:pt x="364" y="626"/>
                      </a:lnTo>
                      <a:lnTo>
                        <a:pt x="367" y="624"/>
                      </a:lnTo>
                      <a:lnTo>
                        <a:pt x="371" y="622"/>
                      </a:lnTo>
                      <a:lnTo>
                        <a:pt x="375" y="618"/>
                      </a:lnTo>
                      <a:lnTo>
                        <a:pt x="377" y="617"/>
                      </a:lnTo>
                      <a:lnTo>
                        <a:pt x="380" y="613"/>
                      </a:lnTo>
                      <a:lnTo>
                        <a:pt x="382" y="607"/>
                      </a:lnTo>
                      <a:lnTo>
                        <a:pt x="384" y="602"/>
                      </a:lnTo>
                      <a:lnTo>
                        <a:pt x="386" y="594"/>
                      </a:lnTo>
                      <a:lnTo>
                        <a:pt x="395" y="598"/>
                      </a:lnTo>
                      <a:lnTo>
                        <a:pt x="403" y="600"/>
                      </a:lnTo>
                      <a:lnTo>
                        <a:pt x="406" y="602"/>
                      </a:lnTo>
                      <a:lnTo>
                        <a:pt x="410" y="602"/>
                      </a:lnTo>
                      <a:lnTo>
                        <a:pt x="414" y="602"/>
                      </a:lnTo>
                      <a:lnTo>
                        <a:pt x="417" y="602"/>
                      </a:lnTo>
                      <a:lnTo>
                        <a:pt x="421" y="602"/>
                      </a:lnTo>
                      <a:lnTo>
                        <a:pt x="425" y="600"/>
                      </a:lnTo>
                      <a:lnTo>
                        <a:pt x="425" y="596"/>
                      </a:lnTo>
                      <a:lnTo>
                        <a:pt x="425" y="589"/>
                      </a:lnTo>
                      <a:lnTo>
                        <a:pt x="425" y="589"/>
                      </a:lnTo>
                      <a:lnTo>
                        <a:pt x="430" y="589"/>
                      </a:lnTo>
                      <a:lnTo>
                        <a:pt x="438" y="589"/>
                      </a:lnTo>
                      <a:lnTo>
                        <a:pt x="434" y="598"/>
                      </a:lnTo>
                      <a:lnTo>
                        <a:pt x="430" y="604"/>
                      </a:lnTo>
                      <a:lnTo>
                        <a:pt x="425" y="609"/>
                      </a:lnTo>
                      <a:lnTo>
                        <a:pt x="421" y="615"/>
                      </a:lnTo>
                      <a:lnTo>
                        <a:pt x="417" y="620"/>
                      </a:lnTo>
                      <a:lnTo>
                        <a:pt x="414" y="626"/>
                      </a:lnTo>
                      <a:lnTo>
                        <a:pt x="414" y="630"/>
                      </a:lnTo>
                      <a:lnTo>
                        <a:pt x="412" y="633"/>
                      </a:lnTo>
                      <a:lnTo>
                        <a:pt x="412" y="635"/>
                      </a:lnTo>
                      <a:lnTo>
                        <a:pt x="410" y="639"/>
                      </a:lnTo>
                      <a:lnTo>
                        <a:pt x="414" y="639"/>
                      </a:lnTo>
                      <a:lnTo>
                        <a:pt x="419" y="641"/>
                      </a:lnTo>
                      <a:lnTo>
                        <a:pt x="423" y="641"/>
                      </a:lnTo>
                      <a:lnTo>
                        <a:pt x="427" y="639"/>
                      </a:lnTo>
                      <a:lnTo>
                        <a:pt x="430" y="639"/>
                      </a:lnTo>
                      <a:lnTo>
                        <a:pt x="432" y="637"/>
                      </a:lnTo>
                      <a:lnTo>
                        <a:pt x="434" y="635"/>
                      </a:lnTo>
                      <a:lnTo>
                        <a:pt x="438" y="633"/>
                      </a:lnTo>
                      <a:lnTo>
                        <a:pt x="439" y="631"/>
                      </a:lnTo>
                      <a:lnTo>
                        <a:pt x="439" y="628"/>
                      </a:lnTo>
                      <a:lnTo>
                        <a:pt x="441" y="626"/>
                      </a:lnTo>
                      <a:lnTo>
                        <a:pt x="441" y="622"/>
                      </a:lnTo>
                      <a:lnTo>
                        <a:pt x="443" y="618"/>
                      </a:lnTo>
                      <a:lnTo>
                        <a:pt x="443" y="613"/>
                      </a:lnTo>
                      <a:lnTo>
                        <a:pt x="443" y="609"/>
                      </a:lnTo>
                      <a:lnTo>
                        <a:pt x="443" y="604"/>
                      </a:lnTo>
                      <a:lnTo>
                        <a:pt x="443" y="604"/>
                      </a:lnTo>
                      <a:lnTo>
                        <a:pt x="451" y="602"/>
                      </a:lnTo>
                      <a:lnTo>
                        <a:pt x="456" y="602"/>
                      </a:lnTo>
                      <a:lnTo>
                        <a:pt x="463" y="602"/>
                      </a:lnTo>
                      <a:lnTo>
                        <a:pt x="469" y="600"/>
                      </a:lnTo>
                      <a:lnTo>
                        <a:pt x="469" y="594"/>
                      </a:lnTo>
                      <a:lnTo>
                        <a:pt x="471" y="589"/>
                      </a:lnTo>
                      <a:lnTo>
                        <a:pt x="471" y="583"/>
                      </a:lnTo>
                      <a:lnTo>
                        <a:pt x="471" y="580"/>
                      </a:lnTo>
                      <a:lnTo>
                        <a:pt x="471" y="576"/>
                      </a:lnTo>
                      <a:lnTo>
                        <a:pt x="471" y="574"/>
                      </a:lnTo>
                      <a:lnTo>
                        <a:pt x="469" y="572"/>
                      </a:lnTo>
                      <a:lnTo>
                        <a:pt x="469" y="570"/>
                      </a:lnTo>
                      <a:lnTo>
                        <a:pt x="467" y="565"/>
                      </a:lnTo>
                      <a:lnTo>
                        <a:pt x="463" y="559"/>
                      </a:lnTo>
                      <a:lnTo>
                        <a:pt x="463" y="559"/>
                      </a:lnTo>
                      <a:lnTo>
                        <a:pt x="469" y="558"/>
                      </a:lnTo>
                      <a:lnTo>
                        <a:pt x="473" y="556"/>
                      </a:lnTo>
                      <a:lnTo>
                        <a:pt x="476" y="554"/>
                      </a:lnTo>
                      <a:lnTo>
                        <a:pt x="476" y="554"/>
                      </a:lnTo>
                      <a:lnTo>
                        <a:pt x="478" y="552"/>
                      </a:lnTo>
                      <a:lnTo>
                        <a:pt x="478" y="552"/>
                      </a:lnTo>
                      <a:lnTo>
                        <a:pt x="482" y="550"/>
                      </a:lnTo>
                      <a:lnTo>
                        <a:pt x="486" y="548"/>
                      </a:lnTo>
                      <a:lnTo>
                        <a:pt x="486" y="548"/>
                      </a:lnTo>
                      <a:lnTo>
                        <a:pt x="487" y="548"/>
                      </a:lnTo>
                      <a:lnTo>
                        <a:pt x="487" y="548"/>
                      </a:lnTo>
                      <a:lnTo>
                        <a:pt x="491" y="546"/>
                      </a:lnTo>
                      <a:lnTo>
                        <a:pt x="495" y="546"/>
                      </a:lnTo>
                      <a:lnTo>
                        <a:pt x="495" y="546"/>
                      </a:lnTo>
                      <a:lnTo>
                        <a:pt x="497" y="546"/>
                      </a:lnTo>
                      <a:lnTo>
                        <a:pt x="497" y="543"/>
                      </a:lnTo>
                      <a:lnTo>
                        <a:pt x="497" y="539"/>
                      </a:lnTo>
                      <a:lnTo>
                        <a:pt x="497" y="534"/>
                      </a:lnTo>
                      <a:lnTo>
                        <a:pt x="497" y="530"/>
                      </a:lnTo>
                      <a:lnTo>
                        <a:pt x="497" y="530"/>
                      </a:lnTo>
                      <a:lnTo>
                        <a:pt x="500" y="528"/>
                      </a:lnTo>
                      <a:lnTo>
                        <a:pt x="504" y="526"/>
                      </a:lnTo>
                      <a:lnTo>
                        <a:pt x="508" y="523"/>
                      </a:lnTo>
                      <a:lnTo>
                        <a:pt x="511" y="521"/>
                      </a:lnTo>
                      <a:lnTo>
                        <a:pt x="511" y="519"/>
                      </a:lnTo>
                      <a:lnTo>
                        <a:pt x="513" y="517"/>
                      </a:lnTo>
                      <a:lnTo>
                        <a:pt x="513" y="515"/>
                      </a:lnTo>
                      <a:lnTo>
                        <a:pt x="515" y="513"/>
                      </a:lnTo>
                      <a:lnTo>
                        <a:pt x="515" y="511"/>
                      </a:lnTo>
                      <a:lnTo>
                        <a:pt x="513" y="510"/>
                      </a:lnTo>
                      <a:lnTo>
                        <a:pt x="513" y="508"/>
                      </a:lnTo>
                      <a:lnTo>
                        <a:pt x="513" y="506"/>
                      </a:lnTo>
                      <a:lnTo>
                        <a:pt x="506" y="506"/>
                      </a:lnTo>
                      <a:lnTo>
                        <a:pt x="502" y="506"/>
                      </a:lnTo>
                      <a:lnTo>
                        <a:pt x="499" y="506"/>
                      </a:lnTo>
                      <a:lnTo>
                        <a:pt x="497" y="506"/>
                      </a:lnTo>
                      <a:lnTo>
                        <a:pt x="495" y="508"/>
                      </a:lnTo>
                      <a:lnTo>
                        <a:pt x="493" y="508"/>
                      </a:lnTo>
                      <a:lnTo>
                        <a:pt x="491" y="510"/>
                      </a:lnTo>
                      <a:lnTo>
                        <a:pt x="489" y="511"/>
                      </a:lnTo>
                      <a:lnTo>
                        <a:pt x="487" y="511"/>
                      </a:lnTo>
                      <a:lnTo>
                        <a:pt x="486" y="513"/>
                      </a:lnTo>
                      <a:lnTo>
                        <a:pt x="484" y="515"/>
                      </a:lnTo>
                      <a:lnTo>
                        <a:pt x="484" y="519"/>
                      </a:lnTo>
                      <a:lnTo>
                        <a:pt x="484" y="519"/>
                      </a:lnTo>
                      <a:lnTo>
                        <a:pt x="482" y="521"/>
                      </a:lnTo>
                      <a:lnTo>
                        <a:pt x="480" y="524"/>
                      </a:lnTo>
                      <a:lnTo>
                        <a:pt x="480" y="524"/>
                      </a:lnTo>
                      <a:lnTo>
                        <a:pt x="475" y="526"/>
                      </a:lnTo>
                      <a:lnTo>
                        <a:pt x="469" y="526"/>
                      </a:lnTo>
                      <a:lnTo>
                        <a:pt x="469" y="524"/>
                      </a:lnTo>
                      <a:lnTo>
                        <a:pt x="469" y="521"/>
                      </a:lnTo>
                      <a:lnTo>
                        <a:pt x="469" y="517"/>
                      </a:lnTo>
                      <a:lnTo>
                        <a:pt x="469" y="511"/>
                      </a:lnTo>
                      <a:lnTo>
                        <a:pt x="469" y="510"/>
                      </a:lnTo>
                      <a:lnTo>
                        <a:pt x="465" y="510"/>
                      </a:lnTo>
                      <a:lnTo>
                        <a:pt x="462" y="510"/>
                      </a:lnTo>
                      <a:lnTo>
                        <a:pt x="456" y="510"/>
                      </a:lnTo>
                      <a:lnTo>
                        <a:pt x="452" y="510"/>
                      </a:lnTo>
                      <a:lnTo>
                        <a:pt x="452" y="508"/>
                      </a:lnTo>
                      <a:lnTo>
                        <a:pt x="452" y="500"/>
                      </a:lnTo>
                      <a:lnTo>
                        <a:pt x="452" y="491"/>
                      </a:lnTo>
                      <a:lnTo>
                        <a:pt x="452" y="482"/>
                      </a:lnTo>
                      <a:lnTo>
                        <a:pt x="452" y="473"/>
                      </a:lnTo>
                      <a:lnTo>
                        <a:pt x="452" y="463"/>
                      </a:lnTo>
                      <a:lnTo>
                        <a:pt x="451" y="452"/>
                      </a:lnTo>
                      <a:lnTo>
                        <a:pt x="449" y="443"/>
                      </a:lnTo>
                      <a:lnTo>
                        <a:pt x="447" y="432"/>
                      </a:lnTo>
                      <a:lnTo>
                        <a:pt x="443" y="412"/>
                      </a:lnTo>
                      <a:lnTo>
                        <a:pt x="439" y="391"/>
                      </a:lnTo>
                      <a:lnTo>
                        <a:pt x="438" y="382"/>
                      </a:lnTo>
                      <a:lnTo>
                        <a:pt x="436" y="373"/>
                      </a:lnTo>
                      <a:lnTo>
                        <a:pt x="436" y="364"/>
                      </a:lnTo>
                      <a:lnTo>
                        <a:pt x="436" y="356"/>
                      </a:lnTo>
                      <a:lnTo>
                        <a:pt x="430" y="356"/>
                      </a:lnTo>
                      <a:lnTo>
                        <a:pt x="425" y="356"/>
                      </a:lnTo>
                      <a:lnTo>
                        <a:pt x="423" y="344"/>
                      </a:lnTo>
                      <a:lnTo>
                        <a:pt x="421" y="331"/>
                      </a:lnTo>
                      <a:lnTo>
                        <a:pt x="421" y="318"/>
                      </a:lnTo>
                      <a:lnTo>
                        <a:pt x="419" y="305"/>
                      </a:lnTo>
                      <a:lnTo>
                        <a:pt x="427" y="301"/>
                      </a:lnTo>
                      <a:lnTo>
                        <a:pt x="432" y="297"/>
                      </a:lnTo>
                      <a:lnTo>
                        <a:pt x="439" y="294"/>
                      </a:lnTo>
                      <a:lnTo>
                        <a:pt x="445" y="290"/>
                      </a:lnTo>
                      <a:lnTo>
                        <a:pt x="449" y="279"/>
                      </a:lnTo>
                      <a:lnTo>
                        <a:pt x="451" y="270"/>
                      </a:lnTo>
                      <a:lnTo>
                        <a:pt x="452" y="260"/>
                      </a:lnTo>
                      <a:lnTo>
                        <a:pt x="454" y="249"/>
                      </a:lnTo>
                      <a:lnTo>
                        <a:pt x="456" y="249"/>
                      </a:lnTo>
                      <a:lnTo>
                        <a:pt x="460" y="249"/>
                      </a:lnTo>
                      <a:lnTo>
                        <a:pt x="460" y="249"/>
                      </a:lnTo>
                      <a:lnTo>
                        <a:pt x="465" y="248"/>
                      </a:lnTo>
                      <a:lnTo>
                        <a:pt x="471" y="246"/>
                      </a:lnTo>
                      <a:lnTo>
                        <a:pt x="476" y="246"/>
                      </a:lnTo>
                      <a:lnTo>
                        <a:pt x="476" y="244"/>
                      </a:lnTo>
                      <a:lnTo>
                        <a:pt x="476" y="244"/>
                      </a:lnTo>
                      <a:lnTo>
                        <a:pt x="478" y="244"/>
                      </a:lnTo>
                      <a:lnTo>
                        <a:pt x="480" y="238"/>
                      </a:lnTo>
                      <a:lnTo>
                        <a:pt x="480" y="231"/>
                      </a:lnTo>
                      <a:lnTo>
                        <a:pt x="482" y="225"/>
                      </a:lnTo>
                      <a:lnTo>
                        <a:pt x="484" y="218"/>
                      </a:lnTo>
                      <a:lnTo>
                        <a:pt x="484" y="218"/>
                      </a:lnTo>
                      <a:lnTo>
                        <a:pt x="489" y="218"/>
                      </a:lnTo>
                      <a:lnTo>
                        <a:pt x="497" y="218"/>
                      </a:lnTo>
                      <a:lnTo>
                        <a:pt x="497" y="218"/>
                      </a:lnTo>
                      <a:lnTo>
                        <a:pt x="499" y="224"/>
                      </a:lnTo>
                      <a:lnTo>
                        <a:pt x="502" y="229"/>
                      </a:lnTo>
                      <a:lnTo>
                        <a:pt x="504" y="233"/>
                      </a:lnTo>
                      <a:lnTo>
                        <a:pt x="508" y="238"/>
                      </a:lnTo>
                      <a:lnTo>
                        <a:pt x="508" y="238"/>
                      </a:lnTo>
                      <a:lnTo>
                        <a:pt x="504" y="242"/>
                      </a:lnTo>
                      <a:lnTo>
                        <a:pt x="502" y="244"/>
                      </a:lnTo>
                      <a:lnTo>
                        <a:pt x="506" y="244"/>
                      </a:lnTo>
                      <a:lnTo>
                        <a:pt x="513" y="246"/>
                      </a:lnTo>
                      <a:lnTo>
                        <a:pt x="513" y="246"/>
                      </a:lnTo>
                      <a:lnTo>
                        <a:pt x="513" y="251"/>
                      </a:lnTo>
                      <a:lnTo>
                        <a:pt x="513" y="255"/>
                      </a:lnTo>
                      <a:lnTo>
                        <a:pt x="513" y="259"/>
                      </a:lnTo>
                      <a:lnTo>
                        <a:pt x="513" y="262"/>
                      </a:lnTo>
                      <a:lnTo>
                        <a:pt x="515" y="262"/>
                      </a:lnTo>
                      <a:lnTo>
                        <a:pt x="517" y="264"/>
                      </a:lnTo>
                      <a:lnTo>
                        <a:pt x="517" y="264"/>
                      </a:lnTo>
                      <a:lnTo>
                        <a:pt x="519" y="264"/>
                      </a:lnTo>
                      <a:lnTo>
                        <a:pt x="521" y="266"/>
                      </a:lnTo>
                      <a:lnTo>
                        <a:pt x="521" y="266"/>
                      </a:lnTo>
                      <a:lnTo>
                        <a:pt x="524" y="268"/>
                      </a:lnTo>
                      <a:lnTo>
                        <a:pt x="524" y="270"/>
                      </a:lnTo>
                      <a:lnTo>
                        <a:pt x="526" y="272"/>
                      </a:lnTo>
                      <a:lnTo>
                        <a:pt x="528" y="273"/>
                      </a:lnTo>
                      <a:lnTo>
                        <a:pt x="530" y="277"/>
                      </a:lnTo>
                      <a:lnTo>
                        <a:pt x="532" y="277"/>
                      </a:lnTo>
                      <a:lnTo>
                        <a:pt x="532" y="277"/>
                      </a:lnTo>
                      <a:lnTo>
                        <a:pt x="532" y="277"/>
                      </a:lnTo>
                      <a:lnTo>
                        <a:pt x="534" y="279"/>
                      </a:lnTo>
                      <a:lnTo>
                        <a:pt x="534" y="277"/>
                      </a:lnTo>
                      <a:lnTo>
                        <a:pt x="534" y="275"/>
                      </a:lnTo>
                      <a:lnTo>
                        <a:pt x="534" y="270"/>
                      </a:lnTo>
                      <a:lnTo>
                        <a:pt x="534" y="266"/>
                      </a:lnTo>
                      <a:lnTo>
                        <a:pt x="534" y="262"/>
                      </a:lnTo>
                      <a:lnTo>
                        <a:pt x="534" y="262"/>
                      </a:lnTo>
                      <a:lnTo>
                        <a:pt x="539" y="262"/>
                      </a:lnTo>
                      <a:lnTo>
                        <a:pt x="545" y="262"/>
                      </a:lnTo>
                      <a:lnTo>
                        <a:pt x="545" y="262"/>
                      </a:lnTo>
                      <a:lnTo>
                        <a:pt x="545" y="268"/>
                      </a:lnTo>
                      <a:lnTo>
                        <a:pt x="545" y="273"/>
                      </a:lnTo>
                      <a:lnTo>
                        <a:pt x="550" y="273"/>
                      </a:lnTo>
                      <a:lnTo>
                        <a:pt x="556" y="273"/>
                      </a:lnTo>
                      <a:lnTo>
                        <a:pt x="556" y="273"/>
                      </a:lnTo>
                      <a:lnTo>
                        <a:pt x="556" y="277"/>
                      </a:lnTo>
                      <a:lnTo>
                        <a:pt x="556" y="279"/>
                      </a:lnTo>
                      <a:lnTo>
                        <a:pt x="558" y="281"/>
                      </a:lnTo>
                      <a:lnTo>
                        <a:pt x="558" y="281"/>
                      </a:lnTo>
                      <a:lnTo>
                        <a:pt x="558" y="283"/>
                      </a:lnTo>
                      <a:lnTo>
                        <a:pt x="558" y="283"/>
                      </a:lnTo>
                      <a:lnTo>
                        <a:pt x="558" y="284"/>
                      </a:lnTo>
                      <a:lnTo>
                        <a:pt x="559" y="284"/>
                      </a:lnTo>
                      <a:lnTo>
                        <a:pt x="561" y="284"/>
                      </a:lnTo>
                      <a:lnTo>
                        <a:pt x="559" y="270"/>
                      </a:lnTo>
                      <a:lnTo>
                        <a:pt x="558" y="255"/>
                      </a:lnTo>
                      <a:lnTo>
                        <a:pt x="556" y="242"/>
                      </a:lnTo>
                      <a:lnTo>
                        <a:pt x="556" y="227"/>
                      </a:lnTo>
                      <a:lnTo>
                        <a:pt x="554" y="212"/>
                      </a:lnTo>
                      <a:lnTo>
                        <a:pt x="552" y="200"/>
                      </a:lnTo>
                      <a:lnTo>
                        <a:pt x="550" y="185"/>
                      </a:lnTo>
                      <a:lnTo>
                        <a:pt x="548" y="170"/>
                      </a:lnTo>
                      <a:lnTo>
                        <a:pt x="547" y="170"/>
                      </a:lnTo>
                      <a:lnTo>
                        <a:pt x="545" y="170"/>
                      </a:lnTo>
                      <a:lnTo>
                        <a:pt x="545" y="172"/>
                      </a:lnTo>
                      <a:lnTo>
                        <a:pt x="545" y="170"/>
                      </a:lnTo>
                      <a:lnTo>
                        <a:pt x="543" y="170"/>
                      </a:lnTo>
                      <a:lnTo>
                        <a:pt x="539" y="168"/>
                      </a:lnTo>
                      <a:lnTo>
                        <a:pt x="534" y="165"/>
                      </a:lnTo>
                      <a:lnTo>
                        <a:pt x="530" y="163"/>
                      </a:lnTo>
                      <a:lnTo>
                        <a:pt x="524" y="159"/>
                      </a:lnTo>
                      <a:lnTo>
                        <a:pt x="524" y="159"/>
                      </a:lnTo>
                      <a:lnTo>
                        <a:pt x="524" y="153"/>
                      </a:lnTo>
                      <a:lnTo>
                        <a:pt x="524" y="148"/>
                      </a:lnTo>
                      <a:lnTo>
                        <a:pt x="519" y="148"/>
                      </a:lnTo>
                      <a:lnTo>
                        <a:pt x="513" y="148"/>
                      </a:lnTo>
                      <a:lnTo>
                        <a:pt x="513" y="150"/>
                      </a:lnTo>
                      <a:lnTo>
                        <a:pt x="511" y="152"/>
                      </a:lnTo>
                      <a:lnTo>
                        <a:pt x="511" y="152"/>
                      </a:lnTo>
                      <a:lnTo>
                        <a:pt x="510" y="150"/>
                      </a:lnTo>
                      <a:lnTo>
                        <a:pt x="508" y="148"/>
                      </a:lnTo>
                      <a:lnTo>
                        <a:pt x="508" y="148"/>
                      </a:lnTo>
                      <a:lnTo>
                        <a:pt x="510" y="146"/>
                      </a:lnTo>
                      <a:lnTo>
                        <a:pt x="510" y="146"/>
                      </a:lnTo>
                      <a:lnTo>
                        <a:pt x="510" y="144"/>
                      </a:lnTo>
                      <a:lnTo>
                        <a:pt x="510" y="141"/>
                      </a:lnTo>
                      <a:lnTo>
                        <a:pt x="510" y="137"/>
                      </a:lnTo>
                      <a:lnTo>
                        <a:pt x="510" y="131"/>
                      </a:lnTo>
                      <a:lnTo>
                        <a:pt x="510" y="128"/>
                      </a:lnTo>
                      <a:lnTo>
                        <a:pt x="506" y="126"/>
                      </a:lnTo>
                      <a:lnTo>
                        <a:pt x="500" y="124"/>
                      </a:lnTo>
                      <a:lnTo>
                        <a:pt x="495" y="122"/>
                      </a:lnTo>
                      <a:lnTo>
                        <a:pt x="489" y="122"/>
                      </a:lnTo>
                      <a:lnTo>
                        <a:pt x="489" y="120"/>
                      </a:lnTo>
                      <a:lnTo>
                        <a:pt x="489" y="117"/>
                      </a:lnTo>
                      <a:lnTo>
                        <a:pt x="489" y="111"/>
                      </a:lnTo>
                      <a:lnTo>
                        <a:pt x="480" y="111"/>
                      </a:lnTo>
                      <a:lnTo>
                        <a:pt x="473" y="111"/>
                      </a:lnTo>
                      <a:lnTo>
                        <a:pt x="463" y="111"/>
                      </a:lnTo>
                      <a:lnTo>
                        <a:pt x="454" y="113"/>
                      </a:lnTo>
                      <a:lnTo>
                        <a:pt x="454" y="111"/>
                      </a:lnTo>
                      <a:lnTo>
                        <a:pt x="452" y="109"/>
                      </a:lnTo>
                      <a:lnTo>
                        <a:pt x="451" y="105"/>
                      </a:lnTo>
                      <a:lnTo>
                        <a:pt x="451" y="105"/>
                      </a:lnTo>
                      <a:lnTo>
                        <a:pt x="452" y="102"/>
                      </a:lnTo>
                      <a:lnTo>
                        <a:pt x="456" y="98"/>
                      </a:lnTo>
                      <a:lnTo>
                        <a:pt x="456" y="94"/>
                      </a:lnTo>
                      <a:lnTo>
                        <a:pt x="456" y="89"/>
                      </a:lnTo>
                      <a:lnTo>
                        <a:pt x="456" y="83"/>
                      </a:lnTo>
                      <a:lnTo>
                        <a:pt x="456" y="78"/>
                      </a:lnTo>
                      <a:lnTo>
                        <a:pt x="452" y="78"/>
                      </a:lnTo>
                      <a:lnTo>
                        <a:pt x="449" y="78"/>
                      </a:lnTo>
                      <a:lnTo>
                        <a:pt x="443" y="78"/>
                      </a:lnTo>
                      <a:lnTo>
                        <a:pt x="439" y="78"/>
                      </a:lnTo>
                      <a:lnTo>
                        <a:pt x="439" y="78"/>
                      </a:lnTo>
                      <a:lnTo>
                        <a:pt x="439" y="74"/>
                      </a:lnTo>
                      <a:lnTo>
                        <a:pt x="439" y="70"/>
                      </a:lnTo>
                      <a:lnTo>
                        <a:pt x="439" y="65"/>
                      </a:lnTo>
                      <a:lnTo>
                        <a:pt x="439" y="63"/>
                      </a:lnTo>
                      <a:lnTo>
                        <a:pt x="432" y="63"/>
                      </a:lnTo>
                      <a:lnTo>
                        <a:pt x="427" y="63"/>
                      </a:lnTo>
                      <a:lnTo>
                        <a:pt x="419" y="63"/>
                      </a:lnTo>
                      <a:lnTo>
                        <a:pt x="412" y="63"/>
                      </a:lnTo>
                      <a:lnTo>
                        <a:pt x="412" y="61"/>
                      </a:lnTo>
                      <a:lnTo>
                        <a:pt x="410" y="59"/>
                      </a:lnTo>
                      <a:lnTo>
                        <a:pt x="408" y="56"/>
                      </a:lnTo>
                      <a:lnTo>
                        <a:pt x="408" y="52"/>
                      </a:lnTo>
                      <a:lnTo>
                        <a:pt x="406" y="50"/>
                      </a:lnTo>
                      <a:lnTo>
                        <a:pt x="404" y="48"/>
                      </a:lnTo>
                      <a:lnTo>
                        <a:pt x="401" y="48"/>
                      </a:lnTo>
                      <a:lnTo>
                        <a:pt x="399" y="46"/>
                      </a:lnTo>
                      <a:lnTo>
                        <a:pt x="395" y="46"/>
                      </a:lnTo>
                      <a:lnTo>
                        <a:pt x="395" y="45"/>
                      </a:lnTo>
                      <a:lnTo>
                        <a:pt x="393" y="37"/>
                      </a:lnTo>
                      <a:lnTo>
                        <a:pt x="393" y="30"/>
                      </a:lnTo>
                      <a:lnTo>
                        <a:pt x="391" y="22"/>
                      </a:lnTo>
                      <a:lnTo>
                        <a:pt x="391" y="22"/>
                      </a:lnTo>
                      <a:lnTo>
                        <a:pt x="391" y="17"/>
                      </a:lnTo>
                      <a:lnTo>
                        <a:pt x="388" y="15"/>
                      </a:lnTo>
                      <a:lnTo>
                        <a:pt x="382" y="15"/>
                      </a:lnTo>
                      <a:lnTo>
                        <a:pt x="379" y="13"/>
                      </a:lnTo>
                      <a:lnTo>
                        <a:pt x="373" y="13"/>
                      </a:lnTo>
                      <a:lnTo>
                        <a:pt x="373" y="13"/>
                      </a:lnTo>
                      <a:lnTo>
                        <a:pt x="371" y="9"/>
                      </a:lnTo>
                      <a:lnTo>
                        <a:pt x="371" y="6"/>
                      </a:lnTo>
                      <a:lnTo>
                        <a:pt x="369" y="2"/>
                      </a:lnTo>
                      <a:lnTo>
                        <a:pt x="36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2" name="Freeform 3016"/>
                <p:cNvSpPr>
                  <a:spLocks/>
                </p:cNvSpPr>
                <p:nvPr/>
              </p:nvSpPr>
              <p:spPr bwMode="auto">
                <a:xfrm>
                  <a:off x="4634" y="1048"/>
                  <a:ext cx="561" cy="726"/>
                </a:xfrm>
                <a:custGeom>
                  <a:avLst/>
                  <a:gdLst>
                    <a:gd name="T0" fmla="*/ 345 w 561"/>
                    <a:gd name="T1" fmla="*/ 22 h 726"/>
                    <a:gd name="T2" fmla="*/ 279 w 561"/>
                    <a:gd name="T3" fmla="*/ 50 h 726"/>
                    <a:gd name="T4" fmla="*/ 198 w 561"/>
                    <a:gd name="T5" fmla="*/ 35 h 726"/>
                    <a:gd name="T6" fmla="*/ 179 w 561"/>
                    <a:gd name="T7" fmla="*/ 61 h 726"/>
                    <a:gd name="T8" fmla="*/ 159 w 561"/>
                    <a:gd name="T9" fmla="*/ 96 h 726"/>
                    <a:gd name="T10" fmla="*/ 126 w 561"/>
                    <a:gd name="T11" fmla="*/ 117 h 726"/>
                    <a:gd name="T12" fmla="*/ 102 w 561"/>
                    <a:gd name="T13" fmla="*/ 133 h 726"/>
                    <a:gd name="T14" fmla="*/ 91 w 561"/>
                    <a:gd name="T15" fmla="*/ 161 h 726"/>
                    <a:gd name="T16" fmla="*/ 94 w 561"/>
                    <a:gd name="T17" fmla="*/ 190 h 726"/>
                    <a:gd name="T18" fmla="*/ 105 w 561"/>
                    <a:gd name="T19" fmla="*/ 236 h 726"/>
                    <a:gd name="T20" fmla="*/ 139 w 561"/>
                    <a:gd name="T21" fmla="*/ 292 h 726"/>
                    <a:gd name="T22" fmla="*/ 117 w 561"/>
                    <a:gd name="T23" fmla="*/ 327 h 726"/>
                    <a:gd name="T24" fmla="*/ 105 w 561"/>
                    <a:gd name="T25" fmla="*/ 353 h 726"/>
                    <a:gd name="T26" fmla="*/ 83 w 561"/>
                    <a:gd name="T27" fmla="*/ 347 h 726"/>
                    <a:gd name="T28" fmla="*/ 52 w 561"/>
                    <a:gd name="T29" fmla="*/ 377 h 726"/>
                    <a:gd name="T30" fmla="*/ 37 w 561"/>
                    <a:gd name="T31" fmla="*/ 397 h 726"/>
                    <a:gd name="T32" fmla="*/ 46 w 561"/>
                    <a:gd name="T33" fmla="*/ 428 h 726"/>
                    <a:gd name="T34" fmla="*/ 30 w 561"/>
                    <a:gd name="T35" fmla="*/ 434 h 726"/>
                    <a:gd name="T36" fmla="*/ 9 w 561"/>
                    <a:gd name="T37" fmla="*/ 499 h 726"/>
                    <a:gd name="T38" fmla="*/ 54 w 561"/>
                    <a:gd name="T39" fmla="*/ 563 h 726"/>
                    <a:gd name="T40" fmla="*/ 65 w 561"/>
                    <a:gd name="T41" fmla="*/ 604 h 726"/>
                    <a:gd name="T42" fmla="*/ 85 w 561"/>
                    <a:gd name="T43" fmla="*/ 607 h 726"/>
                    <a:gd name="T44" fmla="*/ 133 w 561"/>
                    <a:gd name="T45" fmla="*/ 604 h 726"/>
                    <a:gd name="T46" fmla="*/ 170 w 561"/>
                    <a:gd name="T47" fmla="*/ 631 h 726"/>
                    <a:gd name="T48" fmla="*/ 168 w 561"/>
                    <a:gd name="T49" fmla="*/ 672 h 726"/>
                    <a:gd name="T50" fmla="*/ 218 w 561"/>
                    <a:gd name="T51" fmla="*/ 694 h 726"/>
                    <a:gd name="T52" fmla="*/ 268 w 561"/>
                    <a:gd name="T53" fmla="*/ 726 h 726"/>
                    <a:gd name="T54" fmla="*/ 314 w 561"/>
                    <a:gd name="T55" fmla="*/ 690 h 726"/>
                    <a:gd name="T56" fmla="*/ 316 w 561"/>
                    <a:gd name="T57" fmla="*/ 678 h 726"/>
                    <a:gd name="T58" fmla="*/ 329 w 561"/>
                    <a:gd name="T59" fmla="*/ 665 h 726"/>
                    <a:gd name="T60" fmla="*/ 325 w 561"/>
                    <a:gd name="T61" fmla="*/ 637 h 726"/>
                    <a:gd name="T62" fmla="*/ 375 w 561"/>
                    <a:gd name="T63" fmla="*/ 618 h 726"/>
                    <a:gd name="T64" fmla="*/ 414 w 561"/>
                    <a:gd name="T65" fmla="*/ 602 h 726"/>
                    <a:gd name="T66" fmla="*/ 430 w 561"/>
                    <a:gd name="T67" fmla="*/ 604 h 726"/>
                    <a:gd name="T68" fmla="*/ 419 w 561"/>
                    <a:gd name="T69" fmla="*/ 641 h 726"/>
                    <a:gd name="T70" fmla="*/ 441 w 561"/>
                    <a:gd name="T71" fmla="*/ 622 h 726"/>
                    <a:gd name="T72" fmla="*/ 469 w 561"/>
                    <a:gd name="T73" fmla="*/ 594 h 726"/>
                    <a:gd name="T74" fmla="*/ 463 w 561"/>
                    <a:gd name="T75" fmla="*/ 559 h 726"/>
                    <a:gd name="T76" fmla="*/ 487 w 561"/>
                    <a:gd name="T77" fmla="*/ 548 h 726"/>
                    <a:gd name="T78" fmla="*/ 497 w 561"/>
                    <a:gd name="T79" fmla="*/ 530 h 726"/>
                    <a:gd name="T80" fmla="*/ 513 w 561"/>
                    <a:gd name="T81" fmla="*/ 510 h 726"/>
                    <a:gd name="T82" fmla="*/ 489 w 561"/>
                    <a:gd name="T83" fmla="*/ 511 h 726"/>
                    <a:gd name="T84" fmla="*/ 469 w 561"/>
                    <a:gd name="T85" fmla="*/ 526 h 726"/>
                    <a:gd name="T86" fmla="*/ 452 w 561"/>
                    <a:gd name="T87" fmla="*/ 508 h 726"/>
                    <a:gd name="T88" fmla="*/ 439 w 561"/>
                    <a:gd name="T89" fmla="*/ 391 h 726"/>
                    <a:gd name="T90" fmla="*/ 419 w 561"/>
                    <a:gd name="T91" fmla="*/ 305 h 726"/>
                    <a:gd name="T92" fmla="*/ 460 w 561"/>
                    <a:gd name="T93" fmla="*/ 249 h 726"/>
                    <a:gd name="T94" fmla="*/ 482 w 561"/>
                    <a:gd name="T95" fmla="*/ 225 h 726"/>
                    <a:gd name="T96" fmla="*/ 508 w 561"/>
                    <a:gd name="T97" fmla="*/ 238 h 726"/>
                    <a:gd name="T98" fmla="*/ 515 w 561"/>
                    <a:gd name="T99" fmla="*/ 262 h 726"/>
                    <a:gd name="T100" fmla="*/ 530 w 561"/>
                    <a:gd name="T101" fmla="*/ 277 h 726"/>
                    <a:gd name="T102" fmla="*/ 534 w 561"/>
                    <a:gd name="T103" fmla="*/ 262 h 726"/>
                    <a:gd name="T104" fmla="*/ 556 w 561"/>
                    <a:gd name="T105" fmla="*/ 279 h 726"/>
                    <a:gd name="T106" fmla="*/ 556 w 561"/>
                    <a:gd name="T107" fmla="*/ 242 h 726"/>
                    <a:gd name="T108" fmla="*/ 543 w 561"/>
                    <a:gd name="T109" fmla="*/ 170 h 726"/>
                    <a:gd name="T110" fmla="*/ 513 w 561"/>
                    <a:gd name="T111" fmla="*/ 150 h 726"/>
                    <a:gd name="T112" fmla="*/ 510 w 561"/>
                    <a:gd name="T113" fmla="*/ 137 h 726"/>
                    <a:gd name="T114" fmla="*/ 480 w 561"/>
                    <a:gd name="T115" fmla="*/ 111 h 726"/>
                    <a:gd name="T116" fmla="*/ 456 w 561"/>
                    <a:gd name="T117" fmla="*/ 94 h 726"/>
                    <a:gd name="T118" fmla="*/ 439 w 561"/>
                    <a:gd name="T119" fmla="*/ 70 h 726"/>
                    <a:gd name="T120" fmla="*/ 408 w 561"/>
                    <a:gd name="T121" fmla="*/ 52 h 726"/>
                    <a:gd name="T122" fmla="*/ 391 w 561"/>
                    <a:gd name="T123" fmla="*/ 22 h 726"/>
                    <a:gd name="T124" fmla="*/ 367 w 561"/>
                    <a:gd name="T125" fmla="*/ 0 h 7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61" h="726">
                      <a:moveTo>
                        <a:pt x="367" y="0"/>
                      </a:moveTo>
                      <a:lnTo>
                        <a:pt x="366" y="0"/>
                      </a:lnTo>
                      <a:lnTo>
                        <a:pt x="364" y="2"/>
                      </a:lnTo>
                      <a:lnTo>
                        <a:pt x="362" y="6"/>
                      </a:lnTo>
                      <a:lnTo>
                        <a:pt x="360" y="9"/>
                      </a:lnTo>
                      <a:lnTo>
                        <a:pt x="356" y="13"/>
                      </a:lnTo>
                      <a:lnTo>
                        <a:pt x="353" y="17"/>
                      </a:lnTo>
                      <a:lnTo>
                        <a:pt x="353" y="17"/>
                      </a:lnTo>
                      <a:lnTo>
                        <a:pt x="349" y="21"/>
                      </a:lnTo>
                      <a:lnTo>
                        <a:pt x="345" y="22"/>
                      </a:lnTo>
                      <a:lnTo>
                        <a:pt x="342" y="26"/>
                      </a:lnTo>
                      <a:lnTo>
                        <a:pt x="342" y="26"/>
                      </a:lnTo>
                      <a:lnTo>
                        <a:pt x="336" y="30"/>
                      </a:lnTo>
                      <a:lnTo>
                        <a:pt x="332" y="32"/>
                      </a:lnTo>
                      <a:lnTo>
                        <a:pt x="327" y="33"/>
                      </a:lnTo>
                      <a:lnTo>
                        <a:pt x="321" y="37"/>
                      </a:lnTo>
                      <a:lnTo>
                        <a:pt x="316" y="39"/>
                      </a:lnTo>
                      <a:lnTo>
                        <a:pt x="305" y="43"/>
                      </a:lnTo>
                      <a:lnTo>
                        <a:pt x="292" y="46"/>
                      </a:lnTo>
                      <a:lnTo>
                        <a:pt x="279" y="50"/>
                      </a:lnTo>
                      <a:lnTo>
                        <a:pt x="266" y="52"/>
                      </a:lnTo>
                      <a:lnTo>
                        <a:pt x="255" y="54"/>
                      </a:lnTo>
                      <a:lnTo>
                        <a:pt x="242" y="57"/>
                      </a:lnTo>
                      <a:lnTo>
                        <a:pt x="222" y="59"/>
                      </a:lnTo>
                      <a:lnTo>
                        <a:pt x="203" y="63"/>
                      </a:lnTo>
                      <a:lnTo>
                        <a:pt x="203" y="63"/>
                      </a:lnTo>
                      <a:lnTo>
                        <a:pt x="201" y="56"/>
                      </a:lnTo>
                      <a:lnTo>
                        <a:pt x="200" y="48"/>
                      </a:lnTo>
                      <a:lnTo>
                        <a:pt x="200" y="41"/>
                      </a:lnTo>
                      <a:lnTo>
                        <a:pt x="198" y="35"/>
                      </a:lnTo>
                      <a:lnTo>
                        <a:pt x="192" y="39"/>
                      </a:lnTo>
                      <a:lnTo>
                        <a:pt x="185" y="41"/>
                      </a:lnTo>
                      <a:lnTo>
                        <a:pt x="177" y="45"/>
                      </a:lnTo>
                      <a:lnTo>
                        <a:pt x="172" y="46"/>
                      </a:lnTo>
                      <a:lnTo>
                        <a:pt x="174" y="48"/>
                      </a:lnTo>
                      <a:lnTo>
                        <a:pt x="176" y="52"/>
                      </a:lnTo>
                      <a:lnTo>
                        <a:pt x="176" y="52"/>
                      </a:lnTo>
                      <a:lnTo>
                        <a:pt x="177" y="56"/>
                      </a:lnTo>
                      <a:lnTo>
                        <a:pt x="181" y="59"/>
                      </a:lnTo>
                      <a:lnTo>
                        <a:pt x="179" y="61"/>
                      </a:lnTo>
                      <a:lnTo>
                        <a:pt x="176" y="63"/>
                      </a:lnTo>
                      <a:lnTo>
                        <a:pt x="172" y="65"/>
                      </a:lnTo>
                      <a:lnTo>
                        <a:pt x="170" y="67"/>
                      </a:lnTo>
                      <a:lnTo>
                        <a:pt x="166" y="69"/>
                      </a:lnTo>
                      <a:lnTo>
                        <a:pt x="166" y="74"/>
                      </a:lnTo>
                      <a:lnTo>
                        <a:pt x="166" y="81"/>
                      </a:lnTo>
                      <a:lnTo>
                        <a:pt x="168" y="89"/>
                      </a:lnTo>
                      <a:lnTo>
                        <a:pt x="168" y="98"/>
                      </a:lnTo>
                      <a:lnTo>
                        <a:pt x="166" y="98"/>
                      </a:lnTo>
                      <a:lnTo>
                        <a:pt x="159" y="96"/>
                      </a:lnTo>
                      <a:lnTo>
                        <a:pt x="150" y="96"/>
                      </a:lnTo>
                      <a:lnTo>
                        <a:pt x="140" y="96"/>
                      </a:lnTo>
                      <a:lnTo>
                        <a:pt x="133" y="96"/>
                      </a:lnTo>
                      <a:lnTo>
                        <a:pt x="133" y="100"/>
                      </a:lnTo>
                      <a:lnTo>
                        <a:pt x="133" y="104"/>
                      </a:lnTo>
                      <a:lnTo>
                        <a:pt x="133" y="109"/>
                      </a:lnTo>
                      <a:lnTo>
                        <a:pt x="135" y="113"/>
                      </a:lnTo>
                      <a:lnTo>
                        <a:pt x="133" y="113"/>
                      </a:lnTo>
                      <a:lnTo>
                        <a:pt x="129" y="115"/>
                      </a:lnTo>
                      <a:lnTo>
                        <a:pt x="126" y="117"/>
                      </a:lnTo>
                      <a:lnTo>
                        <a:pt x="122" y="117"/>
                      </a:lnTo>
                      <a:lnTo>
                        <a:pt x="117" y="118"/>
                      </a:lnTo>
                      <a:lnTo>
                        <a:pt x="117" y="124"/>
                      </a:lnTo>
                      <a:lnTo>
                        <a:pt x="117" y="129"/>
                      </a:lnTo>
                      <a:lnTo>
                        <a:pt x="117" y="129"/>
                      </a:lnTo>
                      <a:lnTo>
                        <a:pt x="113" y="129"/>
                      </a:lnTo>
                      <a:lnTo>
                        <a:pt x="107" y="129"/>
                      </a:lnTo>
                      <a:lnTo>
                        <a:pt x="104" y="129"/>
                      </a:lnTo>
                      <a:lnTo>
                        <a:pt x="102" y="129"/>
                      </a:lnTo>
                      <a:lnTo>
                        <a:pt x="102" y="133"/>
                      </a:lnTo>
                      <a:lnTo>
                        <a:pt x="102" y="139"/>
                      </a:lnTo>
                      <a:lnTo>
                        <a:pt x="100" y="139"/>
                      </a:lnTo>
                      <a:lnTo>
                        <a:pt x="96" y="139"/>
                      </a:lnTo>
                      <a:lnTo>
                        <a:pt x="91" y="139"/>
                      </a:lnTo>
                      <a:lnTo>
                        <a:pt x="87" y="139"/>
                      </a:lnTo>
                      <a:lnTo>
                        <a:pt x="85" y="139"/>
                      </a:lnTo>
                      <a:lnTo>
                        <a:pt x="85" y="144"/>
                      </a:lnTo>
                      <a:lnTo>
                        <a:pt x="87" y="150"/>
                      </a:lnTo>
                      <a:lnTo>
                        <a:pt x="89" y="155"/>
                      </a:lnTo>
                      <a:lnTo>
                        <a:pt x="91" y="161"/>
                      </a:lnTo>
                      <a:lnTo>
                        <a:pt x="94" y="161"/>
                      </a:lnTo>
                      <a:lnTo>
                        <a:pt x="102" y="161"/>
                      </a:lnTo>
                      <a:lnTo>
                        <a:pt x="102" y="161"/>
                      </a:lnTo>
                      <a:lnTo>
                        <a:pt x="98" y="168"/>
                      </a:lnTo>
                      <a:lnTo>
                        <a:pt x="98" y="174"/>
                      </a:lnTo>
                      <a:lnTo>
                        <a:pt x="96" y="179"/>
                      </a:lnTo>
                      <a:lnTo>
                        <a:pt x="94" y="183"/>
                      </a:lnTo>
                      <a:lnTo>
                        <a:pt x="94" y="187"/>
                      </a:lnTo>
                      <a:lnTo>
                        <a:pt x="94" y="188"/>
                      </a:lnTo>
                      <a:lnTo>
                        <a:pt x="94" y="190"/>
                      </a:lnTo>
                      <a:lnTo>
                        <a:pt x="96" y="192"/>
                      </a:lnTo>
                      <a:lnTo>
                        <a:pt x="96" y="198"/>
                      </a:lnTo>
                      <a:lnTo>
                        <a:pt x="100" y="205"/>
                      </a:lnTo>
                      <a:lnTo>
                        <a:pt x="102" y="205"/>
                      </a:lnTo>
                      <a:lnTo>
                        <a:pt x="105" y="207"/>
                      </a:lnTo>
                      <a:lnTo>
                        <a:pt x="109" y="209"/>
                      </a:lnTo>
                      <a:lnTo>
                        <a:pt x="113" y="209"/>
                      </a:lnTo>
                      <a:lnTo>
                        <a:pt x="111" y="218"/>
                      </a:lnTo>
                      <a:lnTo>
                        <a:pt x="107" y="227"/>
                      </a:lnTo>
                      <a:lnTo>
                        <a:pt x="105" y="236"/>
                      </a:lnTo>
                      <a:lnTo>
                        <a:pt x="104" y="246"/>
                      </a:lnTo>
                      <a:lnTo>
                        <a:pt x="111" y="253"/>
                      </a:lnTo>
                      <a:lnTo>
                        <a:pt x="117" y="259"/>
                      </a:lnTo>
                      <a:lnTo>
                        <a:pt x="118" y="260"/>
                      </a:lnTo>
                      <a:lnTo>
                        <a:pt x="122" y="262"/>
                      </a:lnTo>
                      <a:lnTo>
                        <a:pt x="126" y="264"/>
                      </a:lnTo>
                      <a:lnTo>
                        <a:pt x="129" y="268"/>
                      </a:lnTo>
                      <a:lnTo>
                        <a:pt x="133" y="281"/>
                      </a:lnTo>
                      <a:lnTo>
                        <a:pt x="137" y="288"/>
                      </a:lnTo>
                      <a:lnTo>
                        <a:pt x="139" y="292"/>
                      </a:lnTo>
                      <a:lnTo>
                        <a:pt x="140" y="294"/>
                      </a:lnTo>
                      <a:lnTo>
                        <a:pt x="140" y="296"/>
                      </a:lnTo>
                      <a:lnTo>
                        <a:pt x="144" y="297"/>
                      </a:lnTo>
                      <a:lnTo>
                        <a:pt x="142" y="299"/>
                      </a:lnTo>
                      <a:lnTo>
                        <a:pt x="139" y="299"/>
                      </a:lnTo>
                      <a:lnTo>
                        <a:pt x="133" y="301"/>
                      </a:lnTo>
                      <a:lnTo>
                        <a:pt x="128" y="303"/>
                      </a:lnTo>
                      <a:lnTo>
                        <a:pt x="124" y="303"/>
                      </a:lnTo>
                      <a:lnTo>
                        <a:pt x="120" y="316"/>
                      </a:lnTo>
                      <a:lnTo>
                        <a:pt x="117" y="327"/>
                      </a:lnTo>
                      <a:lnTo>
                        <a:pt x="117" y="327"/>
                      </a:lnTo>
                      <a:lnTo>
                        <a:pt x="115" y="331"/>
                      </a:lnTo>
                      <a:lnTo>
                        <a:pt x="115" y="331"/>
                      </a:lnTo>
                      <a:lnTo>
                        <a:pt x="111" y="336"/>
                      </a:lnTo>
                      <a:lnTo>
                        <a:pt x="111" y="336"/>
                      </a:lnTo>
                      <a:lnTo>
                        <a:pt x="107" y="340"/>
                      </a:lnTo>
                      <a:lnTo>
                        <a:pt x="107" y="340"/>
                      </a:lnTo>
                      <a:lnTo>
                        <a:pt x="104" y="345"/>
                      </a:lnTo>
                      <a:lnTo>
                        <a:pt x="104" y="349"/>
                      </a:lnTo>
                      <a:lnTo>
                        <a:pt x="105" y="353"/>
                      </a:lnTo>
                      <a:lnTo>
                        <a:pt x="105" y="358"/>
                      </a:lnTo>
                      <a:lnTo>
                        <a:pt x="107" y="364"/>
                      </a:lnTo>
                      <a:lnTo>
                        <a:pt x="105" y="364"/>
                      </a:lnTo>
                      <a:lnTo>
                        <a:pt x="100" y="362"/>
                      </a:lnTo>
                      <a:lnTo>
                        <a:pt x="96" y="360"/>
                      </a:lnTo>
                      <a:lnTo>
                        <a:pt x="89" y="358"/>
                      </a:lnTo>
                      <a:lnTo>
                        <a:pt x="83" y="358"/>
                      </a:lnTo>
                      <a:lnTo>
                        <a:pt x="83" y="356"/>
                      </a:lnTo>
                      <a:lnTo>
                        <a:pt x="83" y="353"/>
                      </a:lnTo>
                      <a:lnTo>
                        <a:pt x="83" y="347"/>
                      </a:lnTo>
                      <a:lnTo>
                        <a:pt x="81" y="347"/>
                      </a:lnTo>
                      <a:lnTo>
                        <a:pt x="80" y="349"/>
                      </a:lnTo>
                      <a:lnTo>
                        <a:pt x="78" y="349"/>
                      </a:lnTo>
                      <a:lnTo>
                        <a:pt x="76" y="351"/>
                      </a:lnTo>
                      <a:lnTo>
                        <a:pt x="72" y="355"/>
                      </a:lnTo>
                      <a:lnTo>
                        <a:pt x="69" y="356"/>
                      </a:lnTo>
                      <a:lnTo>
                        <a:pt x="65" y="366"/>
                      </a:lnTo>
                      <a:lnTo>
                        <a:pt x="59" y="375"/>
                      </a:lnTo>
                      <a:lnTo>
                        <a:pt x="59" y="375"/>
                      </a:lnTo>
                      <a:lnTo>
                        <a:pt x="52" y="377"/>
                      </a:lnTo>
                      <a:lnTo>
                        <a:pt x="46" y="379"/>
                      </a:lnTo>
                      <a:lnTo>
                        <a:pt x="41" y="379"/>
                      </a:lnTo>
                      <a:lnTo>
                        <a:pt x="35" y="380"/>
                      </a:lnTo>
                      <a:lnTo>
                        <a:pt x="35" y="384"/>
                      </a:lnTo>
                      <a:lnTo>
                        <a:pt x="33" y="388"/>
                      </a:lnTo>
                      <a:lnTo>
                        <a:pt x="33" y="393"/>
                      </a:lnTo>
                      <a:lnTo>
                        <a:pt x="33" y="393"/>
                      </a:lnTo>
                      <a:lnTo>
                        <a:pt x="32" y="397"/>
                      </a:lnTo>
                      <a:lnTo>
                        <a:pt x="35" y="397"/>
                      </a:lnTo>
                      <a:lnTo>
                        <a:pt x="37" y="397"/>
                      </a:lnTo>
                      <a:lnTo>
                        <a:pt x="41" y="399"/>
                      </a:lnTo>
                      <a:lnTo>
                        <a:pt x="46" y="399"/>
                      </a:lnTo>
                      <a:lnTo>
                        <a:pt x="52" y="401"/>
                      </a:lnTo>
                      <a:lnTo>
                        <a:pt x="52" y="401"/>
                      </a:lnTo>
                      <a:lnTo>
                        <a:pt x="52" y="408"/>
                      </a:lnTo>
                      <a:lnTo>
                        <a:pt x="52" y="414"/>
                      </a:lnTo>
                      <a:lnTo>
                        <a:pt x="52" y="421"/>
                      </a:lnTo>
                      <a:lnTo>
                        <a:pt x="52" y="428"/>
                      </a:lnTo>
                      <a:lnTo>
                        <a:pt x="52" y="428"/>
                      </a:lnTo>
                      <a:lnTo>
                        <a:pt x="46" y="428"/>
                      </a:lnTo>
                      <a:lnTo>
                        <a:pt x="43" y="427"/>
                      </a:lnTo>
                      <a:lnTo>
                        <a:pt x="39" y="425"/>
                      </a:lnTo>
                      <a:lnTo>
                        <a:pt x="35" y="425"/>
                      </a:lnTo>
                      <a:lnTo>
                        <a:pt x="33" y="427"/>
                      </a:lnTo>
                      <a:lnTo>
                        <a:pt x="33" y="427"/>
                      </a:lnTo>
                      <a:lnTo>
                        <a:pt x="33" y="430"/>
                      </a:lnTo>
                      <a:lnTo>
                        <a:pt x="33" y="430"/>
                      </a:lnTo>
                      <a:lnTo>
                        <a:pt x="32" y="432"/>
                      </a:lnTo>
                      <a:lnTo>
                        <a:pt x="32" y="432"/>
                      </a:lnTo>
                      <a:lnTo>
                        <a:pt x="30" y="434"/>
                      </a:lnTo>
                      <a:lnTo>
                        <a:pt x="30" y="434"/>
                      </a:lnTo>
                      <a:lnTo>
                        <a:pt x="26" y="438"/>
                      </a:lnTo>
                      <a:lnTo>
                        <a:pt x="24" y="438"/>
                      </a:lnTo>
                      <a:lnTo>
                        <a:pt x="21" y="439"/>
                      </a:lnTo>
                      <a:lnTo>
                        <a:pt x="11" y="445"/>
                      </a:lnTo>
                      <a:lnTo>
                        <a:pt x="0" y="451"/>
                      </a:lnTo>
                      <a:lnTo>
                        <a:pt x="4" y="467"/>
                      </a:lnTo>
                      <a:lnTo>
                        <a:pt x="6" y="484"/>
                      </a:lnTo>
                      <a:lnTo>
                        <a:pt x="8" y="491"/>
                      </a:lnTo>
                      <a:lnTo>
                        <a:pt x="9" y="499"/>
                      </a:lnTo>
                      <a:lnTo>
                        <a:pt x="11" y="504"/>
                      </a:lnTo>
                      <a:lnTo>
                        <a:pt x="13" y="511"/>
                      </a:lnTo>
                      <a:lnTo>
                        <a:pt x="17" y="517"/>
                      </a:lnTo>
                      <a:lnTo>
                        <a:pt x="19" y="523"/>
                      </a:lnTo>
                      <a:lnTo>
                        <a:pt x="22" y="530"/>
                      </a:lnTo>
                      <a:lnTo>
                        <a:pt x="28" y="535"/>
                      </a:lnTo>
                      <a:lnTo>
                        <a:pt x="33" y="543"/>
                      </a:lnTo>
                      <a:lnTo>
                        <a:pt x="39" y="548"/>
                      </a:lnTo>
                      <a:lnTo>
                        <a:pt x="46" y="556"/>
                      </a:lnTo>
                      <a:lnTo>
                        <a:pt x="54" y="563"/>
                      </a:lnTo>
                      <a:lnTo>
                        <a:pt x="54" y="563"/>
                      </a:lnTo>
                      <a:lnTo>
                        <a:pt x="54" y="570"/>
                      </a:lnTo>
                      <a:lnTo>
                        <a:pt x="54" y="578"/>
                      </a:lnTo>
                      <a:lnTo>
                        <a:pt x="54" y="585"/>
                      </a:lnTo>
                      <a:lnTo>
                        <a:pt x="54" y="591"/>
                      </a:lnTo>
                      <a:lnTo>
                        <a:pt x="59" y="591"/>
                      </a:lnTo>
                      <a:lnTo>
                        <a:pt x="65" y="591"/>
                      </a:lnTo>
                      <a:lnTo>
                        <a:pt x="65" y="593"/>
                      </a:lnTo>
                      <a:lnTo>
                        <a:pt x="65" y="596"/>
                      </a:lnTo>
                      <a:lnTo>
                        <a:pt x="65" y="604"/>
                      </a:lnTo>
                      <a:lnTo>
                        <a:pt x="65" y="607"/>
                      </a:lnTo>
                      <a:lnTo>
                        <a:pt x="65" y="613"/>
                      </a:lnTo>
                      <a:lnTo>
                        <a:pt x="67" y="615"/>
                      </a:lnTo>
                      <a:lnTo>
                        <a:pt x="70" y="615"/>
                      </a:lnTo>
                      <a:lnTo>
                        <a:pt x="72" y="615"/>
                      </a:lnTo>
                      <a:lnTo>
                        <a:pt x="76" y="617"/>
                      </a:lnTo>
                      <a:lnTo>
                        <a:pt x="78" y="613"/>
                      </a:lnTo>
                      <a:lnTo>
                        <a:pt x="80" y="607"/>
                      </a:lnTo>
                      <a:lnTo>
                        <a:pt x="80" y="607"/>
                      </a:lnTo>
                      <a:lnTo>
                        <a:pt x="85" y="607"/>
                      </a:lnTo>
                      <a:lnTo>
                        <a:pt x="91" y="607"/>
                      </a:lnTo>
                      <a:lnTo>
                        <a:pt x="91" y="602"/>
                      </a:lnTo>
                      <a:lnTo>
                        <a:pt x="91" y="596"/>
                      </a:lnTo>
                      <a:lnTo>
                        <a:pt x="91" y="596"/>
                      </a:lnTo>
                      <a:lnTo>
                        <a:pt x="100" y="596"/>
                      </a:lnTo>
                      <a:lnTo>
                        <a:pt x="100" y="596"/>
                      </a:lnTo>
                      <a:lnTo>
                        <a:pt x="109" y="598"/>
                      </a:lnTo>
                      <a:lnTo>
                        <a:pt x="117" y="600"/>
                      </a:lnTo>
                      <a:lnTo>
                        <a:pt x="126" y="602"/>
                      </a:lnTo>
                      <a:lnTo>
                        <a:pt x="133" y="604"/>
                      </a:lnTo>
                      <a:lnTo>
                        <a:pt x="140" y="606"/>
                      </a:lnTo>
                      <a:lnTo>
                        <a:pt x="150" y="609"/>
                      </a:lnTo>
                      <a:lnTo>
                        <a:pt x="157" y="613"/>
                      </a:lnTo>
                      <a:lnTo>
                        <a:pt x="157" y="613"/>
                      </a:lnTo>
                      <a:lnTo>
                        <a:pt x="157" y="618"/>
                      </a:lnTo>
                      <a:lnTo>
                        <a:pt x="157" y="624"/>
                      </a:lnTo>
                      <a:lnTo>
                        <a:pt x="163" y="622"/>
                      </a:lnTo>
                      <a:lnTo>
                        <a:pt x="168" y="622"/>
                      </a:lnTo>
                      <a:lnTo>
                        <a:pt x="168" y="624"/>
                      </a:lnTo>
                      <a:lnTo>
                        <a:pt x="170" y="631"/>
                      </a:lnTo>
                      <a:lnTo>
                        <a:pt x="172" y="637"/>
                      </a:lnTo>
                      <a:lnTo>
                        <a:pt x="172" y="637"/>
                      </a:lnTo>
                      <a:lnTo>
                        <a:pt x="172" y="642"/>
                      </a:lnTo>
                      <a:lnTo>
                        <a:pt x="172" y="642"/>
                      </a:lnTo>
                      <a:lnTo>
                        <a:pt x="172" y="648"/>
                      </a:lnTo>
                      <a:lnTo>
                        <a:pt x="172" y="657"/>
                      </a:lnTo>
                      <a:lnTo>
                        <a:pt x="172" y="657"/>
                      </a:lnTo>
                      <a:lnTo>
                        <a:pt x="170" y="665"/>
                      </a:lnTo>
                      <a:lnTo>
                        <a:pt x="170" y="665"/>
                      </a:lnTo>
                      <a:lnTo>
                        <a:pt x="168" y="672"/>
                      </a:lnTo>
                      <a:lnTo>
                        <a:pt x="168" y="679"/>
                      </a:lnTo>
                      <a:lnTo>
                        <a:pt x="168" y="683"/>
                      </a:lnTo>
                      <a:lnTo>
                        <a:pt x="166" y="689"/>
                      </a:lnTo>
                      <a:lnTo>
                        <a:pt x="168" y="694"/>
                      </a:lnTo>
                      <a:lnTo>
                        <a:pt x="168" y="700"/>
                      </a:lnTo>
                      <a:lnTo>
                        <a:pt x="179" y="698"/>
                      </a:lnTo>
                      <a:lnTo>
                        <a:pt x="192" y="698"/>
                      </a:lnTo>
                      <a:lnTo>
                        <a:pt x="205" y="696"/>
                      </a:lnTo>
                      <a:lnTo>
                        <a:pt x="218" y="694"/>
                      </a:lnTo>
                      <a:lnTo>
                        <a:pt x="218" y="694"/>
                      </a:lnTo>
                      <a:lnTo>
                        <a:pt x="218" y="700"/>
                      </a:lnTo>
                      <a:lnTo>
                        <a:pt x="218" y="705"/>
                      </a:lnTo>
                      <a:lnTo>
                        <a:pt x="225" y="703"/>
                      </a:lnTo>
                      <a:lnTo>
                        <a:pt x="233" y="702"/>
                      </a:lnTo>
                      <a:lnTo>
                        <a:pt x="240" y="700"/>
                      </a:lnTo>
                      <a:lnTo>
                        <a:pt x="248" y="700"/>
                      </a:lnTo>
                      <a:lnTo>
                        <a:pt x="253" y="705"/>
                      </a:lnTo>
                      <a:lnTo>
                        <a:pt x="259" y="713"/>
                      </a:lnTo>
                      <a:lnTo>
                        <a:pt x="262" y="720"/>
                      </a:lnTo>
                      <a:lnTo>
                        <a:pt x="268" y="726"/>
                      </a:lnTo>
                      <a:lnTo>
                        <a:pt x="275" y="722"/>
                      </a:lnTo>
                      <a:lnTo>
                        <a:pt x="283" y="718"/>
                      </a:lnTo>
                      <a:lnTo>
                        <a:pt x="290" y="714"/>
                      </a:lnTo>
                      <a:lnTo>
                        <a:pt x="297" y="711"/>
                      </a:lnTo>
                      <a:lnTo>
                        <a:pt x="297" y="709"/>
                      </a:lnTo>
                      <a:lnTo>
                        <a:pt x="296" y="705"/>
                      </a:lnTo>
                      <a:lnTo>
                        <a:pt x="294" y="703"/>
                      </a:lnTo>
                      <a:lnTo>
                        <a:pt x="294" y="700"/>
                      </a:lnTo>
                      <a:lnTo>
                        <a:pt x="305" y="694"/>
                      </a:lnTo>
                      <a:lnTo>
                        <a:pt x="314" y="690"/>
                      </a:lnTo>
                      <a:lnTo>
                        <a:pt x="325" y="687"/>
                      </a:lnTo>
                      <a:lnTo>
                        <a:pt x="334" y="683"/>
                      </a:lnTo>
                      <a:lnTo>
                        <a:pt x="336" y="681"/>
                      </a:lnTo>
                      <a:lnTo>
                        <a:pt x="336" y="681"/>
                      </a:lnTo>
                      <a:lnTo>
                        <a:pt x="336" y="681"/>
                      </a:lnTo>
                      <a:lnTo>
                        <a:pt x="332" y="681"/>
                      </a:lnTo>
                      <a:lnTo>
                        <a:pt x="327" y="679"/>
                      </a:lnTo>
                      <a:lnTo>
                        <a:pt x="321" y="679"/>
                      </a:lnTo>
                      <a:lnTo>
                        <a:pt x="316" y="679"/>
                      </a:lnTo>
                      <a:lnTo>
                        <a:pt x="316" y="678"/>
                      </a:lnTo>
                      <a:lnTo>
                        <a:pt x="318" y="674"/>
                      </a:lnTo>
                      <a:lnTo>
                        <a:pt x="318" y="672"/>
                      </a:lnTo>
                      <a:lnTo>
                        <a:pt x="318" y="672"/>
                      </a:lnTo>
                      <a:lnTo>
                        <a:pt x="320" y="670"/>
                      </a:lnTo>
                      <a:lnTo>
                        <a:pt x="320" y="670"/>
                      </a:lnTo>
                      <a:lnTo>
                        <a:pt x="321" y="668"/>
                      </a:lnTo>
                      <a:lnTo>
                        <a:pt x="323" y="666"/>
                      </a:lnTo>
                      <a:lnTo>
                        <a:pt x="323" y="666"/>
                      </a:lnTo>
                      <a:lnTo>
                        <a:pt x="325" y="666"/>
                      </a:lnTo>
                      <a:lnTo>
                        <a:pt x="329" y="665"/>
                      </a:lnTo>
                      <a:lnTo>
                        <a:pt x="329" y="665"/>
                      </a:lnTo>
                      <a:lnTo>
                        <a:pt x="331" y="665"/>
                      </a:lnTo>
                      <a:lnTo>
                        <a:pt x="327" y="663"/>
                      </a:lnTo>
                      <a:lnTo>
                        <a:pt x="321" y="663"/>
                      </a:lnTo>
                      <a:lnTo>
                        <a:pt x="321" y="661"/>
                      </a:lnTo>
                      <a:lnTo>
                        <a:pt x="321" y="655"/>
                      </a:lnTo>
                      <a:lnTo>
                        <a:pt x="321" y="655"/>
                      </a:lnTo>
                      <a:lnTo>
                        <a:pt x="323" y="650"/>
                      </a:lnTo>
                      <a:lnTo>
                        <a:pt x="323" y="644"/>
                      </a:lnTo>
                      <a:lnTo>
                        <a:pt x="325" y="637"/>
                      </a:lnTo>
                      <a:lnTo>
                        <a:pt x="338" y="633"/>
                      </a:lnTo>
                      <a:lnTo>
                        <a:pt x="347" y="631"/>
                      </a:lnTo>
                      <a:lnTo>
                        <a:pt x="353" y="630"/>
                      </a:lnTo>
                      <a:lnTo>
                        <a:pt x="356" y="630"/>
                      </a:lnTo>
                      <a:lnTo>
                        <a:pt x="356" y="630"/>
                      </a:lnTo>
                      <a:lnTo>
                        <a:pt x="360" y="628"/>
                      </a:lnTo>
                      <a:lnTo>
                        <a:pt x="364" y="626"/>
                      </a:lnTo>
                      <a:lnTo>
                        <a:pt x="367" y="624"/>
                      </a:lnTo>
                      <a:lnTo>
                        <a:pt x="371" y="622"/>
                      </a:lnTo>
                      <a:lnTo>
                        <a:pt x="375" y="618"/>
                      </a:lnTo>
                      <a:lnTo>
                        <a:pt x="377" y="617"/>
                      </a:lnTo>
                      <a:lnTo>
                        <a:pt x="380" y="613"/>
                      </a:lnTo>
                      <a:lnTo>
                        <a:pt x="382" y="607"/>
                      </a:lnTo>
                      <a:lnTo>
                        <a:pt x="384" y="602"/>
                      </a:lnTo>
                      <a:lnTo>
                        <a:pt x="386" y="594"/>
                      </a:lnTo>
                      <a:lnTo>
                        <a:pt x="395" y="598"/>
                      </a:lnTo>
                      <a:lnTo>
                        <a:pt x="403" y="600"/>
                      </a:lnTo>
                      <a:lnTo>
                        <a:pt x="406" y="602"/>
                      </a:lnTo>
                      <a:lnTo>
                        <a:pt x="410" y="602"/>
                      </a:lnTo>
                      <a:lnTo>
                        <a:pt x="414" y="602"/>
                      </a:lnTo>
                      <a:lnTo>
                        <a:pt x="417" y="602"/>
                      </a:lnTo>
                      <a:lnTo>
                        <a:pt x="421" y="602"/>
                      </a:lnTo>
                      <a:lnTo>
                        <a:pt x="425" y="600"/>
                      </a:lnTo>
                      <a:lnTo>
                        <a:pt x="425" y="596"/>
                      </a:lnTo>
                      <a:lnTo>
                        <a:pt x="425" y="589"/>
                      </a:lnTo>
                      <a:lnTo>
                        <a:pt x="425" y="589"/>
                      </a:lnTo>
                      <a:lnTo>
                        <a:pt x="430" y="589"/>
                      </a:lnTo>
                      <a:lnTo>
                        <a:pt x="438" y="589"/>
                      </a:lnTo>
                      <a:lnTo>
                        <a:pt x="434" y="598"/>
                      </a:lnTo>
                      <a:lnTo>
                        <a:pt x="430" y="604"/>
                      </a:lnTo>
                      <a:lnTo>
                        <a:pt x="425" y="609"/>
                      </a:lnTo>
                      <a:lnTo>
                        <a:pt x="421" y="615"/>
                      </a:lnTo>
                      <a:lnTo>
                        <a:pt x="417" y="620"/>
                      </a:lnTo>
                      <a:lnTo>
                        <a:pt x="414" y="626"/>
                      </a:lnTo>
                      <a:lnTo>
                        <a:pt x="414" y="630"/>
                      </a:lnTo>
                      <a:lnTo>
                        <a:pt x="412" y="633"/>
                      </a:lnTo>
                      <a:lnTo>
                        <a:pt x="412" y="635"/>
                      </a:lnTo>
                      <a:lnTo>
                        <a:pt x="410" y="639"/>
                      </a:lnTo>
                      <a:lnTo>
                        <a:pt x="414" y="639"/>
                      </a:lnTo>
                      <a:lnTo>
                        <a:pt x="419" y="641"/>
                      </a:lnTo>
                      <a:lnTo>
                        <a:pt x="423" y="641"/>
                      </a:lnTo>
                      <a:lnTo>
                        <a:pt x="427" y="639"/>
                      </a:lnTo>
                      <a:lnTo>
                        <a:pt x="430" y="639"/>
                      </a:lnTo>
                      <a:lnTo>
                        <a:pt x="432" y="637"/>
                      </a:lnTo>
                      <a:lnTo>
                        <a:pt x="434" y="635"/>
                      </a:lnTo>
                      <a:lnTo>
                        <a:pt x="438" y="633"/>
                      </a:lnTo>
                      <a:lnTo>
                        <a:pt x="439" y="631"/>
                      </a:lnTo>
                      <a:lnTo>
                        <a:pt x="439" y="628"/>
                      </a:lnTo>
                      <a:lnTo>
                        <a:pt x="441" y="626"/>
                      </a:lnTo>
                      <a:lnTo>
                        <a:pt x="441" y="622"/>
                      </a:lnTo>
                      <a:lnTo>
                        <a:pt x="443" y="618"/>
                      </a:lnTo>
                      <a:lnTo>
                        <a:pt x="443" y="613"/>
                      </a:lnTo>
                      <a:lnTo>
                        <a:pt x="443" y="609"/>
                      </a:lnTo>
                      <a:lnTo>
                        <a:pt x="443" y="604"/>
                      </a:lnTo>
                      <a:lnTo>
                        <a:pt x="443" y="604"/>
                      </a:lnTo>
                      <a:lnTo>
                        <a:pt x="451" y="602"/>
                      </a:lnTo>
                      <a:lnTo>
                        <a:pt x="456" y="602"/>
                      </a:lnTo>
                      <a:lnTo>
                        <a:pt x="463" y="602"/>
                      </a:lnTo>
                      <a:lnTo>
                        <a:pt x="469" y="600"/>
                      </a:lnTo>
                      <a:lnTo>
                        <a:pt x="469" y="594"/>
                      </a:lnTo>
                      <a:lnTo>
                        <a:pt x="471" y="589"/>
                      </a:lnTo>
                      <a:lnTo>
                        <a:pt x="471" y="583"/>
                      </a:lnTo>
                      <a:lnTo>
                        <a:pt x="471" y="580"/>
                      </a:lnTo>
                      <a:lnTo>
                        <a:pt x="471" y="576"/>
                      </a:lnTo>
                      <a:lnTo>
                        <a:pt x="471" y="574"/>
                      </a:lnTo>
                      <a:lnTo>
                        <a:pt x="469" y="572"/>
                      </a:lnTo>
                      <a:lnTo>
                        <a:pt x="469" y="570"/>
                      </a:lnTo>
                      <a:lnTo>
                        <a:pt x="467" y="565"/>
                      </a:lnTo>
                      <a:lnTo>
                        <a:pt x="463" y="559"/>
                      </a:lnTo>
                      <a:lnTo>
                        <a:pt x="463" y="559"/>
                      </a:lnTo>
                      <a:lnTo>
                        <a:pt x="469" y="558"/>
                      </a:lnTo>
                      <a:lnTo>
                        <a:pt x="473" y="556"/>
                      </a:lnTo>
                      <a:lnTo>
                        <a:pt x="476" y="554"/>
                      </a:lnTo>
                      <a:lnTo>
                        <a:pt x="476" y="554"/>
                      </a:lnTo>
                      <a:lnTo>
                        <a:pt x="478" y="552"/>
                      </a:lnTo>
                      <a:lnTo>
                        <a:pt x="478" y="552"/>
                      </a:lnTo>
                      <a:lnTo>
                        <a:pt x="482" y="550"/>
                      </a:lnTo>
                      <a:lnTo>
                        <a:pt x="486" y="548"/>
                      </a:lnTo>
                      <a:lnTo>
                        <a:pt x="486" y="548"/>
                      </a:lnTo>
                      <a:lnTo>
                        <a:pt x="487" y="548"/>
                      </a:lnTo>
                      <a:lnTo>
                        <a:pt x="487" y="548"/>
                      </a:lnTo>
                      <a:lnTo>
                        <a:pt x="491" y="546"/>
                      </a:lnTo>
                      <a:lnTo>
                        <a:pt x="495" y="546"/>
                      </a:lnTo>
                      <a:lnTo>
                        <a:pt x="495" y="546"/>
                      </a:lnTo>
                      <a:lnTo>
                        <a:pt x="497" y="546"/>
                      </a:lnTo>
                      <a:lnTo>
                        <a:pt x="497" y="543"/>
                      </a:lnTo>
                      <a:lnTo>
                        <a:pt x="497" y="539"/>
                      </a:lnTo>
                      <a:lnTo>
                        <a:pt x="497" y="534"/>
                      </a:lnTo>
                      <a:lnTo>
                        <a:pt x="497" y="530"/>
                      </a:lnTo>
                      <a:lnTo>
                        <a:pt x="497" y="530"/>
                      </a:lnTo>
                      <a:lnTo>
                        <a:pt x="500" y="528"/>
                      </a:lnTo>
                      <a:lnTo>
                        <a:pt x="504" y="526"/>
                      </a:lnTo>
                      <a:lnTo>
                        <a:pt x="508" y="523"/>
                      </a:lnTo>
                      <a:lnTo>
                        <a:pt x="511" y="521"/>
                      </a:lnTo>
                      <a:lnTo>
                        <a:pt x="511" y="519"/>
                      </a:lnTo>
                      <a:lnTo>
                        <a:pt x="513" y="517"/>
                      </a:lnTo>
                      <a:lnTo>
                        <a:pt x="513" y="515"/>
                      </a:lnTo>
                      <a:lnTo>
                        <a:pt x="515" y="513"/>
                      </a:lnTo>
                      <a:lnTo>
                        <a:pt x="515" y="511"/>
                      </a:lnTo>
                      <a:lnTo>
                        <a:pt x="513" y="510"/>
                      </a:lnTo>
                      <a:lnTo>
                        <a:pt x="513" y="508"/>
                      </a:lnTo>
                      <a:lnTo>
                        <a:pt x="513" y="506"/>
                      </a:lnTo>
                      <a:lnTo>
                        <a:pt x="506" y="506"/>
                      </a:lnTo>
                      <a:lnTo>
                        <a:pt x="502" y="506"/>
                      </a:lnTo>
                      <a:lnTo>
                        <a:pt x="499" y="506"/>
                      </a:lnTo>
                      <a:lnTo>
                        <a:pt x="497" y="506"/>
                      </a:lnTo>
                      <a:lnTo>
                        <a:pt x="495" y="508"/>
                      </a:lnTo>
                      <a:lnTo>
                        <a:pt x="493" y="508"/>
                      </a:lnTo>
                      <a:lnTo>
                        <a:pt x="491" y="510"/>
                      </a:lnTo>
                      <a:lnTo>
                        <a:pt x="489" y="511"/>
                      </a:lnTo>
                      <a:lnTo>
                        <a:pt x="487" y="511"/>
                      </a:lnTo>
                      <a:lnTo>
                        <a:pt x="486" y="513"/>
                      </a:lnTo>
                      <a:lnTo>
                        <a:pt x="484" y="515"/>
                      </a:lnTo>
                      <a:lnTo>
                        <a:pt x="484" y="519"/>
                      </a:lnTo>
                      <a:lnTo>
                        <a:pt x="484" y="519"/>
                      </a:lnTo>
                      <a:lnTo>
                        <a:pt x="482" y="521"/>
                      </a:lnTo>
                      <a:lnTo>
                        <a:pt x="480" y="524"/>
                      </a:lnTo>
                      <a:lnTo>
                        <a:pt x="480" y="524"/>
                      </a:lnTo>
                      <a:lnTo>
                        <a:pt x="475" y="526"/>
                      </a:lnTo>
                      <a:lnTo>
                        <a:pt x="469" y="526"/>
                      </a:lnTo>
                      <a:lnTo>
                        <a:pt x="469" y="524"/>
                      </a:lnTo>
                      <a:lnTo>
                        <a:pt x="469" y="521"/>
                      </a:lnTo>
                      <a:lnTo>
                        <a:pt x="469" y="517"/>
                      </a:lnTo>
                      <a:lnTo>
                        <a:pt x="469" y="511"/>
                      </a:lnTo>
                      <a:lnTo>
                        <a:pt x="469" y="510"/>
                      </a:lnTo>
                      <a:lnTo>
                        <a:pt x="465" y="510"/>
                      </a:lnTo>
                      <a:lnTo>
                        <a:pt x="462" y="510"/>
                      </a:lnTo>
                      <a:lnTo>
                        <a:pt x="456" y="510"/>
                      </a:lnTo>
                      <a:lnTo>
                        <a:pt x="452" y="510"/>
                      </a:lnTo>
                      <a:lnTo>
                        <a:pt x="452" y="508"/>
                      </a:lnTo>
                      <a:lnTo>
                        <a:pt x="452" y="500"/>
                      </a:lnTo>
                      <a:lnTo>
                        <a:pt x="452" y="491"/>
                      </a:lnTo>
                      <a:lnTo>
                        <a:pt x="452" y="482"/>
                      </a:lnTo>
                      <a:lnTo>
                        <a:pt x="452" y="473"/>
                      </a:lnTo>
                      <a:lnTo>
                        <a:pt x="452" y="463"/>
                      </a:lnTo>
                      <a:lnTo>
                        <a:pt x="451" y="452"/>
                      </a:lnTo>
                      <a:lnTo>
                        <a:pt x="449" y="443"/>
                      </a:lnTo>
                      <a:lnTo>
                        <a:pt x="447" y="432"/>
                      </a:lnTo>
                      <a:lnTo>
                        <a:pt x="443" y="412"/>
                      </a:lnTo>
                      <a:lnTo>
                        <a:pt x="439" y="391"/>
                      </a:lnTo>
                      <a:lnTo>
                        <a:pt x="438" y="382"/>
                      </a:lnTo>
                      <a:lnTo>
                        <a:pt x="436" y="373"/>
                      </a:lnTo>
                      <a:lnTo>
                        <a:pt x="436" y="364"/>
                      </a:lnTo>
                      <a:lnTo>
                        <a:pt x="436" y="356"/>
                      </a:lnTo>
                      <a:lnTo>
                        <a:pt x="430" y="356"/>
                      </a:lnTo>
                      <a:lnTo>
                        <a:pt x="425" y="356"/>
                      </a:lnTo>
                      <a:lnTo>
                        <a:pt x="423" y="344"/>
                      </a:lnTo>
                      <a:lnTo>
                        <a:pt x="421" y="331"/>
                      </a:lnTo>
                      <a:lnTo>
                        <a:pt x="421" y="318"/>
                      </a:lnTo>
                      <a:lnTo>
                        <a:pt x="419" y="305"/>
                      </a:lnTo>
                      <a:lnTo>
                        <a:pt x="427" y="301"/>
                      </a:lnTo>
                      <a:lnTo>
                        <a:pt x="432" y="297"/>
                      </a:lnTo>
                      <a:lnTo>
                        <a:pt x="439" y="294"/>
                      </a:lnTo>
                      <a:lnTo>
                        <a:pt x="445" y="290"/>
                      </a:lnTo>
                      <a:lnTo>
                        <a:pt x="449" y="279"/>
                      </a:lnTo>
                      <a:lnTo>
                        <a:pt x="451" y="270"/>
                      </a:lnTo>
                      <a:lnTo>
                        <a:pt x="452" y="260"/>
                      </a:lnTo>
                      <a:lnTo>
                        <a:pt x="454" y="249"/>
                      </a:lnTo>
                      <a:lnTo>
                        <a:pt x="456" y="249"/>
                      </a:lnTo>
                      <a:lnTo>
                        <a:pt x="460" y="249"/>
                      </a:lnTo>
                      <a:lnTo>
                        <a:pt x="460" y="249"/>
                      </a:lnTo>
                      <a:lnTo>
                        <a:pt x="465" y="248"/>
                      </a:lnTo>
                      <a:lnTo>
                        <a:pt x="471" y="246"/>
                      </a:lnTo>
                      <a:lnTo>
                        <a:pt x="476" y="246"/>
                      </a:lnTo>
                      <a:lnTo>
                        <a:pt x="476" y="244"/>
                      </a:lnTo>
                      <a:lnTo>
                        <a:pt x="476" y="244"/>
                      </a:lnTo>
                      <a:lnTo>
                        <a:pt x="478" y="244"/>
                      </a:lnTo>
                      <a:lnTo>
                        <a:pt x="480" y="238"/>
                      </a:lnTo>
                      <a:lnTo>
                        <a:pt x="480" y="231"/>
                      </a:lnTo>
                      <a:lnTo>
                        <a:pt x="482" y="225"/>
                      </a:lnTo>
                      <a:lnTo>
                        <a:pt x="484" y="218"/>
                      </a:lnTo>
                      <a:lnTo>
                        <a:pt x="484" y="218"/>
                      </a:lnTo>
                      <a:lnTo>
                        <a:pt x="489" y="218"/>
                      </a:lnTo>
                      <a:lnTo>
                        <a:pt x="497" y="218"/>
                      </a:lnTo>
                      <a:lnTo>
                        <a:pt x="497" y="218"/>
                      </a:lnTo>
                      <a:lnTo>
                        <a:pt x="499" y="224"/>
                      </a:lnTo>
                      <a:lnTo>
                        <a:pt x="502" y="229"/>
                      </a:lnTo>
                      <a:lnTo>
                        <a:pt x="504" y="233"/>
                      </a:lnTo>
                      <a:lnTo>
                        <a:pt x="508" y="238"/>
                      </a:lnTo>
                      <a:lnTo>
                        <a:pt x="508" y="238"/>
                      </a:lnTo>
                      <a:lnTo>
                        <a:pt x="504" y="242"/>
                      </a:lnTo>
                      <a:lnTo>
                        <a:pt x="502" y="244"/>
                      </a:lnTo>
                      <a:lnTo>
                        <a:pt x="506" y="244"/>
                      </a:lnTo>
                      <a:lnTo>
                        <a:pt x="513" y="246"/>
                      </a:lnTo>
                      <a:lnTo>
                        <a:pt x="513" y="246"/>
                      </a:lnTo>
                      <a:lnTo>
                        <a:pt x="513" y="251"/>
                      </a:lnTo>
                      <a:lnTo>
                        <a:pt x="513" y="255"/>
                      </a:lnTo>
                      <a:lnTo>
                        <a:pt x="513" y="259"/>
                      </a:lnTo>
                      <a:lnTo>
                        <a:pt x="513" y="262"/>
                      </a:lnTo>
                      <a:lnTo>
                        <a:pt x="515" y="262"/>
                      </a:lnTo>
                      <a:lnTo>
                        <a:pt x="517" y="264"/>
                      </a:lnTo>
                      <a:lnTo>
                        <a:pt x="517" y="264"/>
                      </a:lnTo>
                      <a:lnTo>
                        <a:pt x="519" y="264"/>
                      </a:lnTo>
                      <a:lnTo>
                        <a:pt x="521" y="266"/>
                      </a:lnTo>
                      <a:lnTo>
                        <a:pt x="521" y="266"/>
                      </a:lnTo>
                      <a:lnTo>
                        <a:pt x="524" y="268"/>
                      </a:lnTo>
                      <a:lnTo>
                        <a:pt x="524" y="270"/>
                      </a:lnTo>
                      <a:lnTo>
                        <a:pt x="526" y="272"/>
                      </a:lnTo>
                      <a:lnTo>
                        <a:pt x="528" y="273"/>
                      </a:lnTo>
                      <a:lnTo>
                        <a:pt x="530" y="277"/>
                      </a:lnTo>
                      <a:lnTo>
                        <a:pt x="532" y="277"/>
                      </a:lnTo>
                      <a:lnTo>
                        <a:pt x="532" y="277"/>
                      </a:lnTo>
                      <a:lnTo>
                        <a:pt x="532" y="277"/>
                      </a:lnTo>
                      <a:lnTo>
                        <a:pt x="534" y="279"/>
                      </a:lnTo>
                      <a:lnTo>
                        <a:pt x="534" y="277"/>
                      </a:lnTo>
                      <a:lnTo>
                        <a:pt x="534" y="275"/>
                      </a:lnTo>
                      <a:lnTo>
                        <a:pt x="534" y="270"/>
                      </a:lnTo>
                      <a:lnTo>
                        <a:pt x="534" y="266"/>
                      </a:lnTo>
                      <a:lnTo>
                        <a:pt x="534" y="262"/>
                      </a:lnTo>
                      <a:lnTo>
                        <a:pt x="534" y="262"/>
                      </a:lnTo>
                      <a:lnTo>
                        <a:pt x="539" y="262"/>
                      </a:lnTo>
                      <a:lnTo>
                        <a:pt x="545" y="262"/>
                      </a:lnTo>
                      <a:lnTo>
                        <a:pt x="545" y="262"/>
                      </a:lnTo>
                      <a:lnTo>
                        <a:pt x="545" y="268"/>
                      </a:lnTo>
                      <a:lnTo>
                        <a:pt x="545" y="273"/>
                      </a:lnTo>
                      <a:lnTo>
                        <a:pt x="550" y="273"/>
                      </a:lnTo>
                      <a:lnTo>
                        <a:pt x="556" y="273"/>
                      </a:lnTo>
                      <a:lnTo>
                        <a:pt x="556" y="273"/>
                      </a:lnTo>
                      <a:lnTo>
                        <a:pt x="556" y="277"/>
                      </a:lnTo>
                      <a:lnTo>
                        <a:pt x="556" y="279"/>
                      </a:lnTo>
                      <a:lnTo>
                        <a:pt x="558" y="281"/>
                      </a:lnTo>
                      <a:lnTo>
                        <a:pt x="558" y="281"/>
                      </a:lnTo>
                      <a:lnTo>
                        <a:pt x="558" y="283"/>
                      </a:lnTo>
                      <a:lnTo>
                        <a:pt x="558" y="283"/>
                      </a:lnTo>
                      <a:lnTo>
                        <a:pt x="558" y="284"/>
                      </a:lnTo>
                      <a:lnTo>
                        <a:pt x="559" y="284"/>
                      </a:lnTo>
                      <a:lnTo>
                        <a:pt x="561" y="284"/>
                      </a:lnTo>
                      <a:lnTo>
                        <a:pt x="559" y="270"/>
                      </a:lnTo>
                      <a:lnTo>
                        <a:pt x="558" y="255"/>
                      </a:lnTo>
                      <a:lnTo>
                        <a:pt x="556" y="242"/>
                      </a:lnTo>
                      <a:lnTo>
                        <a:pt x="556" y="227"/>
                      </a:lnTo>
                      <a:lnTo>
                        <a:pt x="554" y="212"/>
                      </a:lnTo>
                      <a:lnTo>
                        <a:pt x="552" y="200"/>
                      </a:lnTo>
                      <a:lnTo>
                        <a:pt x="550" y="185"/>
                      </a:lnTo>
                      <a:lnTo>
                        <a:pt x="548" y="170"/>
                      </a:lnTo>
                      <a:lnTo>
                        <a:pt x="547" y="170"/>
                      </a:lnTo>
                      <a:lnTo>
                        <a:pt x="545" y="170"/>
                      </a:lnTo>
                      <a:lnTo>
                        <a:pt x="545" y="172"/>
                      </a:lnTo>
                      <a:lnTo>
                        <a:pt x="545" y="170"/>
                      </a:lnTo>
                      <a:lnTo>
                        <a:pt x="543" y="170"/>
                      </a:lnTo>
                      <a:lnTo>
                        <a:pt x="539" y="168"/>
                      </a:lnTo>
                      <a:lnTo>
                        <a:pt x="534" y="165"/>
                      </a:lnTo>
                      <a:lnTo>
                        <a:pt x="530" y="163"/>
                      </a:lnTo>
                      <a:lnTo>
                        <a:pt x="524" y="159"/>
                      </a:lnTo>
                      <a:lnTo>
                        <a:pt x="524" y="159"/>
                      </a:lnTo>
                      <a:lnTo>
                        <a:pt x="524" y="153"/>
                      </a:lnTo>
                      <a:lnTo>
                        <a:pt x="524" y="148"/>
                      </a:lnTo>
                      <a:lnTo>
                        <a:pt x="519" y="148"/>
                      </a:lnTo>
                      <a:lnTo>
                        <a:pt x="513" y="148"/>
                      </a:lnTo>
                      <a:lnTo>
                        <a:pt x="513" y="150"/>
                      </a:lnTo>
                      <a:lnTo>
                        <a:pt x="511" y="152"/>
                      </a:lnTo>
                      <a:lnTo>
                        <a:pt x="511" y="152"/>
                      </a:lnTo>
                      <a:lnTo>
                        <a:pt x="510" y="150"/>
                      </a:lnTo>
                      <a:lnTo>
                        <a:pt x="508" y="148"/>
                      </a:lnTo>
                      <a:lnTo>
                        <a:pt x="508" y="148"/>
                      </a:lnTo>
                      <a:lnTo>
                        <a:pt x="510" y="146"/>
                      </a:lnTo>
                      <a:lnTo>
                        <a:pt x="510" y="146"/>
                      </a:lnTo>
                      <a:lnTo>
                        <a:pt x="510" y="144"/>
                      </a:lnTo>
                      <a:lnTo>
                        <a:pt x="510" y="141"/>
                      </a:lnTo>
                      <a:lnTo>
                        <a:pt x="510" y="137"/>
                      </a:lnTo>
                      <a:lnTo>
                        <a:pt x="510" y="131"/>
                      </a:lnTo>
                      <a:lnTo>
                        <a:pt x="510" y="128"/>
                      </a:lnTo>
                      <a:lnTo>
                        <a:pt x="506" y="126"/>
                      </a:lnTo>
                      <a:lnTo>
                        <a:pt x="500" y="124"/>
                      </a:lnTo>
                      <a:lnTo>
                        <a:pt x="495" y="122"/>
                      </a:lnTo>
                      <a:lnTo>
                        <a:pt x="489" y="122"/>
                      </a:lnTo>
                      <a:lnTo>
                        <a:pt x="489" y="120"/>
                      </a:lnTo>
                      <a:lnTo>
                        <a:pt x="489" y="117"/>
                      </a:lnTo>
                      <a:lnTo>
                        <a:pt x="489" y="111"/>
                      </a:lnTo>
                      <a:lnTo>
                        <a:pt x="480" y="111"/>
                      </a:lnTo>
                      <a:lnTo>
                        <a:pt x="473" y="111"/>
                      </a:lnTo>
                      <a:lnTo>
                        <a:pt x="463" y="111"/>
                      </a:lnTo>
                      <a:lnTo>
                        <a:pt x="454" y="113"/>
                      </a:lnTo>
                      <a:lnTo>
                        <a:pt x="454" y="111"/>
                      </a:lnTo>
                      <a:lnTo>
                        <a:pt x="452" y="109"/>
                      </a:lnTo>
                      <a:lnTo>
                        <a:pt x="451" y="105"/>
                      </a:lnTo>
                      <a:lnTo>
                        <a:pt x="451" y="105"/>
                      </a:lnTo>
                      <a:lnTo>
                        <a:pt x="452" y="102"/>
                      </a:lnTo>
                      <a:lnTo>
                        <a:pt x="456" y="98"/>
                      </a:lnTo>
                      <a:lnTo>
                        <a:pt x="456" y="94"/>
                      </a:lnTo>
                      <a:lnTo>
                        <a:pt x="456" y="89"/>
                      </a:lnTo>
                      <a:lnTo>
                        <a:pt x="456" y="83"/>
                      </a:lnTo>
                      <a:lnTo>
                        <a:pt x="456" y="78"/>
                      </a:lnTo>
                      <a:lnTo>
                        <a:pt x="452" y="78"/>
                      </a:lnTo>
                      <a:lnTo>
                        <a:pt x="449" y="78"/>
                      </a:lnTo>
                      <a:lnTo>
                        <a:pt x="443" y="78"/>
                      </a:lnTo>
                      <a:lnTo>
                        <a:pt x="439" y="78"/>
                      </a:lnTo>
                      <a:lnTo>
                        <a:pt x="439" y="78"/>
                      </a:lnTo>
                      <a:lnTo>
                        <a:pt x="439" y="74"/>
                      </a:lnTo>
                      <a:lnTo>
                        <a:pt x="439" y="70"/>
                      </a:lnTo>
                      <a:lnTo>
                        <a:pt x="439" y="65"/>
                      </a:lnTo>
                      <a:lnTo>
                        <a:pt x="439" y="63"/>
                      </a:lnTo>
                      <a:lnTo>
                        <a:pt x="432" y="63"/>
                      </a:lnTo>
                      <a:lnTo>
                        <a:pt x="427" y="63"/>
                      </a:lnTo>
                      <a:lnTo>
                        <a:pt x="419" y="63"/>
                      </a:lnTo>
                      <a:lnTo>
                        <a:pt x="412" y="63"/>
                      </a:lnTo>
                      <a:lnTo>
                        <a:pt x="412" y="61"/>
                      </a:lnTo>
                      <a:lnTo>
                        <a:pt x="410" y="59"/>
                      </a:lnTo>
                      <a:lnTo>
                        <a:pt x="408" y="56"/>
                      </a:lnTo>
                      <a:lnTo>
                        <a:pt x="408" y="52"/>
                      </a:lnTo>
                      <a:lnTo>
                        <a:pt x="406" y="50"/>
                      </a:lnTo>
                      <a:lnTo>
                        <a:pt x="404" y="48"/>
                      </a:lnTo>
                      <a:lnTo>
                        <a:pt x="401" y="48"/>
                      </a:lnTo>
                      <a:lnTo>
                        <a:pt x="399" y="46"/>
                      </a:lnTo>
                      <a:lnTo>
                        <a:pt x="395" y="46"/>
                      </a:lnTo>
                      <a:lnTo>
                        <a:pt x="395" y="45"/>
                      </a:lnTo>
                      <a:lnTo>
                        <a:pt x="393" y="37"/>
                      </a:lnTo>
                      <a:lnTo>
                        <a:pt x="393" y="30"/>
                      </a:lnTo>
                      <a:lnTo>
                        <a:pt x="391" y="22"/>
                      </a:lnTo>
                      <a:lnTo>
                        <a:pt x="391" y="22"/>
                      </a:lnTo>
                      <a:lnTo>
                        <a:pt x="391" y="17"/>
                      </a:lnTo>
                      <a:lnTo>
                        <a:pt x="388" y="15"/>
                      </a:lnTo>
                      <a:lnTo>
                        <a:pt x="382" y="15"/>
                      </a:lnTo>
                      <a:lnTo>
                        <a:pt x="379" y="13"/>
                      </a:lnTo>
                      <a:lnTo>
                        <a:pt x="373" y="13"/>
                      </a:lnTo>
                      <a:lnTo>
                        <a:pt x="373" y="13"/>
                      </a:lnTo>
                      <a:lnTo>
                        <a:pt x="371" y="9"/>
                      </a:lnTo>
                      <a:lnTo>
                        <a:pt x="371" y="6"/>
                      </a:lnTo>
                      <a:lnTo>
                        <a:pt x="369" y="2"/>
                      </a:lnTo>
                      <a:lnTo>
                        <a:pt x="367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3" name="Freeform 3017"/>
                <p:cNvSpPr>
                  <a:spLocks/>
                </p:cNvSpPr>
                <p:nvPr/>
              </p:nvSpPr>
              <p:spPr bwMode="auto">
                <a:xfrm>
                  <a:off x="4699" y="1661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4" name="Freeform 3018"/>
                <p:cNvSpPr>
                  <a:spLocks/>
                </p:cNvSpPr>
                <p:nvPr/>
              </p:nvSpPr>
              <p:spPr bwMode="auto">
                <a:xfrm>
                  <a:off x="4699" y="1661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5" name="Freeform 3019"/>
                <p:cNvSpPr>
                  <a:spLocks/>
                </p:cNvSpPr>
                <p:nvPr/>
              </p:nvSpPr>
              <p:spPr bwMode="auto">
                <a:xfrm>
                  <a:off x="4728" y="1209"/>
                  <a:ext cx="8" cy="26"/>
                </a:xfrm>
                <a:custGeom>
                  <a:avLst/>
                  <a:gdLst>
                    <a:gd name="T0" fmla="*/ 8 w 8"/>
                    <a:gd name="T1" fmla="*/ 0 h 26"/>
                    <a:gd name="T2" fmla="*/ 8 w 8"/>
                    <a:gd name="T3" fmla="*/ 0 h 26"/>
                    <a:gd name="T4" fmla="*/ 8 w 8"/>
                    <a:gd name="T5" fmla="*/ 0 h 26"/>
                    <a:gd name="T6" fmla="*/ 4 w 8"/>
                    <a:gd name="T7" fmla="*/ 7 h 26"/>
                    <a:gd name="T8" fmla="*/ 4 w 8"/>
                    <a:gd name="T9" fmla="*/ 13 h 26"/>
                    <a:gd name="T10" fmla="*/ 2 w 8"/>
                    <a:gd name="T11" fmla="*/ 18 h 26"/>
                    <a:gd name="T12" fmla="*/ 0 w 8"/>
                    <a:gd name="T13" fmla="*/ 22 h 26"/>
                    <a:gd name="T14" fmla="*/ 0 w 8"/>
                    <a:gd name="T15" fmla="*/ 26 h 26"/>
                    <a:gd name="T16" fmla="*/ 0 w 8"/>
                    <a:gd name="T17" fmla="*/ 22 h 26"/>
                    <a:gd name="T18" fmla="*/ 2 w 8"/>
                    <a:gd name="T19" fmla="*/ 18 h 26"/>
                    <a:gd name="T20" fmla="*/ 4 w 8"/>
                    <a:gd name="T21" fmla="*/ 13 h 26"/>
                    <a:gd name="T22" fmla="*/ 4 w 8"/>
                    <a:gd name="T23" fmla="*/ 7 h 26"/>
                    <a:gd name="T24" fmla="*/ 8 w 8"/>
                    <a:gd name="T25" fmla="*/ 0 h 26"/>
                    <a:gd name="T26" fmla="*/ 8 w 8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7"/>
                      </a:lnTo>
                      <a:lnTo>
                        <a:pt x="4" y="13"/>
                      </a:lnTo>
                      <a:lnTo>
                        <a:pt x="2" y="18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2" y="18"/>
                      </a:lnTo>
                      <a:lnTo>
                        <a:pt x="4" y="13"/>
                      </a:lnTo>
                      <a:lnTo>
                        <a:pt x="4" y="7"/>
                      </a:lnTo>
                      <a:lnTo>
                        <a:pt x="8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6" name="Freeform 3020"/>
                <p:cNvSpPr>
                  <a:spLocks/>
                </p:cNvSpPr>
                <p:nvPr/>
              </p:nvSpPr>
              <p:spPr bwMode="auto">
                <a:xfrm>
                  <a:off x="4728" y="1209"/>
                  <a:ext cx="8" cy="26"/>
                </a:xfrm>
                <a:custGeom>
                  <a:avLst/>
                  <a:gdLst>
                    <a:gd name="T0" fmla="*/ 8 w 8"/>
                    <a:gd name="T1" fmla="*/ 0 h 26"/>
                    <a:gd name="T2" fmla="*/ 8 w 8"/>
                    <a:gd name="T3" fmla="*/ 0 h 26"/>
                    <a:gd name="T4" fmla="*/ 8 w 8"/>
                    <a:gd name="T5" fmla="*/ 0 h 26"/>
                    <a:gd name="T6" fmla="*/ 4 w 8"/>
                    <a:gd name="T7" fmla="*/ 7 h 26"/>
                    <a:gd name="T8" fmla="*/ 4 w 8"/>
                    <a:gd name="T9" fmla="*/ 13 h 26"/>
                    <a:gd name="T10" fmla="*/ 2 w 8"/>
                    <a:gd name="T11" fmla="*/ 18 h 26"/>
                    <a:gd name="T12" fmla="*/ 0 w 8"/>
                    <a:gd name="T13" fmla="*/ 22 h 26"/>
                    <a:gd name="T14" fmla="*/ 0 w 8"/>
                    <a:gd name="T15" fmla="*/ 26 h 26"/>
                    <a:gd name="T16" fmla="*/ 0 w 8"/>
                    <a:gd name="T17" fmla="*/ 22 h 26"/>
                    <a:gd name="T18" fmla="*/ 2 w 8"/>
                    <a:gd name="T19" fmla="*/ 18 h 26"/>
                    <a:gd name="T20" fmla="*/ 4 w 8"/>
                    <a:gd name="T21" fmla="*/ 13 h 26"/>
                    <a:gd name="T22" fmla="*/ 4 w 8"/>
                    <a:gd name="T23" fmla="*/ 7 h 26"/>
                    <a:gd name="T24" fmla="*/ 8 w 8"/>
                    <a:gd name="T25" fmla="*/ 0 h 26"/>
                    <a:gd name="T26" fmla="*/ 8 w 8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2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7"/>
                      </a:lnTo>
                      <a:lnTo>
                        <a:pt x="4" y="13"/>
                      </a:lnTo>
                      <a:lnTo>
                        <a:pt x="2" y="18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2" y="18"/>
                      </a:lnTo>
                      <a:lnTo>
                        <a:pt x="4" y="13"/>
                      </a:lnTo>
                      <a:lnTo>
                        <a:pt x="4" y="7"/>
                      </a:lnTo>
                      <a:lnTo>
                        <a:pt x="8" y="0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7" name="Freeform 3021"/>
                <p:cNvSpPr>
                  <a:spLocks noEditPoints="1"/>
                </p:cNvSpPr>
                <p:nvPr/>
              </p:nvSpPr>
              <p:spPr bwMode="auto">
                <a:xfrm>
                  <a:off x="4667" y="1395"/>
                  <a:ext cx="74" cy="81"/>
                </a:xfrm>
                <a:custGeom>
                  <a:avLst/>
                  <a:gdLst>
                    <a:gd name="T0" fmla="*/ 2 w 74"/>
                    <a:gd name="T1" fmla="*/ 78 h 81"/>
                    <a:gd name="T2" fmla="*/ 0 w 74"/>
                    <a:gd name="T3" fmla="*/ 80 h 81"/>
                    <a:gd name="T4" fmla="*/ 2 w 74"/>
                    <a:gd name="T5" fmla="*/ 78 h 81"/>
                    <a:gd name="T6" fmla="*/ 6 w 74"/>
                    <a:gd name="T7" fmla="*/ 78 h 81"/>
                    <a:gd name="T8" fmla="*/ 10 w 74"/>
                    <a:gd name="T9" fmla="*/ 80 h 81"/>
                    <a:gd name="T10" fmla="*/ 13 w 74"/>
                    <a:gd name="T11" fmla="*/ 81 h 81"/>
                    <a:gd name="T12" fmla="*/ 19 w 74"/>
                    <a:gd name="T13" fmla="*/ 81 h 81"/>
                    <a:gd name="T14" fmla="*/ 19 w 74"/>
                    <a:gd name="T15" fmla="*/ 81 h 81"/>
                    <a:gd name="T16" fmla="*/ 19 w 74"/>
                    <a:gd name="T17" fmla="*/ 81 h 81"/>
                    <a:gd name="T18" fmla="*/ 13 w 74"/>
                    <a:gd name="T19" fmla="*/ 81 h 81"/>
                    <a:gd name="T20" fmla="*/ 10 w 74"/>
                    <a:gd name="T21" fmla="*/ 80 h 81"/>
                    <a:gd name="T22" fmla="*/ 6 w 74"/>
                    <a:gd name="T23" fmla="*/ 78 h 81"/>
                    <a:gd name="T24" fmla="*/ 2 w 74"/>
                    <a:gd name="T25" fmla="*/ 78 h 81"/>
                    <a:gd name="T26" fmla="*/ 50 w 74"/>
                    <a:gd name="T27" fmla="*/ 0 h 81"/>
                    <a:gd name="T28" fmla="*/ 48 w 74"/>
                    <a:gd name="T29" fmla="*/ 0 h 81"/>
                    <a:gd name="T30" fmla="*/ 47 w 74"/>
                    <a:gd name="T31" fmla="*/ 2 h 81"/>
                    <a:gd name="T32" fmla="*/ 45 w 74"/>
                    <a:gd name="T33" fmla="*/ 2 h 81"/>
                    <a:gd name="T34" fmla="*/ 43 w 74"/>
                    <a:gd name="T35" fmla="*/ 4 h 81"/>
                    <a:gd name="T36" fmla="*/ 39 w 74"/>
                    <a:gd name="T37" fmla="*/ 8 h 81"/>
                    <a:gd name="T38" fmla="*/ 36 w 74"/>
                    <a:gd name="T39" fmla="*/ 9 h 81"/>
                    <a:gd name="T40" fmla="*/ 32 w 74"/>
                    <a:gd name="T41" fmla="*/ 19 h 81"/>
                    <a:gd name="T42" fmla="*/ 26 w 74"/>
                    <a:gd name="T43" fmla="*/ 28 h 81"/>
                    <a:gd name="T44" fmla="*/ 26 w 74"/>
                    <a:gd name="T45" fmla="*/ 28 h 81"/>
                    <a:gd name="T46" fmla="*/ 19 w 74"/>
                    <a:gd name="T47" fmla="*/ 30 h 81"/>
                    <a:gd name="T48" fmla="*/ 13 w 74"/>
                    <a:gd name="T49" fmla="*/ 32 h 81"/>
                    <a:gd name="T50" fmla="*/ 8 w 74"/>
                    <a:gd name="T51" fmla="*/ 32 h 81"/>
                    <a:gd name="T52" fmla="*/ 2 w 74"/>
                    <a:gd name="T53" fmla="*/ 33 h 81"/>
                    <a:gd name="T54" fmla="*/ 2 w 74"/>
                    <a:gd name="T55" fmla="*/ 37 h 81"/>
                    <a:gd name="T56" fmla="*/ 0 w 74"/>
                    <a:gd name="T57" fmla="*/ 41 h 81"/>
                    <a:gd name="T58" fmla="*/ 0 w 74"/>
                    <a:gd name="T59" fmla="*/ 46 h 81"/>
                    <a:gd name="T60" fmla="*/ 0 w 74"/>
                    <a:gd name="T61" fmla="*/ 41 h 81"/>
                    <a:gd name="T62" fmla="*/ 2 w 74"/>
                    <a:gd name="T63" fmla="*/ 37 h 81"/>
                    <a:gd name="T64" fmla="*/ 2 w 74"/>
                    <a:gd name="T65" fmla="*/ 33 h 81"/>
                    <a:gd name="T66" fmla="*/ 8 w 74"/>
                    <a:gd name="T67" fmla="*/ 32 h 81"/>
                    <a:gd name="T68" fmla="*/ 13 w 74"/>
                    <a:gd name="T69" fmla="*/ 32 h 81"/>
                    <a:gd name="T70" fmla="*/ 19 w 74"/>
                    <a:gd name="T71" fmla="*/ 30 h 81"/>
                    <a:gd name="T72" fmla="*/ 26 w 74"/>
                    <a:gd name="T73" fmla="*/ 28 h 81"/>
                    <a:gd name="T74" fmla="*/ 26 w 74"/>
                    <a:gd name="T75" fmla="*/ 28 h 81"/>
                    <a:gd name="T76" fmla="*/ 32 w 74"/>
                    <a:gd name="T77" fmla="*/ 19 h 81"/>
                    <a:gd name="T78" fmla="*/ 36 w 74"/>
                    <a:gd name="T79" fmla="*/ 9 h 81"/>
                    <a:gd name="T80" fmla="*/ 39 w 74"/>
                    <a:gd name="T81" fmla="*/ 8 h 81"/>
                    <a:gd name="T82" fmla="*/ 43 w 74"/>
                    <a:gd name="T83" fmla="*/ 4 h 81"/>
                    <a:gd name="T84" fmla="*/ 45 w 74"/>
                    <a:gd name="T85" fmla="*/ 2 h 81"/>
                    <a:gd name="T86" fmla="*/ 47 w 74"/>
                    <a:gd name="T87" fmla="*/ 2 h 81"/>
                    <a:gd name="T88" fmla="*/ 48 w 74"/>
                    <a:gd name="T89" fmla="*/ 0 h 81"/>
                    <a:gd name="T90" fmla="*/ 50 w 74"/>
                    <a:gd name="T91" fmla="*/ 0 h 81"/>
                    <a:gd name="T92" fmla="*/ 50 w 74"/>
                    <a:gd name="T93" fmla="*/ 6 h 81"/>
                    <a:gd name="T94" fmla="*/ 50 w 74"/>
                    <a:gd name="T95" fmla="*/ 9 h 81"/>
                    <a:gd name="T96" fmla="*/ 50 w 74"/>
                    <a:gd name="T97" fmla="*/ 11 h 81"/>
                    <a:gd name="T98" fmla="*/ 56 w 74"/>
                    <a:gd name="T99" fmla="*/ 11 h 81"/>
                    <a:gd name="T100" fmla="*/ 63 w 74"/>
                    <a:gd name="T101" fmla="*/ 13 h 81"/>
                    <a:gd name="T102" fmla="*/ 67 w 74"/>
                    <a:gd name="T103" fmla="*/ 15 h 81"/>
                    <a:gd name="T104" fmla="*/ 72 w 74"/>
                    <a:gd name="T105" fmla="*/ 17 h 81"/>
                    <a:gd name="T106" fmla="*/ 74 w 74"/>
                    <a:gd name="T107" fmla="*/ 17 h 81"/>
                    <a:gd name="T108" fmla="*/ 72 w 74"/>
                    <a:gd name="T109" fmla="*/ 17 h 81"/>
                    <a:gd name="T110" fmla="*/ 67 w 74"/>
                    <a:gd name="T111" fmla="*/ 15 h 81"/>
                    <a:gd name="T112" fmla="*/ 63 w 74"/>
                    <a:gd name="T113" fmla="*/ 13 h 81"/>
                    <a:gd name="T114" fmla="*/ 56 w 74"/>
                    <a:gd name="T115" fmla="*/ 11 h 81"/>
                    <a:gd name="T116" fmla="*/ 50 w 74"/>
                    <a:gd name="T117" fmla="*/ 11 h 81"/>
                    <a:gd name="T118" fmla="*/ 50 w 74"/>
                    <a:gd name="T119" fmla="*/ 9 h 81"/>
                    <a:gd name="T120" fmla="*/ 50 w 74"/>
                    <a:gd name="T121" fmla="*/ 6 h 81"/>
                    <a:gd name="T122" fmla="*/ 50 w 74"/>
                    <a:gd name="T123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4" h="81">
                      <a:moveTo>
                        <a:pt x="2" y="78"/>
                      </a:moveTo>
                      <a:lnTo>
                        <a:pt x="0" y="80"/>
                      </a:lnTo>
                      <a:lnTo>
                        <a:pt x="2" y="78"/>
                      </a:lnTo>
                      <a:lnTo>
                        <a:pt x="6" y="78"/>
                      </a:lnTo>
                      <a:lnTo>
                        <a:pt x="10" y="80"/>
                      </a:lnTo>
                      <a:lnTo>
                        <a:pt x="13" y="81"/>
                      </a:lnTo>
                      <a:lnTo>
                        <a:pt x="19" y="81"/>
                      </a:lnTo>
                      <a:lnTo>
                        <a:pt x="19" y="81"/>
                      </a:lnTo>
                      <a:lnTo>
                        <a:pt x="19" y="81"/>
                      </a:lnTo>
                      <a:lnTo>
                        <a:pt x="13" y="81"/>
                      </a:lnTo>
                      <a:lnTo>
                        <a:pt x="10" y="80"/>
                      </a:lnTo>
                      <a:lnTo>
                        <a:pt x="6" y="78"/>
                      </a:lnTo>
                      <a:lnTo>
                        <a:pt x="2" y="78"/>
                      </a:lnTo>
                      <a:close/>
                      <a:moveTo>
                        <a:pt x="50" y="0"/>
                      </a:moveTo>
                      <a:lnTo>
                        <a:pt x="48" y="0"/>
                      </a:lnTo>
                      <a:lnTo>
                        <a:pt x="47" y="2"/>
                      </a:lnTo>
                      <a:lnTo>
                        <a:pt x="45" y="2"/>
                      </a:lnTo>
                      <a:lnTo>
                        <a:pt x="43" y="4"/>
                      </a:lnTo>
                      <a:lnTo>
                        <a:pt x="39" y="8"/>
                      </a:lnTo>
                      <a:lnTo>
                        <a:pt x="36" y="9"/>
                      </a:lnTo>
                      <a:lnTo>
                        <a:pt x="32" y="19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19" y="30"/>
                      </a:lnTo>
                      <a:lnTo>
                        <a:pt x="13" y="32"/>
                      </a:lnTo>
                      <a:lnTo>
                        <a:pt x="8" y="32"/>
                      </a:lnTo>
                      <a:lnTo>
                        <a:pt x="2" y="33"/>
                      </a:lnTo>
                      <a:lnTo>
                        <a:pt x="2" y="37"/>
                      </a:lnTo>
                      <a:lnTo>
                        <a:pt x="0" y="41"/>
                      </a:lnTo>
                      <a:lnTo>
                        <a:pt x="0" y="46"/>
                      </a:lnTo>
                      <a:lnTo>
                        <a:pt x="0" y="41"/>
                      </a:lnTo>
                      <a:lnTo>
                        <a:pt x="2" y="37"/>
                      </a:lnTo>
                      <a:lnTo>
                        <a:pt x="2" y="33"/>
                      </a:lnTo>
                      <a:lnTo>
                        <a:pt x="8" y="32"/>
                      </a:lnTo>
                      <a:lnTo>
                        <a:pt x="13" y="32"/>
                      </a:lnTo>
                      <a:lnTo>
                        <a:pt x="19" y="30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32" y="19"/>
                      </a:lnTo>
                      <a:lnTo>
                        <a:pt x="36" y="9"/>
                      </a:lnTo>
                      <a:lnTo>
                        <a:pt x="39" y="8"/>
                      </a:lnTo>
                      <a:lnTo>
                        <a:pt x="43" y="4"/>
                      </a:lnTo>
                      <a:lnTo>
                        <a:pt x="45" y="2"/>
                      </a:lnTo>
                      <a:lnTo>
                        <a:pt x="47" y="2"/>
                      </a:lnTo>
                      <a:lnTo>
                        <a:pt x="48" y="0"/>
                      </a:lnTo>
                      <a:lnTo>
                        <a:pt x="50" y="0"/>
                      </a:lnTo>
                      <a:lnTo>
                        <a:pt x="50" y="6"/>
                      </a:lnTo>
                      <a:lnTo>
                        <a:pt x="50" y="9"/>
                      </a:lnTo>
                      <a:lnTo>
                        <a:pt x="50" y="11"/>
                      </a:lnTo>
                      <a:lnTo>
                        <a:pt x="56" y="11"/>
                      </a:lnTo>
                      <a:lnTo>
                        <a:pt x="63" y="13"/>
                      </a:lnTo>
                      <a:lnTo>
                        <a:pt x="67" y="15"/>
                      </a:lnTo>
                      <a:lnTo>
                        <a:pt x="72" y="17"/>
                      </a:lnTo>
                      <a:lnTo>
                        <a:pt x="74" y="17"/>
                      </a:lnTo>
                      <a:lnTo>
                        <a:pt x="72" y="17"/>
                      </a:lnTo>
                      <a:lnTo>
                        <a:pt x="67" y="15"/>
                      </a:lnTo>
                      <a:lnTo>
                        <a:pt x="63" y="13"/>
                      </a:lnTo>
                      <a:lnTo>
                        <a:pt x="56" y="11"/>
                      </a:lnTo>
                      <a:lnTo>
                        <a:pt x="50" y="11"/>
                      </a:lnTo>
                      <a:lnTo>
                        <a:pt x="50" y="9"/>
                      </a:lnTo>
                      <a:lnTo>
                        <a:pt x="50" y="6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8" name="Freeform 3022"/>
                <p:cNvSpPr>
                  <a:spLocks/>
                </p:cNvSpPr>
                <p:nvPr/>
              </p:nvSpPr>
              <p:spPr bwMode="auto">
                <a:xfrm>
                  <a:off x="4667" y="1473"/>
                  <a:ext cx="19" cy="3"/>
                </a:xfrm>
                <a:custGeom>
                  <a:avLst/>
                  <a:gdLst>
                    <a:gd name="T0" fmla="*/ 2 w 19"/>
                    <a:gd name="T1" fmla="*/ 0 h 3"/>
                    <a:gd name="T2" fmla="*/ 0 w 19"/>
                    <a:gd name="T3" fmla="*/ 2 h 3"/>
                    <a:gd name="T4" fmla="*/ 2 w 19"/>
                    <a:gd name="T5" fmla="*/ 0 h 3"/>
                    <a:gd name="T6" fmla="*/ 6 w 19"/>
                    <a:gd name="T7" fmla="*/ 0 h 3"/>
                    <a:gd name="T8" fmla="*/ 10 w 19"/>
                    <a:gd name="T9" fmla="*/ 2 h 3"/>
                    <a:gd name="T10" fmla="*/ 13 w 19"/>
                    <a:gd name="T11" fmla="*/ 3 h 3"/>
                    <a:gd name="T12" fmla="*/ 19 w 19"/>
                    <a:gd name="T13" fmla="*/ 3 h 3"/>
                    <a:gd name="T14" fmla="*/ 19 w 19"/>
                    <a:gd name="T15" fmla="*/ 3 h 3"/>
                    <a:gd name="T16" fmla="*/ 19 w 19"/>
                    <a:gd name="T17" fmla="*/ 3 h 3"/>
                    <a:gd name="T18" fmla="*/ 13 w 19"/>
                    <a:gd name="T19" fmla="*/ 3 h 3"/>
                    <a:gd name="T20" fmla="*/ 10 w 19"/>
                    <a:gd name="T21" fmla="*/ 2 h 3"/>
                    <a:gd name="T22" fmla="*/ 6 w 19"/>
                    <a:gd name="T23" fmla="*/ 0 h 3"/>
                    <a:gd name="T24" fmla="*/ 2 w 19"/>
                    <a:gd name="T2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9" h="3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10" y="2"/>
                      </a:lnTo>
                      <a:lnTo>
                        <a:pt x="13" y="3"/>
                      </a:lnTo>
                      <a:lnTo>
                        <a:pt x="19" y="3"/>
                      </a:lnTo>
                      <a:lnTo>
                        <a:pt x="19" y="3"/>
                      </a:lnTo>
                      <a:lnTo>
                        <a:pt x="19" y="3"/>
                      </a:lnTo>
                      <a:lnTo>
                        <a:pt x="13" y="3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09" name="Freeform 3023"/>
                <p:cNvSpPr>
                  <a:spLocks/>
                </p:cNvSpPr>
                <p:nvPr/>
              </p:nvSpPr>
              <p:spPr bwMode="auto">
                <a:xfrm>
                  <a:off x="4667" y="1395"/>
                  <a:ext cx="74" cy="46"/>
                </a:xfrm>
                <a:custGeom>
                  <a:avLst/>
                  <a:gdLst>
                    <a:gd name="T0" fmla="*/ 50 w 74"/>
                    <a:gd name="T1" fmla="*/ 0 h 46"/>
                    <a:gd name="T2" fmla="*/ 48 w 74"/>
                    <a:gd name="T3" fmla="*/ 0 h 46"/>
                    <a:gd name="T4" fmla="*/ 47 w 74"/>
                    <a:gd name="T5" fmla="*/ 2 h 46"/>
                    <a:gd name="T6" fmla="*/ 45 w 74"/>
                    <a:gd name="T7" fmla="*/ 2 h 46"/>
                    <a:gd name="T8" fmla="*/ 43 w 74"/>
                    <a:gd name="T9" fmla="*/ 4 h 46"/>
                    <a:gd name="T10" fmla="*/ 39 w 74"/>
                    <a:gd name="T11" fmla="*/ 8 h 46"/>
                    <a:gd name="T12" fmla="*/ 36 w 74"/>
                    <a:gd name="T13" fmla="*/ 9 h 46"/>
                    <a:gd name="T14" fmla="*/ 32 w 74"/>
                    <a:gd name="T15" fmla="*/ 19 h 46"/>
                    <a:gd name="T16" fmla="*/ 26 w 74"/>
                    <a:gd name="T17" fmla="*/ 28 h 46"/>
                    <a:gd name="T18" fmla="*/ 26 w 74"/>
                    <a:gd name="T19" fmla="*/ 28 h 46"/>
                    <a:gd name="T20" fmla="*/ 19 w 74"/>
                    <a:gd name="T21" fmla="*/ 30 h 46"/>
                    <a:gd name="T22" fmla="*/ 13 w 74"/>
                    <a:gd name="T23" fmla="*/ 32 h 46"/>
                    <a:gd name="T24" fmla="*/ 8 w 74"/>
                    <a:gd name="T25" fmla="*/ 32 h 46"/>
                    <a:gd name="T26" fmla="*/ 2 w 74"/>
                    <a:gd name="T27" fmla="*/ 33 h 46"/>
                    <a:gd name="T28" fmla="*/ 2 w 74"/>
                    <a:gd name="T29" fmla="*/ 37 h 46"/>
                    <a:gd name="T30" fmla="*/ 0 w 74"/>
                    <a:gd name="T31" fmla="*/ 41 h 46"/>
                    <a:gd name="T32" fmla="*/ 0 w 74"/>
                    <a:gd name="T33" fmla="*/ 46 h 46"/>
                    <a:gd name="T34" fmla="*/ 0 w 74"/>
                    <a:gd name="T35" fmla="*/ 41 h 46"/>
                    <a:gd name="T36" fmla="*/ 2 w 74"/>
                    <a:gd name="T37" fmla="*/ 37 h 46"/>
                    <a:gd name="T38" fmla="*/ 2 w 74"/>
                    <a:gd name="T39" fmla="*/ 33 h 46"/>
                    <a:gd name="T40" fmla="*/ 8 w 74"/>
                    <a:gd name="T41" fmla="*/ 32 h 46"/>
                    <a:gd name="T42" fmla="*/ 13 w 74"/>
                    <a:gd name="T43" fmla="*/ 32 h 46"/>
                    <a:gd name="T44" fmla="*/ 19 w 74"/>
                    <a:gd name="T45" fmla="*/ 30 h 46"/>
                    <a:gd name="T46" fmla="*/ 26 w 74"/>
                    <a:gd name="T47" fmla="*/ 28 h 46"/>
                    <a:gd name="T48" fmla="*/ 26 w 74"/>
                    <a:gd name="T49" fmla="*/ 28 h 46"/>
                    <a:gd name="T50" fmla="*/ 32 w 74"/>
                    <a:gd name="T51" fmla="*/ 19 h 46"/>
                    <a:gd name="T52" fmla="*/ 36 w 74"/>
                    <a:gd name="T53" fmla="*/ 9 h 46"/>
                    <a:gd name="T54" fmla="*/ 39 w 74"/>
                    <a:gd name="T55" fmla="*/ 8 h 46"/>
                    <a:gd name="T56" fmla="*/ 43 w 74"/>
                    <a:gd name="T57" fmla="*/ 4 h 46"/>
                    <a:gd name="T58" fmla="*/ 45 w 74"/>
                    <a:gd name="T59" fmla="*/ 2 h 46"/>
                    <a:gd name="T60" fmla="*/ 47 w 74"/>
                    <a:gd name="T61" fmla="*/ 2 h 46"/>
                    <a:gd name="T62" fmla="*/ 48 w 74"/>
                    <a:gd name="T63" fmla="*/ 0 h 46"/>
                    <a:gd name="T64" fmla="*/ 50 w 74"/>
                    <a:gd name="T65" fmla="*/ 0 h 46"/>
                    <a:gd name="T66" fmla="*/ 50 w 74"/>
                    <a:gd name="T67" fmla="*/ 6 h 46"/>
                    <a:gd name="T68" fmla="*/ 50 w 74"/>
                    <a:gd name="T69" fmla="*/ 9 h 46"/>
                    <a:gd name="T70" fmla="*/ 50 w 74"/>
                    <a:gd name="T71" fmla="*/ 11 h 46"/>
                    <a:gd name="T72" fmla="*/ 56 w 74"/>
                    <a:gd name="T73" fmla="*/ 11 h 46"/>
                    <a:gd name="T74" fmla="*/ 63 w 74"/>
                    <a:gd name="T75" fmla="*/ 13 h 46"/>
                    <a:gd name="T76" fmla="*/ 67 w 74"/>
                    <a:gd name="T77" fmla="*/ 15 h 46"/>
                    <a:gd name="T78" fmla="*/ 72 w 74"/>
                    <a:gd name="T79" fmla="*/ 17 h 46"/>
                    <a:gd name="T80" fmla="*/ 74 w 74"/>
                    <a:gd name="T81" fmla="*/ 17 h 46"/>
                    <a:gd name="T82" fmla="*/ 72 w 74"/>
                    <a:gd name="T83" fmla="*/ 17 h 46"/>
                    <a:gd name="T84" fmla="*/ 67 w 74"/>
                    <a:gd name="T85" fmla="*/ 15 h 46"/>
                    <a:gd name="T86" fmla="*/ 63 w 74"/>
                    <a:gd name="T87" fmla="*/ 13 h 46"/>
                    <a:gd name="T88" fmla="*/ 56 w 74"/>
                    <a:gd name="T89" fmla="*/ 11 h 46"/>
                    <a:gd name="T90" fmla="*/ 50 w 74"/>
                    <a:gd name="T91" fmla="*/ 11 h 46"/>
                    <a:gd name="T92" fmla="*/ 50 w 74"/>
                    <a:gd name="T93" fmla="*/ 9 h 46"/>
                    <a:gd name="T94" fmla="*/ 50 w 74"/>
                    <a:gd name="T95" fmla="*/ 6 h 46"/>
                    <a:gd name="T96" fmla="*/ 50 w 74"/>
                    <a:gd name="T9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4" h="46">
                      <a:moveTo>
                        <a:pt x="50" y="0"/>
                      </a:moveTo>
                      <a:lnTo>
                        <a:pt x="48" y="0"/>
                      </a:lnTo>
                      <a:lnTo>
                        <a:pt x="47" y="2"/>
                      </a:lnTo>
                      <a:lnTo>
                        <a:pt x="45" y="2"/>
                      </a:lnTo>
                      <a:lnTo>
                        <a:pt x="43" y="4"/>
                      </a:lnTo>
                      <a:lnTo>
                        <a:pt x="39" y="8"/>
                      </a:lnTo>
                      <a:lnTo>
                        <a:pt x="36" y="9"/>
                      </a:lnTo>
                      <a:lnTo>
                        <a:pt x="32" y="19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19" y="30"/>
                      </a:lnTo>
                      <a:lnTo>
                        <a:pt x="13" y="32"/>
                      </a:lnTo>
                      <a:lnTo>
                        <a:pt x="8" y="32"/>
                      </a:lnTo>
                      <a:lnTo>
                        <a:pt x="2" y="33"/>
                      </a:lnTo>
                      <a:lnTo>
                        <a:pt x="2" y="37"/>
                      </a:lnTo>
                      <a:lnTo>
                        <a:pt x="0" y="41"/>
                      </a:lnTo>
                      <a:lnTo>
                        <a:pt x="0" y="46"/>
                      </a:lnTo>
                      <a:lnTo>
                        <a:pt x="0" y="41"/>
                      </a:lnTo>
                      <a:lnTo>
                        <a:pt x="2" y="37"/>
                      </a:lnTo>
                      <a:lnTo>
                        <a:pt x="2" y="33"/>
                      </a:lnTo>
                      <a:lnTo>
                        <a:pt x="8" y="32"/>
                      </a:lnTo>
                      <a:lnTo>
                        <a:pt x="13" y="32"/>
                      </a:lnTo>
                      <a:lnTo>
                        <a:pt x="19" y="30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32" y="19"/>
                      </a:lnTo>
                      <a:lnTo>
                        <a:pt x="36" y="9"/>
                      </a:lnTo>
                      <a:lnTo>
                        <a:pt x="39" y="8"/>
                      </a:lnTo>
                      <a:lnTo>
                        <a:pt x="43" y="4"/>
                      </a:lnTo>
                      <a:lnTo>
                        <a:pt x="45" y="2"/>
                      </a:lnTo>
                      <a:lnTo>
                        <a:pt x="47" y="2"/>
                      </a:lnTo>
                      <a:lnTo>
                        <a:pt x="48" y="0"/>
                      </a:lnTo>
                      <a:lnTo>
                        <a:pt x="50" y="0"/>
                      </a:lnTo>
                      <a:lnTo>
                        <a:pt x="50" y="6"/>
                      </a:lnTo>
                      <a:lnTo>
                        <a:pt x="50" y="9"/>
                      </a:lnTo>
                      <a:lnTo>
                        <a:pt x="50" y="11"/>
                      </a:lnTo>
                      <a:lnTo>
                        <a:pt x="56" y="11"/>
                      </a:lnTo>
                      <a:lnTo>
                        <a:pt x="63" y="13"/>
                      </a:lnTo>
                      <a:lnTo>
                        <a:pt x="67" y="15"/>
                      </a:lnTo>
                      <a:lnTo>
                        <a:pt x="72" y="17"/>
                      </a:lnTo>
                      <a:lnTo>
                        <a:pt x="74" y="17"/>
                      </a:lnTo>
                      <a:lnTo>
                        <a:pt x="72" y="17"/>
                      </a:lnTo>
                      <a:lnTo>
                        <a:pt x="67" y="15"/>
                      </a:lnTo>
                      <a:lnTo>
                        <a:pt x="63" y="13"/>
                      </a:lnTo>
                      <a:lnTo>
                        <a:pt x="56" y="11"/>
                      </a:lnTo>
                      <a:lnTo>
                        <a:pt x="50" y="11"/>
                      </a:lnTo>
                      <a:lnTo>
                        <a:pt x="50" y="9"/>
                      </a:lnTo>
                      <a:lnTo>
                        <a:pt x="50" y="6"/>
                      </a:lnTo>
                      <a:lnTo>
                        <a:pt x="5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0" name="Freeform 3024"/>
                <p:cNvSpPr>
                  <a:spLocks/>
                </p:cNvSpPr>
                <p:nvPr/>
              </p:nvSpPr>
              <p:spPr bwMode="auto">
                <a:xfrm>
                  <a:off x="4806" y="1074"/>
                  <a:ext cx="170" cy="37"/>
                </a:xfrm>
                <a:custGeom>
                  <a:avLst/>
                  <a:gdLst>
                    <a:gd name="T0" fmla="*/ 170 w 170"/>
                    <a:gd name="T1" fmla="*/ 0 h 37"/>
                    <a:gd name="T2" fmla="*/ 164 w 170"/>
                    <a:gd name="T3" fmla="*/ 4 h 37"/>
                    <a:gd name="T4" fmla="*/ 160 w 170"/>
                    <a:gd name="T5" fmla="*/ 6 h 37"/>
                    <a:gd name="T6" fmla="*/ 155 w 170"/>
                    <a:gd name="T7" fmla="*/ 7 h 37"/>
                    <a:gd name="T8" fmla="*/ 149 w 170"/>
                    <a:gd name="T9" fmla="*/ 11 h 37"/>
                    <a:gd name="T10" fmla="*/ 144 w 170"/>
                    <a:gd name="T11" fmla="*/ 13 h 37"/>
                    <a:gd name="T12" fmla="*/ 133 w 170"/>
                    <a:gd name="T13" fmla="*/ 17 h 37"/>
                    <a:gd name="T14" fmla="*/ 120 w 170"/>
                    <a:gd name="T15" fmla="*/ 20 h 37"/>
                    <a:gd name="T16" fmla="*/ 107 w 170"/>
                    <a:gd name="T17" fmla="*/ 24 h 37"/>
                    <a:gd name="T18" fmla="*/ 94 w 170"/>
                    <a:gd name="T19" fmla="*/ 26 h 37"/>
                    <a:gd name="T20" fmla="*/ 83 w 170"/>
                    <a:gd name="T21" fmla="*/ 28 h 37"/>
                    <a:gd name="T22" fmla="*/ 70 w 170"/>
                    <a:gd name="T23" fmla="*/ 31 h 37"/>
                    <a:gd name="T24" fmla="*/ 50 w 170"/>
                    <a:gd name="T25" fmla="*/ 33 h 37"/>
                    <a:gd name="T26" fmla="*/ 31 w 170"/>
                    <a:gd name="T27" fmla="*/ 37 h 37"/>
                    <a:gd name="T28" fmla="*/ 31 w 170"/>
                    <a:gd name="T29" fmla="*/ 37 h 37"/>
                    <a:gd name="T30" fmla="*/ 29 w 170"/>
                    <a:gd name="T31" fmla="*/ 30 h 37"/>
                    <a:gd name="T32" fmla="*/ 28 w 170"/>
                    <a:gd name="T33" fmla="*/ 22 h 37"/>
                    <a:gd name="T34" fmla="*/ 28 w 170"/>
                    <a:gd name="T35" fmla="*/ 15 h 37"/>
                    <a:gd name="T36" fmla="*/ 26 w 170"/>
                    <a:gd name="T37" fmla="*/ 9 h 37"/>
                    <a:gd name="T38" fmla="*/ 20 w 170"/>
                    <a:gd name="T39" fmla="*/ 13 h 37"/>
                    <a:gd name="T40" fmla="*/ 13 w 170"/>
                    <a:gd name="T41" fmla="*/ 15 h 37"/>
                    <a:gd name="T42" fmla="*/ 5 w 170"/>
                    <a:gd name="T43" fmla="*/ 19 h 37"/>
                    <a:gd name="T44" fmla="*/ 0 w 170"/>
                    <a:gd name="T45" fmla="*/ 20 h 37"/>
                    <a:gd name="T46" fmla="*/ 0 w 170"/>
                    <a:gd name="T47" fmla="*/ 20 h 37"/>
                    <a:gd name="T48" fmla="*/ 5 w 170"/>
                    <a:gd name="T49" fmla="*/ 19 h 37"/>
                    <a:gd name="T50" fmla="*/ 13 w 170"/>
                    <a:gd name="T51" fmla="*/ 15 h 37"/>
                    <a:gd name="T52" fmla="*/ 20 w 170"/>
                    <a:gd name="T53" fmla="*/ 13 h 37"/>
                    <a:gd name="T54" fmla="*/ 26 w 170"/>
                    <a:gd name="T55" fmla="*/ 9 h 37"/>
                    <a:gd name="T56" fmla="*/ 28 w 170"/>
                    <a:gd name="T57" fmla="*/ 15 h 37"/>
                    <a:gd name="T58" fmla="*/ 28 w 170"/>
                    <a:gd name="T59" fmla="*/ 22 h 37"/>
                    <a:gd name="T60" fmla="*/ 29 w 170"/>
                    <a:gd name="T61" fmla="*/ 30 h 37"/>
                    <a:gd name="T62" fmla="*/ 31 w 170"/>
                    <a:gd name="T63" fmla="*/ 37 h 37"/>
                    <a:gd name="T64" fmla="*/ 31 w 170"/>
                    <a:gd name="T65" fmla="*/ 37 h 37"/>
                    <a:gd name="T66" fmla="*/ 50 w 170"/>
                    <a:gd name="T67" fmla="*/ 33 h 37"/>
                    <a:gd name="T68" fmla="*/ 70 w 170"/>
                    <a:gd name="T69" fmla="*/ 31 h 37"/>
                    <a:gd name="T70" fmla="*/ 83 w 170"/>
                    <a:gd name="T71" fmla="*/ 28 h 37"/>
                    <a:gd name="T72" fmla="*/ 94 w 170"/>
                    <a:gd name="T73" fmla="*/ 26 h 37"/>
                    <a:gd name="T74" fmla="*/ 107 w 170"/>
                    <a:gd name="T75" fmla="*/ 24 h 37"/>
                    <a:gd name="T76" fmla="*/ 120 w 170"/>
                    <a:gd name="T77" fmla="*/ 20 h 37"/>
                    <a:gd name="T78" fmla="*/ 133 w 170"/>
                    <a:gd name="T79" fmla="*/ 17 h 37"/>
                    <a:gd name="T80" fmla="*/ 144 w 170"/>
                    <a:gd name="T81" fmla="*/ 13 h 37"/>
                    <a:gd name="T82" fmla="*/ 149 w 170"/>
                    <a:gd name="T83" fmla="*/ 11 h 37"/>
                    <a:gd name="T84" fmla="*/ 155 w 170"/>
                    <a:gd name="T85" fmla="*/ 7 h 37"/>
                    <a:gd name="T86" fmla="*/ 160 w 170"/>
                    <a:gd name="T87" fmla="*/ 6 h 37"/>
                    <a:gd name="T88" fmla="*/ 164 w 170"/>
                    <a:gd name="T89" fmla="*/ 4 h 37"/>
                    <a:gd name="T90" fmla="*/ 170 w 170"/>
                    <a:gd name="T9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0" h="37">
                      <a:moveTo>
                        <a:pt x="170" y="0"/>
                      </a:moveTo>
                      <a:lnTo>
                        <a:pt x="164" y="4"/>
                      </a:lnTo>
                      <a:lnTo>
                        <a:pt x="160" y="6"/>
                      </a:lnTo>
                      <a:lnTo>
                        <a:pt x="155" y="7"/>
                      </a:lnTo>
                      <a:lnTo>
                        <a:pt x="149" y="11"/>
                      </a:lnTo>
                      <a:lnTo>
                        <a:pt x="144" y="13"/>
                      </a:lnTo>
                      <a:lnTo>
                        <a:pt x="133" y="17"/>
                      </a:lnTo>
                      <a:lnTo>
                        <a:pt x="120" y="20"/>
                      </a:lnTo>
                      <a:lnTo>
                        <a:pt x="107" y="24"/>
                      </a:lnTo>
                      <a:lnTo>
                        <a:pt x="94" y="26"/>
                      </a:lnTo>
                      <a:lnTo>
                        <a:pt x="83" y="28"/>
                      </a:lnTo>
                      <a:lnTo>
                        <a:pt x="70" y="31"/>
                      </a:lnTo>
                      <a:lnTo>
                        <a:pt x="50" y="33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29" y="30"/>
                      </a:lnTo>
                      <a:lnTo>
                        <a:pt x="28" y="22"/>
                      </a:lnTo>
                      <a:lnTo>
                        <a:pt x="28" y="15"/>
                      </a:lnTo>
                      <a:lnTo>
                        <a:pt x="26" y="9"/>
                      </a:lnTo>
                      <a:lnTo>
                        <a:pt x="20" y="13"/>
                      </a:lnTo>
                      <a:lnTo>
                        <a:pt x="13" y="15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5" y="19"/>
                      </a:lnTo>
                      <a:lnTo>
                        <a:pt x="13" y="15"/>
                      </a:lnTo>
                      <a:lnTo>
                        <a:pt x="20" y="13"/>
                      </a:lnTo>
                      <a:lnTo>
                        <a:pt x="26" y="9"/>
                      </a:lnTo>
                      <a:lnTo>
                        <a:pt x="28" y="15"/>
                      </a:lnTo>
                      <a:lnTo>
                        <a:pt x="28" y="22"/>
                      </a:lnTo>
                      <a:lnTo>
                        <a:pt x="29" y="30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50" y="33"/>
                      </a:lnTo>
                      <a:lnTo>
                        <a:pt x="70" y="31"/>
                      </a:lnTo>
                      <a:lnTo>
                        <a:pt x="83" y="28"/>
                      </a:lnTo>
                      <a:lnTo>
                        <a:pt x="94" y="26"/>
                      </a:lnTo>
                      <a:lnTo>
                        <a:pt x="107" y="24"/>
                      </a:lnTo>
                      <a:lnTo>
                        <a:pt x="120" y="20"/>
                      </a:lnTo>
                      <a:lnTo>
                        <a:pt x="133" y="17"/>
                      </a:lnTo>
                      <a:lnTo>
                        <a:pt x="144" y="13"/>
                      </a:lnTo>
                      <a:lnTo>
                        <a:pt x="149" y="11"/>
                      </a:lnTo>
                      <a:lnTo>
                        <a:pt x="155" y="7"/>
                      </a:lnTo>
                      <a:lnTo>
                        <a:pt x="160" y="6"/>
                      </a:lnTo>
                      <a:lnTo>
                        <a:pt x="164" y="4"/>
                      </a:lnTo>
                      <a:lnTo>
                        <a:pt x="17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1" name="Freeform 3025"/>
                <p:cNvSpPr>
                  <a:spLocks/>
                </p:cNvSpPr>
                <p:nvPr/>
              </p:nvSpPr>
              <p:spPr bwMode="auto">
                <a:xfrm>
                  <a:off x="4806" y="1074"/>
                  <a:ext cx="170" cy="37"/>
                </a:xfrm>
                <a:custGeom>
                  <a:avLst/>
                  <a:gdLst>
                    <a:gd name="T0" fmla="*/ 170 w 170"/>
                    <a:gd name="T1" fmla="*/ 0 h 37"/>
                    <a:gd name="T2" fmla="*/ 164 w 170"/>
                    <a:gd name="T3" fmla="*/ 4 h 37"/>
                    <a:gd name="T4" fmla="*/ 160 w 170"/>
                    <a:gd name="T5" fmla="*/ 6 h 37"/>
                    <a:gd name="T6" fmla="*/ 155 w 170"/>
                    <a:gd name="T7" fmla="*/ 7 h 37"/>
                    <a:gd name="T8" fmla="*/ 149 w 170"/>
                    <a:gd name="T9" fmla="*/ 11 h 37"/>
                    <a:gd name="T10" fmla="*/ 144 w 170"/>
                    <a:gd name="T11" fmla="*/ 13 h 37"/>
                    <a:gd name="T12" fmla="*/ 133 w 170"/>
                    <a:gd name="T13" fmla="*/ 17 h 37"/>
                    <a:gd name="T14" fmla="*/ 120 w 170"/>
                    <a:gd name="T15" fmla="*/ 20 h 37"/>
                    <a:gd name="T16" fmla="*/ 107 w 170"/>
                    <a:gd name="T17" fmla="*/ 24 h 37"/>
                    <a:gd name="T18" fmla="*/ 94 w 170"/>
                    <a:gd name="T19" fmla="*/ 26 h 37"/>
                    <a:gd name="T20" fmla="*/ 83 w 170"/>
                    <a:gd name="T21" fmla="*/ 28 h 37"/>
                    <a:gd name="T22" fmla="*/ 70 w 170"/>
                    <a:gd name="T23" fmla="*/ 31 h 37"/>
                    <a:gd name="T24" fmla="*/ 50 w 170"/>
                    <a:gd name="T25" fmla="*/ 33 h 37"/>
                    <a:gd name="T26" fmla="*/ 31 w 170"/>
                    <a:gd name="T27" fmla="*/ 37 h 37"/>
                    <a:gd name="T28" fmla="*/ 31 w 170"/>
                    <a:gd name="T29" fmla="*/ 37 h 37"/>
                    <a:gd name="T30" fmla="*/ 29 w 170"/>
                    <a:gd name="T31" fmla="*/ 30 h 37"/>
                    <a:gd name="T32" fmla="*/ 28 w 170"/>
                    <a:gd name="T33" fmla="*/ 22 h 37"/>
                    <a:gd name="T34" fmla="*/ 28 w 170"/>
                    <a:gd name="T35" fmla="*/ 15 h 37"/>
                    <a:gd name="T36" fmla="*/ 26 w 170"/>
                    <a:gd name="T37" fmla="*/ 9 h 37"/>
                    <a:gd name="T38" fmla="*/ 20 w 170"/>
                    <a:gd name="T39" fmla="*/ 13 h 37"/>
                    <a:gd name="T40" fmla="*/ 13 w 170"/>
                    <a:gd name="T41" fmla="*/ 15 h 37"/>
                    <a:gd name="T42" fmla="*/ 5 w 170"/>
                    <a:gd name="T43" fmla="*/ 19 h 37"/>
                    <a:gd name="T44" fmla="*/ 0 w 170"/>
                    <a:gd name="T45" fmla="*/ 20 h 37"/>
                    <a:gd name="T46" fmla="*/ 0 w 170"/>
                    <a:gd name="T47" fmla="*/ 20 h 37"/>
                    <a:gd name="T48" fmla="*/ 5 w 170"/>
                    <a:gd name="T49" fmla="*/ 19 h 37"/>
                    <a:gd name="T50" fmla="*/ 13 w 170"/>
                    <a:gd name="T51" fmla="*/ 15 h 37"/>
                    <a:gd name="T52" fmla="*/ 20 w 170"/>
                    <a:gd name="T53" fmla="*/ 13 h 37"/>
                    <a:gd name="T54" fmla="*/ 26 w 170"/>
                    <a:gd name="T55" fmla="*/ 9 h 37"/>
                    <a:gd name="T56" fmla="*/ 28 w 170"/>
                    <a:gd name="T57" fmla="*/ 15 h 37"/>
                    <a:gd name="T58" fmla="*/ 28 w 170"/>
                    <a:gd name="T59" fmla="*/ 22 h 37"/>
                    <a:gd name="T60" fmla="*/ 29 w 170"/>
                    <a:gd name="T61" fmla="*/ 30 h 37"/>
                    <a:gd name="T62" fmla="*/ 31 w 170"/>
                    <a:gd name="T63" fmla="*/ 37 h 37"/>
                    <a:gd name="T64" fmla="*/ 31 w 170"/>
                    <a:gd name="T65" fmla="*/ 37 h 37"/>
                    <a:gd name="T66" fmla="*/ 50 w 170"/>
                    <a:gd name="T67" fmla="*/ 33 h 37"/>
                    <a:gd name="T68" fmla="*/ 70 w 170"/>
                    <a:gd name="T69" fmla="*/ 31 h 37"/>
                    <a:gd name="T70" fmla="*/ 83 w 170"/>
                    <a:gd name="T71" fmla="*/ 28 h 37"/>
                    <a:gd name="T72" fmla="*/ 94 w 170"/>
                    <a:gd name="T73" fmla="*/ 26 h 37"/>
                    <a:gd name="T74" fmla="*/ 107 w 170"/>
                    <a:gd name="T75" fmla="*/ 24 h 37"/>
                    <a:gd name="T76" fmla="*/ 120 w 170"/>
                    <a:gd name="T77" fmla="*/ 20 h 37"/>
                    <a:gd name="T78" fmla="*/ 133 w 170"/>
                    <a:gd name="T79" fmla="*/ 17 h 37"/>
                    <a:gd name="T80" fmla="*/ 144 w 170"/>
                    <a:gd name="T81" fmla="*/ 13 h 37"/>
                    <a:gd name="T82" fmla="*/ 149 w 170"/>
                    <a:gd name="T83" fmla="*/ 11 h 37"/>
                    <a:gd name="T84" fmla="*/ 155 w 170"/>
                    <a:gd name="T85" fmla="*/ 7 h 37"/>
                    <a:gd name="T86" fmla="*/ 160 w 170"/>
                    <a:gd name="T87" fmla="*/ 6 h 37"/>
                    <a:gd name="T88" fmla="*/ 164 w 170"/>
                    <a:gd name="T89" fmla="*/ 4 h 37"/>
                    <a:gd name="T90" fmla="*/ 170 w 170"/>
                    <a:gd name="T9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0" h="37">
                      <a:moveTo>
                        <a:pt x="170" y="0"/>
                      </a:moveTo>
                      <a:lnTo>
                        <a:pt x="164" y="4"/>
                      </a:lnTo>
                      <a:lnTo>
                        <a:pt x="160" y="6"/>
                      </a:lnTo>
                      <a:lnTo>
                        <a:pt x="155" y="7"/>
                      </a:lnTo>
                      <a:lnTo>
                        <a:pt x="149" y="11"/>
                      </a:lnTo>
                      <a:lnTo>
                        <a:pt x="144" y="13"/>
                      </a:lnTo>
                      <a:lnTo>
                        <a:pt x="133" y="17"/>
                      </a:lnTo>
                      <a:lnTo>
                        <a:pt x="120" y="20"/>
                      </a:lnTo>
                      <a:lnTo>
                        <a:pt x="107" y="24"/>
                      </a:lnTo>
                      <a:lnTo>
                        <a:pt x="94" y="26"/>
                      </a:lnTo>
                      <a:lnTo>
                        <a:pt x="83" y="28"/>
                      </a:lnTo>
                      <a:lnTo>
                        <a:pt x="70" y="31"/>
                      </a:lnTo>
                      <a:lnTo>
                        <a:pt x="50" y="33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29" y="30"/>
                      </a:lnTo>
                      <a:lnTo>
                        <a:pt x="28" y="22"/>
                      </a:lnTo>
                      <a:lnTo>
                        <a:pt x="28" y="15"/>
                      </a:lnTo>
                      <a:lnTo>
                        <a:pt x="26" y="9"/>
                      </a:lnTo>
                      <a:lnTo>
                        <a:pt x="20" y="13"/>
                      </a:lnTo>
                      <a:lnTo>
                        <a:pt x="13" y="15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5" y="19"/>
                      </a:lnTo>
                      <a:lnTo>
                        <a:pt x="13" y="15"/>
                      </a:lnTo>
                      <a:lnTo>
                        <a:pt x="20" y="13"/>
                      </a:lnTo>
                      <a:lnTo>
                        <a:pt x="26" y="9"/>
                      </a:lnTo>
                      <a:lnTo>
                        <a:pt x="28" y="15"/>
                      </a:lnTo>
                      <a:lnTo>
                        <a:pt x="28" y="22"/>
                      </a:lnTo>
                      <a:lnTo>
                        <a:pt x="29" y="30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50" y="33"/>
                      </a:lnTo>
                      <a:lnTo>
                        <a:pt x="70" y="31"/>
                      </a:lnTo>
                      <a:lnTo>
                        <a:pt x="83" y="28"/>
                      </a:lnTo>
                      <a:lnTo>
                        <a:pt x="94" y="26"/>
                      </a:lnTo>
                      <a:lnTo>
                        <a:pt x="107" y="24"/>
                      </a:lnTo>
                      <a:lnTo>
                        <a:pt x="120" y="20"/>
                      </a:lnTo>
                      <a:lnTo>
                        <a:pt x="133" y="17"/>
                      </a:lnTo>
                      <a:lnTo>
                        <a:pt x="144" y="13"/>
                      </a:lnTo>
                      <a:lnTo>
                        <a:pt x="149" y="11"/>
                      </a:lnTo>
                      <a:lnTo>
                        <a:pt x="155" y="7"/>
                      </a:lnTo>
                      <a:lnTo>
                        <a:pt x="160" y="6"/>
                      </a:lnTo>
                      <a:lnTo>
                        <a:pt x="164" y="4"/>
                      </a:lnTo>
                      <a:lnTo>
                        <a:pt x="17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2" name="Freeform 3026"/>
                <p:cNvSpPr>
                  <a:spLocks/>
                </p:cNvSpPr>
                <p:nvPr/>
              </p:nvSpPr>
              <p:spPr bwMode="auto">
                <a:xfrm>
                  <a:off x="4806" y="1074"/>
                  <a:ext cx="170" cy="37"/>
                </a:xfrm>
                <a:custGeom>
                  <a:avLst/>
                  <a:gdLst>
                    <a:gd name="T0" fmla="*/ 170 w 170"/>
                    <a:gd name="T1" fmla="*/ 0 h 37"/>
                    <a:gd name="T2" fmla="*/ 164 w 170"/>
                    <a:gd name="T3" fmla="*/ 4 h 37"/>
                    <a:gd name="T4" fmla="*/ 160 w 170"/>
                    <a:gd name="T5" fmla="*/ 6 h 37"/>
                    <a:gd name="T6" fmla="*/ 155 w 170"/>
                    <a:gd name="T7" fmla="*/ 7 h 37"/>
                    <a:gd name="T8" fmla="*/ 149 w 170"/>
                    <a:gd name="T9" fmla="*/ 11 h 37"/>
                    <a:gd name="T10" fmla="*/ 144 w 170"/>
                    <a:gd name="T11" fmla="*/ 13 h 37"/>
                    <a:gd name="T12" fmla="*/ 133 w 170"/>
                    <a:gd name="T13" fmla="*/ 17 h 37"/>
                    <a:gd name="T14" fmla="*/ 120 w 170"/>
                    <a:gd name="T15" fmla="*/ 20 h 37"/>
                    <a:gd name="T16" fmla="*/ 107 w 170"/>
                    <a:gd name="T17" fmla="*/ 24 h 37"/>
                    <a:gd name="T18" fmla="*/ 94 w 170"/>
                    <a:gd name="T19" fmla="*/ 26 h 37"/>
                    <a:gd name="T20" fmla="*/ 83 w 170"/>
                    <a:gd name="T21" fmla="*/ 28 h 37"/>
                    <a:gd name="T22" fmla="*/ 70 w 170"/>
                    <a:gd name="T23" fmla="*/ 31 h 37"/>
                    <a:gd name="T24" fmla="*/ 50 w 170"/>
                    <a:gd name="T25" fmla="*/ 33 h 37"/>
                    <a:gd name="T26" fmla="*/ 31 w 170"/>
                    <a:gd name="T27" fmla="*/ 37 h 37"/>
                    <a:gd name="T28" fmla="*/ 31 w 170"/>
                    <a:gd name="T29" fmla="*/ 37 h 37"/>
                    <a:gd name="T30" fmla="*/ 29 w 170"/>
                    <a:gd name="T31" fmla="*/ 30 h 37"/>
                    <a:gd name="T32" fmla="*/ 28 w 170"/>
                    <a:gd name="T33" fmla="*/ 22 h 37"/>
                    <a:gd name="T34" fmla="*/ 28 w 170"/>
                    <a:gd name="T35" fmla="*/ 15 h 37"/>
                    <a:gd name="T36" fmla="*/ 26 w 170"/>
                    <a:gd name="T37" fmla="*/ 9 h 37"/>
                    <a:gd name="T38" fmla="*/ 20 w 170"/>
                    <a:gd name="T39" fmla="*/ 13 h 37"/>
                    <a:gd name="T40" fmla="*/ 13 w 170"/>
                    <a:gd name="T41" fmla="*/ 15 h 37"/>
                    <a:gd name="T42" fmla="*/ 5 w 170"/>
                    <a:gd name="T43" fmla="*/ 19 h 37"/>
                    <a:gd name="T44" fmla="*/ 0 w 170"/>
                    <a:gd name="T45" fmla="*/ 20 h 37"/>
                    <a:gd name="T46" fmla="*/ 0 w 170"/>
                    <a:gd name="T47" fmla="*/ 20 h 37"/>
                    <a:gd name="T48" fmla="*/ 5 w 170"/>
                    <a:gd name="T49" fmla="*/ 19 h 37"/>
                    <a:gd name="T50" fmla="*/ 13 w 170"/>
                    <a:gd name="T51" fmla="*/ 15 h 37"/>
                    <a:gd name="T52" fmla="*/ 20 w 170"/>
                    <a:gd name="T53" fmla="*/ 13 h 37"/>
                    <a:gd name="T54" fmla="*/ 26 w 170"/>
                    <a:gd name="T55" fmla="*/ 9 h 37"/>
                    <a:gd name="T56" fmla="*/ 28 w 170"/>
                    <a:gd name="T57" fmla="*/ 15 h 37"/>
                    <a:gd name="T58" fmla="*/ 28 w 170"/>
                    <a:gd name="T59" fmla="*/ 22 h 37"/>
                    <a:gd name="T60" fmla="*/ 29 w 170"/>
                    <a:gd name="T61" fmla="*/ 30 h 37"/>
                    <a:gd name="T62" fmla="*/ 31 w 170"/>
                    <a:gd name="T63" fmla="*/ 37 h 37"/>
                    <a:gd name="T64" fmla="*/ 31 w 170"/>
                    <a:gd name="T65" fmla="*/ 37 h 37"/>
                    <a:gd name="T66" fmla="*/ 50 w 170"/>
                    <a:gd name="T67" fmla="*/ 33 h 37"/>
                    <a:gd name="T68" fmla="*/ 70 w 170"/>
                    <a:gd name="T69" fmla="*/ 31 h 37"/>
                    <a:gd name="T70" fmla="*/ 83 w 170"/>
                    <a:gd name="T71" fmla="*/ 28 h 37"/>
                    <a:gd name="T72" fmla="*/ 94 w 170"/>
                    <a:gd name="T73" fmla="*/ 26 h 37"/>
                    <a:gd name="T74" fmla="*/ 107 w 170"/>
                    <a:gd name="T75" fmla="*/ 24 h 37"/>
                    <a:gd name="T76" fmla="*/ 120 w 170"/>
                    <a:gd name="T77" fmla="*/ 20 h 37"/>
                    <a:gd name="T78" fmla="*/ 133 w 170"/>
                    <a:gd name="T79" fmla="*/ 17 h 37"/>
                    <a:gd name="T80" fmla="*/ 144 w 170"/>
                    <a:gd name="T81" fmla="*/ 13 h 37"/>
                    <a:gd name="T82" fmla="*/ 149 w 170"/>
                    <a:gd name="T83" fmla="*/ 11 h 37"/>
                    <a:gd name="T84" fmla="*/ 155 w 170"/>
                    <a:gd name="T85" fmla="*/ 7 h 37"/>
                    <a:gd name="T86" fmla="*/ 160 w 170"/>
                    <a:gd name="T87" fmla="*/ 6 h 37"/>
                    <a:gd name="T88" fmla="*/ 164 w 170"/>
                    <a:gd name="T89" fmla="*/ 4 h 37"/>
                    <a:gd name="T90" fmla="*/ 170 w 170"/>
                    <a:gd name="T9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0" h="37">
                      <a:moveTo>
                        <a:pt x="170" y="0"/>
                      </a:moveTo>
                      <a:lnTo>
                        <a:pt x="164" y="4"/>
                      </a:lnTo>
                      <a:lnTo>
                        <a:pt x="160" y="6"/>
                      </a:lnTo>
                      <a:lnTo>
                        <a:pt x="155" y="7"/>
                      </a:lnTo>
                      <a:lnTo>
                        <a:pt x="149" y="11"/>
                      </a:lnTo>
                      <a:lnTo>
                        <a:pt x="144" y="13"/>
                      </a:lnTo>
                      <a:lnTo>
                        <a:pt x="133" y="17"/>
                      </a:lnTo>
                      <a:lnTo>
                        <a:pt x="120" y="20"/>
                      </a:lnTo>
                      <a:lnTo>
                        <a:pt x="107" y="24"/>
                      </a:lnTo>
                      <a:lnTo>
                        <a:pt x="94" y="26"/>
                      </a:lnTo>
                      <a:lnTo>
                        <a:pt x="83" y="28"/>
                      </a:lnTo>
                      <a:lnTo>
                        <a:pt x="70" y="31"/>
                      </a:lnTo>
                      <a:lnTo>
                        <a:pt x="50" y="33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29" y="30"/>
                      </a:lnTo>
                      <a:lnTo>
                        <a:pt x="28" y="22"/>
                      </a:lnTo>
                      <a:lnTo>
                        <a:pt x="28" y="15"/>
                      </a:lnTo>
                      <a:lnTo>
                        <a:pt x="26" y="9"/>
                      </a:lnTo>
                      <a:lnTo>
                        <a:pt x="20" y="13"/>
                      </a:lnTo>
                      <a:lnTo>
                        <a:pt x="13" y="15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5" y="19"/>
                      </a:lnTo>
                      <a:lnTo>
                        <a:pt x="13" y="15"/>
                      </a:lnTo>
                      <a:lnTo>
                        <a:pt x="20" y="13"/>
                      </a:lnTo>
                      <a:lnTo>
                        <a:pt x="26" y="9"/>
                      </a:lnTo>
                      <a:lnTo>
                        <a:pt x="28" y="15"/>
                      </a:lnTo>
                      <a:lnTo>
                        <a:pt x="28" y="22"/>
                      </a:lnTo>
                      <a:lnTo>
                        <a:pt x="29" y="30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50" y="33"/>
                      </a:lnTo>
                      <a:lnTo>
                        <a:pt x="70" y="31"/>
                      </a:lnTo>
                      <a:lnTo>
                        <a:pt x="83" y="28"/>
                      </a:lnTo>
                      <a:lnTo>
                        <a:pt x="94" y="26"/>
                      </a:lnTo>
                      <a:lnTo>
                        <a:pt x="107" y="24"/>
                      </a:lnTo>
                      <a:lnTo>
                        <a:pt x="120" y="20"/>
                      </a:lnTo>
                      <a:lnTo>
                        <a:pt x="133" y="17"/>
                      </a:lnTo>
                      <a:lnTo>
                        <a:pt x="144" y="13"/>
                      </a:lnTo>
                      <a:lnTo>
                        <a:pt x="149" y="11"/>
                      </a:lnTo>
                      <a:lnTo>
                        <a:pt x="155" y="7"/>
                      </a:lnTo>
                      <a:lnTo>
                        <a:pt x="160" y="6"/>
                      </a:lnTo>
                      <a:lnTo>
                        <a:pt x="164" y="4"/>
                      </a:lnTo>
                      <a:lnTo>
                        <a:pt x="17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3" name="Freeform 3027"/>
                <p:cNvSpPr>
                  <a:spLocks/>
                </p:cNvSpPr>
                <p:nvPr/>
              </p:nvSpPr>
              <p:spPr bwMode="auto">
                <a:xfrm>
                  <a:off x="4806" y="1074"/>
                  <a:ext cx="170" cy="37"/>
                </a:xfrm>
                <a:custGeom>
                  <a:avLst/>
                  <a:gdLst>
                    <a:gd name="T0" fmla="*/ 170 w 170"/>
                    <a:gd name="T1" fmla="*/ 0 h 37"/>
                    <a:gd name="T2" fmla="*/ 164 w 170"/>
                    <a:gd name="T3" fmla="*/ 4 h 37"/>
                    <a:gd name="T4" fmla="*/ 160 w 170"/>
                    <a:gd name="T5" fmla="*/ 6 h 37"/>
                    <a:gd name="T6" fmla="*/ 155 w 170"/>
                    <a:gd name="T7" fmla="*/ 7 h 37"/>
                    <a:gd name="T8" fmla="*/ 149 w 170"/>
                    <a:gd name="T9" fmla="*/ 11 h 37"/>
                    <a:gd name="T10" fmla="*/ 144 w 170"/>
                    <a:gd name="T11" fmla="*/ 13 h 37"/>
                    <a:gd name="T12" fmla="*/ 133 w 170"/>
                    <a:gd name="T13" fmla="*/ 17 h 37"/>
                    <a:gd name="T14" fmla="*/ 120 w 170"/>
                    <a:gd name="T15" fmla="*/ 20 h 37"/>
                    <a:gd name="T16" fmla="*/ 107 w 170"/>
                    <a:gd name="T17" fmla="*/ 24 h 37"/>
                    <a:gd name="T18" fmla="*/ 94 w 170"/>
                    <a:gd name="T19" fmla="*/ 26 h 37"/>
                    <a:gd name="T20" fmla="*/ 83 w 170"/>
                    <a:gd name="T21" fmla="*/ 28 h 37"/>
                    <a:gd name="T22" fmla="*/ 70 w 170"/>
                    <a:gd name="T23" fmla="*/ 31 h 37"/>
                    <a:gd name="T24" fmla="*/ 50 w 170"/>
                    <a:gd name="T25" fmla="*/ 33 h 37"/>
                    <a:gd name="T26" fmla="*/ 31 w 170"/>
                    <a:gd name="T27" fmla="*/ 37 h 37"/>
                    <a:gd name="T28" fmla="*/ 31 w 170"/>
                    <a:gd name="T29" fmla="*/ 37 h 37"/>
                    <a:gd name="T30" fmla="*/ 29 w 170"/>
                    <a:gd name="T31" fmla="*/ 30 h 37"/>
                    <a:gd name="T32" fmla="*/ 28 w 170"/>
                    <a:gd name="T33" fmla="*/ 22 h 37"/>
                    <a:gd name="T34" fmla="*/ 28 w 170"/>
                    <a:gd name="T35" fmla="*/ 15 h 37"/>
                    <a:gd name="T36" fmla="*/ 26 w 170"/>
                    <a:gd name="T37" fmla="*/ 9 h 37"/>
                    <a:gd name="T38" fmla="*/ 20 w 170"/>
                    <a:gd name="T39" fmla="*/ 13 h 37"/>
                    <a:gd name="T40" fmla="*/ 13 w 170"/>
                    <a:gd name="T41" fmla="*/ 15 h 37"/>
                    <a:gd name="T42" fmla="*/ 5 w 170"/>
                    <a:gd name="T43" fmla="*/ 19 h 37"/>
                    <a:gd name="T44" fmla="*/ 0 w 170"/>
                    <a:gd name="T45" fmla="*/ 20 h 37"/>
                    <a:gd name="T46" fmla="*/ 0 w 170"/>
                    <a:gd name="T47" fmla="*/ 20 h 37"/>
                    <a:gd name="T48" fmla="*/ 5 w 170"/>
                    <a:gd name="T49" fmla="*/ 19 h 37"/>
                    <a:gd name="T50" fmla="*/ 13 w 170"/>
                    <a:gd name="T51" fmla="*/ 15 h 37"/>
                    <a:gd name="T52" fmla="*/ 20 w 170"/>
                    <a:gd name="T53" fmla="*/ 13 h 37"/>
                    <a:gd name="T54" fmla="*/ 26 w 170"/>
                    <a:gd name="T55" fmla="*/ 9 h 37"/>
                    <a:gd name="T56" fmla="*/ 28 w 170"/>
                    <a:gd name="T57" fmla="*/ 15 h 37"/>
                    <a:gd name="T58" fmla="*/ 28 w 170"/>
                    <a:gd name="T59" fmla="*/ 22 h 37"/>
                    <a:gd name="T60" fmla="*/ 29 w 170"/>
                    <a:gd name="T61" fmla="*/ 30 h 37"/>
                    <a:gd name="T62" fmla="*/ 31 w 170"/>
                    <a:gd name="T63" fmla="*/ 37 h 37"/>
                    <a:gd name="T64" fmla="*/ 31 w 170"/>
                    <a:gd name="T65" fmla="*/ 37 h 37"/>
                    <a:gd name="T66" fmla="*/ 50 w 170"/>
                    <a:gd name="T67" fmla="*/ 33 h 37"/>
                    <a:gd name="T68" fmla="*/ 70 w 170"/>
                    <a:gd name="T69" fmla="*/ 31 h 37"/>
                    <a:gd name="T70" fmla="*/ 83 w 170"/>
                    <a:gd name="T71" fmla="*/ 28 h 37"/>
                    <a:gd name="T72" fmla="*/ 94 w 170"/>
                    <a:gd name="T73" fmla="*/ 26 h 37"/>
                    <a:gd name="T74" fmla="*/ 107 w 170"/>
                    <a:gd name="T75" fmla="*/ 24 h 37"/>
                    <a:gd name="T76" fmla="*/ 120 w 170"/>
                    <a:gd name="T77" fmla="*/ 20 h 37"/>
                    <a:gd name="T78" fmla="*/ 133 w 170"/>
                    <a:gd name="T79" fmla="*/ 17 h 37"/>
                    <a:gd name="T80" fmla="*/ 144 w 170"/>
                    <a:gd name="T81" fmla="*/ 13 h 37"/>
                    <a:gd name="T82" fmla="*/ 149 w 170"/>
                    <a:gd name="T83" fmla="*/ 11 h 37"/>
                    <a:gd name="T84" fmla="*/ 155 w 170"/>
                    <a:gd name="T85" fmla="*/ 7 h 37"/>
                    <a:gd name="T86" fmla="*/ 160 w 170"/>
                    <a:gd name="T87" fmla="*/ 6 h 37"/>
                    <a:gd name="T88" fmla="*/ 164 w 170"/>
                    <a:gd name="T89" fmla="*/ 4 h 37"/>
                    <a:gd name="T90" fmla="*/ 170 w 170"/>
                    <a:gd name="T9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0" h="37">
                      <a:moveTo>
                        <a:pt x="170" y="0"/>
                      </a:moveTo>
                      <a:lnTo>
                        <a:pt x="164" y="4"/>
                      </a:lnTo>
                      <a:lnTo>
                        <a:pt x="160" y="6"/>
                      </a:lnTo>
                      <a:lnTo>
                        <a:pt x="155" y="7"/>
                      </a:lnTo>
                      <a:lnTo>
                        <a:pt x="149" y="11"/>
                      </a:lnTo>
                      <a:lnTo>
                        <a:pt x="144" y="13"/>
                      </a:lnTo>
                      <a:lnTo>
                        <a:pt x="133" y="17"/>
                      </a:lnTo>
                      <a:lnTo>
                        <a:pt x="120" y="20"/>
                      </a:lnTo>
                      <a:lnTo>
                        <a:pt x="107" y="24"/>
                      </a:lnTo>
                      <a:lnTo>
                        <a:pt x="94" y="26"/>
                      </a:lnTo>
                      <a:lnTo>
                        <a:pt x="83" y="28"/>
                      </a:lnTo>
                      <a:lnTo>
                        <a:pt x="70" y="31"/>
                      </a:lnTo>
                      <a:lnTo>
                        <a:pt x="50" y="33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29" y="30"/>
                      </a:lnTo>
                      <a:lnTo>
                        <a:pt x="28" y="22"/>
                      </a:lnTo>
                      <a:lnTo>
                        <a:pt x="28" y="15"/>
                      </a:lnTo>
                      <a:lnTo>
                        <a:pt x="26" y="9"/>
                      </a:lnTo>
                      <a:lnTo>
                        <a:pt x="20" y="13"/>
                      </a:lnTo>
                      <a:lnTo>
                        <a:pt x="13" y="15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5" y="19"/>
                      </a:lnTo>
                      <a:lnTo>
                        <a:pt x="13" y="15"/>
                      </a:lnTo>
                      <a:lnTo>
                        <a:pt x="20" y="13"/>
                      </a:lnTo>
                      <a:lnTo>
                        <a:pt x="26" y="9"/>
                      </a:lnTo>
                      <a:lnTo>
                        <a:pt x="28" y="15"/>
                      </a:lnTo>
                      <a:lnTo>
                        <a:pt x="28" y="22"/>
                      </a:lnTo>
                      <a:lnTo>
                        <a:pt x="29" y="30"/>
                      </a:lnTo>
                      <a:lnTo>
                        <a:pt x="31" y="37"/>
                      </a:lnTo>
                      <a:lnTo>
                        <a:pt x="31" y="37"/>
                      </a:lnTo>
                      <a:lnTo>
                        <a:pt x="50" y="33"/>
                      </a:lnTo>
                      <a:lnTo>
                        <a:pt x="70" y="31"/>
                      </a:lnTo>
                      <a:lnTo>
                        <a:pt x="83" y="28"/>
                      </a:lnTo>
                      <a:lnTo>
                        <a:pt x="94" y="26"/>
                      </a:lnTo>
                      <a:lnTo>
                        <a:pt x="107" y="24"/>
                      </a:lnTo>
                      <a:lnTo>
                        <a:pt x="120" y="20"/>
                      </a:lnTo>
                      <a:lnTo>
                        <a:pt x="133" y="17"/>
                      </a:lnTo>
                      <a:lnTo>
                        <a:pt x="144" y="13"/>
                      </a:lnTo>
                      <a:lnTo>
                        <a:pt x="149" y="11"/>
                      </a:lnTo>
                      <a:lnTo>
                        <a:pt x="155" y="7"/>
                      </a:lnTo>
                      <a:lnTo>
                        <a:pt x="160" y="6"/>
                      </a:lnTo>
                      <a:lnTo>
                        <a:pt x="164" y="4"/>
                      </a:lnTo>
                      <a:lnTo>
                        <a:pt x="17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4" name="Freeform 3028"/>
                <p:cNvSpPr>
                  <a:spLocks/>
                </p:cNvSpPr>
                <p:nvPr/>
              </p:nvSpPr>
              <p:spPr bwMode="auto">
                <a:xfrm>
                  <a:off x="5085" y="1153"/>
                  <a:ext cx="94" cy="65"/>
                </a:xfrm>
                <a:custGeom>
                  <a:avLst/>
                  <a:gdLst>
                    <a:gd name="T0" fmla="*/ 0 w 94"/>
                    <a:gd name="T1" fmla="*/ 0 h 65"/>
                    <a:gd name="T2" fmla="*/ 3 w 94"/>
                    <a:gd name="T3" fmla="*/ 6 h 65"/>
                    <a:gd name="T4" fmla="*/ 12 w 94"/>
                    <a:gd name="T5" fmla="*/ 6 h 65"/>
                    <a:gd name="T6" fmla="*/ 29 w 94"/>
                    <a:gd name="T7" fmla="*/ 6 h 65"/>
                    <a:gd name="T8" fmla="*/ 38 w 94"/>
                    <a:gd name="T9" fmla="*/ 12 h 65"/>
                    <a:gd name="T10" fmla="*/ 38 w 94"/>
                    <a:gd name="T11" fmla="*/ 17 h 65"/>
                    <a:gd name="T12" fmla="*/ 49 w 94"/>
                    <a:gd name="T13" fmla="*/ 19 h 65"/>
                    <a:gd name="T14" fmla="*/ 59 w 94"/>
                    <a:gd name="T15" fmla="*/ 23 h 65"/>
                    <a:gd name="T16" fmla="*/ 59 w 94"/>
                    <a:gd name="T17" fmla="*/ 32 h 65"/>
                    <a:gd name="T18" fmla="*/ 59 w 94"/>
                    <a:gd name="T19" fmla="*/ 39 h 65"/>
                    <a:gd name="T20" fmla="*/ 59 w 94"/>
                    <a:gd name="T21" fmla="*/ 41 h 65"/>
                    <a:gd name="T22" fmla="*/ 57 w 94"/>
                    <a:gd name="T23" fmla="*/ 43 h 65"/>
                    <a:gd name="T24" fmla="*/ 60 w 94"/>
                    <a:gd name="T25" fmla="*/ 47 h 65"/>
                    <a:gd name="T26" fmla="*/ 62 w 94"/>
                    <a:gd name="T27" fmla="*/ 45 h 65"/>
                    <a:gd name="T28" fmla="*/ 68 w 94"/>
                    <a:gd name="T29" fmla="*/ 43 h 65"/>
                    <a:gd name="T30" fmla="*/ 73 w 94"/>
                    <a:gd name="T31" fmla="*/ 48 h 65"/>
                    <a:gd name="T32" fmla="*/ 73 w 94"/>
                    <a:gd name="T33" fmla="*/ 54 h 65"/>
                    <a:gd name="T34" fmla="*/ 83 w 94"/>
                    <a:gd name="T35" fmla="*/ 60 h 65"/>
                    <a:gd name="T36" fmla="*/ 92 w 94"/>
                    <a:gd name="T37" fmla="*/ 65 h 65"/>
                    <a:gd name="T38" fmla="*/ 92 w 94"/>
                    <a:gd name="T39" fmla="*/ 65 h 65"/>
                    <a:gd name="T40" fmla="*/ 83 w 94"/>
                    <a:gd name="T41" fmla="*/ 60 h 65"/>
                    <a:gd name="T42" fmla="*/ 73 w 94"/>
                    <a:gd name="T43" fmla="*/ 54 h 65"/>
                    <a:gd name="T44" fmla="*/ 73 w 94"/>
                    <a:gd name="T45" fmla="*/ 48 h 65"/>
                    <a:gd name="T46" fmla="*/ 68 w 94"/>
                    <a:gd name="T47" fmla="*/ 43 h 65"/>
                    <a:gd name="T48" fmla="*/ 62 w 94"/>
                    <a:gd name="T49" fmla="*/ 43 h 65"/>
                    <a:gd name="T50" fmla="*/ 60 w 94"/>
                    <a:gd name="T51" fmla="*/ 43 h 65"/>
                    <a:gd name="T52" fmla="*/ 60 w 94"/>
                    <a:gd name="T53" fmla="*/ 45 h 65"/>
                    <a:gd name="T54" fmla="*/ 60 w 94"/>
                    <a:gd name="T55" fmla="*/ 43 h 65"/>
                    <a:gd name="T56" fmla="*/ 60 w 94"/>
                    <a:gd name="T57" fmla="*/ 43 h 65"/>
                    <a:gd name="T58" fmla="*/ 59 w 94"/>
                    <a:gd name="T59" fmla="*/ 41 h 65"/>
                    <a:gd name="T60" fmla="*/ 59 w 94"/>
                    <a:gd name="T61" fmla="*/ 36 h 65"/>
                    <a:gd name="T62" fmla="*/ 59 w 94"/>
                    <a:gd name="T63" fmla="*/ 26 h 65"/>
                    <a:gd name="T64" fmla="*/ 55 w 94"/>
                    <a:gd name="T65" fmla="*/ 21 h 65"/>
                    <a:gd name="T66" fmla="*/ 44 w 94"/>
                    <a:gd name="T67" fmla="*/ 17 h 65"/>
                    <a:gd name="T68" fmla="*/ 38 w 94"/>
                    <a:gd name="T69" fmla="*/ 15 h 65"/>
                    <a:gd name="T70" fmla="*/ 38 w 94"/>
                    <a:gd name="T71" fmla="*/ 6 h 65"/>
                    <a:gd name="T72" fmla="*/ 22 w 94"/>
                    <a:gd name="T73" fmla="*/ 6 h 65"/>
                    <a:gd name="T74" fmla="*/ 3 w 94"/>
                    <a:gd name="T75" fmla="*/ 8 h 65"/>
                    <a:gd name="T76" fmla="*/ 1 w 94"/>
                    <a:gd name="T77" fmla="*/ 4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94" h="6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2" y="6"/>
                      </a:lnTo>
                      <a:lnTo>
                        <a:pt x="22" y="6"/>
                      </a:lnTo>
                      <a:lnTo>
                        <a:pt x="29" y="6"/>
                      </a:lnTo>
                      <a:lnTo>
                        <a:pt x="38" y="6"/>
                      </a:lnTo>
                      <a:lnTo>
                        <a:pt x="38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44" y="17"/>
                      </a:lnTo>
                      <a:lnTo>
                        <a:pt x="49" y="19"/>
                      </a:lnTo>
                      <a:lnTo>
                        <a:pt x="55" y="21"/>
                      </a:lnTo>
                      <a:lnTo>
                        <a:pt x="59" y="23"/>
                      </a:lnTo>
                      <a:lnTo>
                        <a:pt x="59" y="26"/>
                      </a:lnTo>
                      <a:lnTo>
                        <a:pt x="59" y="32"/>
                      </a:lnTo>
                      <a:lnTo>
                        <a:pt x="59" y="36"/>
                      </a:lnTo>
                      <a:lnTo>
                        <a:pt x="59" y="39"/>
                      </a:lnTo>
                      <a:lnTo>
                        <a:pt x="59" y="41"/>
                      </a:lnTo>
                      <a:lnTo>
                        <a:pt x="59" y="41"/>
                      </a:lnTo>
                      <a:lnTo>
                        <a:pt x="57" y="43"/>
                      </a:lnTo>
                      <a:lnTo>
                        <a:pt x="57" y="43"/>
                      </a:lnTo>
                      <a:lnTo>
                        <a:pt x="59" y="45"/>
                      </a:lnTo>
                      <a:lnTo>
                        <a:pt x="60" y="47"/>
                      </a:lnTo>
                      <a:lnTo>
                        <a:pt x="60" y="47"/>
                      </a:lnTo>
                      <a:lnTo>
                        <a:pt x="62" y="45"/>
                      </a:lnTo>
                      <a:lnTo>
                        <a:pt x="62" y="43"/>
                      </a:lnTo>
                      <a:lnTo>
                        <a:pt x="68" y="43"/>
                      </a:lnTo>
                      <a:lnTo>
                        <a:pt x="73" y="43"/>
                      </a:lnTo>
                      <a:lnTo>
                        <a:pt x="73" y="48"/>
                      </a:lnTo>
                      <a:lnTo>
                        <a:pt x="73" y="54"/>
                      </a:lnTo>
                      <a:lnTo>
                        <a:pt x="73" y="54"/>
                      </a:lnTo>
                      <a:lnTo>
                        <a:pt x="79" y="58"/>
                      </a:lnTo>
                      <a:lnTo>
                        <a:pt x="83" y="60"/>
                      </a:lnTo>
                      <a:lnTo>
                        <a:pt x="88" y="63"/>
                      </a:lnTo>
                      <a:lnTo>
                        <a:pt x="92" y="65"/>
                      </a:lnTo>
                      <a:lnTo>
                        <a:pt x="94" y="65"/>
                      </a:lnTo>
                      <a:lnTo>
                        <a:pt x="92" y="65"/>
                      </a:lnTo>
                      <a:lnTo>
                        <a:pt x="88" y="63"/>
                      </a:lnTo>
                      <a:lnTo>
                        <a:pt x="83" y="60"/>
                      </a:lnTo>
                      <a:lnTo>
                        <a:pt x="79" y="58"/>
                      </a:lnTo>
                      <a:lnTo>
                        <a:pt x="73" y="54"/>
                      </a:lnTo>
                      <a:lnTo>
                        <a:pt x="73" y="54"/>
                      </a:lnTo>
                      <a:lnTo>
                        <a:pt x="73" y="48"/>
                      </a:lnTo>
                      <a:lnTo>
                        <a:pt x="73" y="43"/>
                      </a:lnTo>
                      <a:lnTo>
                        <a:pt x="68" y="43"/>
                      </a:lnTo>
                      <a:lnTo>
                        <a:pt x="62" y="43"/>
                      </a:lnTo>
                      <a:lnTo>
                        <a:pt x="62" y="43"/>
                      </a:lnTo>
                      <a:lnTo>
                        <a:pt x="62" y="43"/>
                      </a:lnTo>
                      <a:lnTo>
                        <a:pt x="60" y="43"/>
                      </a:lnTo>
                      <a:lnTo>
                        <a:pt x="60" y="43"/>
                      </a:lnTo>
                      <a:lnTo>
                        <a:pt x="60" y="45"/>
                      </a:lnTo>
                      <a:lnTo>
                        <a:pt x="60" y="43"/>
                      </a:lnTo>
                      <a:lnTo>
                        <a:pt x="60" y="43"/>
                      </a:lnTo>
                      <a:lnTo>
                        <a:pt x="59" y="43"/>
                      </a:lnTo>
                      <a:lnTo>
                        <a:pt x="60" y="43"/>
                      </a:lnTo>
                      <a:lnTo>
                        <a:pt x="60" y="41"/>
                      </a:lnTo>
                      <a:lnTo>
                        <a:pt x="59" y="41"/>
                      </a:lnTo>
                      <a:lnTo>
                        <a:pt x="59" y="41"/>
                      </a:lnTo>
                      <a:lnTo>
                        <a:pt x="59" y="36"/>
                      </a:lnTo>
                      <a:lnTo>
                        <a:pt x="59" y="32"/>
                      </a:lnTo>
                      <a:lnTo>
                        <a:pt x="59" y="26"/>
                      </a:lnTo>
                      <a:lnTo>
                        <a:pt x="59" y="23"/>
                      </a:lnTo>
                      <a:lnTo>
                        <a:pt x="55" y="21"/>
                      </a:lnTo>
                      <a:lnTo>
                        <a:pt x="49" y="19"/>
                      </a:lnTo>
                      <a:lnTo>
                        <a:pt x="44" y="17"/>
                      </a:lnTo>
                      <a:lnTo>
                        <a:pt x="38" y="17"/>
                      </a:lnTo>
                      <a:lnTo>
                        <a:pt x="38" y="15"/>
                      </a:lnTo>
                      <a:lnTo>
                        <a:pt x="38" y="12"/>
                      </a:lnTo>
                      <a:lnTo>
                        <a:pt x="38" y="6"/>
                      </a:lnTo>
                      <a:lnTo>
                        <a:pt x="29" y="6"/>
                      </a:lnTo>
                      <a:lnTo>
                        <a:pt x="22" y="6"/>
                      </a:lnTo>
                      <a:lnTo>
                        <a:pt x="12" y="6"/>
                      </a:lnTo>
                      <a:lnTo>
                        <a:pt x="3" y="8"/>
                      </a:lnTo>
                      <a:lnTo>
                        <a:pt x="3" y="6"/>
                      </a:lnTo>
                      <a:lnTo>
                        <a:pt x="1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5" name="Freeform 3029"/>
                <p:cNvSpPr>
                  <a:spLocks/>
                </p:cNvSpPr>
                <p:nvPr/>
              </p:nvSpPr>
              <p:spPr bwMode="auto">
                <a:xfrm>
                  <a:off x="5085" y="1153"/>
                  <a:ext cx="94" cy="65"/>
                </a:xfrm>
                <a:custGeom>
                  <a:avLst/>
                  <a:gdLst>
                    <a:gd name="T0" fmla="*/ 0 w 94"/>
                    <a:gd name="T1" fmla="*/ 0 h 65"/>
                    <a:gd name="T2" fmla="*/ 3 w 94"/>
                    <a:gd name="T3" fmla="*/ 6 h 65"/>
                    <a:gd name="T4" fmla="*/ 12 w 94"/>
                    <a:gd name="T5" fmla="*/ 6 h 65"/>
                    <a:gd name="T6" fmla="*/ 29 w 94"/>
                    <a:gd name="T7" fmla="*/ 6 h 65"/>
                    <a:gd name="T8" fmla="*/ 38 w 94"/>
                    <a:gd name="T9" fmla="*/ 12 h 65"/>
                    <a:gd name="T10" fmla="*/ 38 w 94"/>
                    <a:gd name="T11" fmla="*/ 17 h 65"/>
                    <a:gd name="T12" fmla="*/ 49 w 94"/>
                    <a:gd name="T13" fmla="*/ 19 h 65"/>
                    <a:gd name="T14" fmla="*/ 59 w 94"/>
                    <a:gd name="T15" fmla="*/ 23 h 65"/>
                    <a:gd name="T16" fmla="*/ 59 w 94"/>
                    <a:gd name="T17" fmla="*/ 32 h 65"/>
                    <a:gd name="T18" fmla="*/ 59 w 94"/>
                    <a:gd name="T19" fmla="*/ 39 h 65"/>
                    <a:gd name="T20" fmla="*/ 59 w 94"/>
                    <a:gd name="T21" fmla="*/ 41 h 65"/>
                    <a:gd name="T22" fmla="*/ 57 w 94"/>
                    <a:gd name="T23" fmla="*/ 43 h 65"/>
                    <a:gd name="T24" fmla="*/ 60 w 94"/>
                    <a:gd name="T25" fmla="*/ 47 h 65"/>
                    <a:gd name="T26" fmla="*/ 62 w 94"/>
                    <a:gd name="T27" fmla="*/ 45 h 65"/>
                    <a:gd name="T28" fmla="*/ 68 w 94"/>
                    <a:gd name="T29" fmla="*/ 43 h 65"/>
                    <a:gd name="T30" fmla="*/ 73 w 94"/>
                    <a:gd name="T31" fmla="*/ 48 h 65"/>
                    <a:gd name="T32" fmla="*/ 73 w 94"/>
                    <a:gd name="T33" fmla="*/ 54 h 65"/>
                    <a:gd name="T34" fmla="*/ 83 w 94"/>
                    <a:gd name="T35" fmla="*/ 60 h 65"/>
                    <a:gd name="T36" fmla="*/ 92 w 94"/>
                    <a:gd name="T37" fmla="*/ 65 h 65"/>
                    <a:gd name="T38" fmla="*/ 92 w 94"/>
                    <a:gd name="T39" fmla="*/ 65 h 65"/>
                    <a:gd name="T40" fmla="*/ 83 w 94"/>
                    <a:gd name="T41" fmla="*/ 60 h 65"/>
                    <a:gd name="T42" fmla="*/ 73 w 94"/>
                    <a:gd name="T43" fmla="*/ 54 h 65"/>
                    <a:gd name="T44" fmla="*/ 73 w 94"/>
                    <a:gd name="T45" fmla="*/ 48 h 65"/>
                    <a:gd name="T46" fmla="*/ 68 w 94"/>
                    <a:gd name="T47" fmla="*/ 43 h 65"/>
                    <a:gd name="T48" fmla="*/ 62 w 94"/>
                    <a:gd name="T49" fmla="*/ 43 h 65"/>
                    <a:gd name="T50" fmla="*/ 60 w 94"/>
                    <a:gd name="T51" fmla="*/ 43 h 65"/>
                    <a:gd name="T52" fmla="*/ 60 w 94"/>
                    <a:gd name="T53" fmla="*/ 45 h 65"/>
                    <a:gd name="T54" fmla="*/ 60 w 94"/>
                    <a:gd name="T55" fmla="*/ 43 h 65"/>
                    <a:gd name="T56" fmla="*/ 60 w 94"/>
                    <a:gd name="T57" fmla="*/ 43 h 65"/>
                    <a:gd name="T58" fmla="*/ 59 w 94"/>
                    <a:gd name="T59" fmla="*/ 41 h 65"/>
                    <a:gd name="T60" fmla="*/ 59 w 94"/>
                    <a:gd name="T61" fmla="*/ 36 h 65"/>
                    <a:gd name="T62" fmla="*/ 59 w 94"/>
                    <a:gd name="T63" fmla="*/ 26 h 65"/>
                    <a:gd name="T64" fmla="*/ 55 w 94"/>
                    <a:gd name="T65" fmla="*/ 21 h 65"/>
                    <a:gd name="T66" fmla="*/ 44 w 94"/>
                    <a:gd name="T67" fmla="*/ 17 h 65"/>
                    <a:gd name="T68" fmla="*/ 38 w 94"/>
                    <a:gd name="T69" fmla="*/ 15 h 65"/>
                    <a:gd name="T70" fmla="*/ 38 w 94"/>
                    <a:gd name="T71" fmla="*/ 6 h 65"/>
                    <a:gd name="T72" fmla="*/ 22 w 94"/>
                    <a:gd name="T73" fmla="*/ 6 h 65"/>
                    <a:gd name="T74" fmla="*/ 3 w 94"/>
                    <a:gd name="T75" fmla="*/ 8 h 65"/>
                    <a:gd name="T76" fmla="*/ 1 w 94"/>
                    <a:gd name="T77" fmla="*/ 4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94" h="6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2" y="6"/>
                      </a:lnTo>
                      <a:lnTo>
                        <a:pt x="22" y="6"/>
                      </a:lnTo>
                      <a:lnTo>
                        <a:pt x="29" y="6"/>
                      </a:lnTo>
                      <a:lnTo>
                        <a:pt x="38" y="6"/>
                      </a:lnTo>
                      <a:lnTo>
                        <a:pt x="38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44" y="17"/>
                      </a:lnTo>
                      <a:lnTo>
                        <a:pt x="49" y="19"/>
                      </a:lnTo>
                      <a:lnTo>
                        <a:pt x="55" y="21"/>
                      </a:lnTo>
                      <a:lnTo>
                        <a:pt x="59" y="23"/>
                      </a:lnTo>
                      <a:lnTo>
                        <a:pt x="59" y="26"/>
                      </a:lnTo>
                      <a:lnTo>
                        <a:pt x="59" y="32"/>
                      </a:lnTo>
                      <a:lnTo>
                        <a:pt x="59" y="36"/>
                      </a:lnTo>
                      <a:lnTo>
                        <a:pt x="59" y="39"/>
                      </a:lnTo>
                      <a:lnTo>
                        <a:pt x="59" y="41"/>
                      </a:lnTo>
                      <a:lnTo>
                        <a:pt x="59" y="41"/>
                      </a:lnTo>
                      <a:lnTo>
                        <a:pt x="57" y="43"/>
                      </a:lnTo>
                      <a:lnTo>
                        <a:pt x="57" y="43"/>
                      </a:lnTo>
                      <a:lnTo>
                        <a:pt x="59" y="45"/>
                      </a:lnTo>
                      <a:lnTo>
                        <a:pt x="60" y="47"/>
                      </a:lnTo>
                      <a:lnTo>
                        <a:pt x="60" y="47"/>
                      </a:lnTo>
                      <a:lnTo>
                        <a:pt x="62" y="45"/>
                      </a:lnTo>
                      <a:lnTo>
                        <a:pt x="62" y="43"/>
                      </a:lnTo>
                      <a:lnTo>
                        <a:pt x="68" y="43"/>
                      </a:lnTo>
                      <a:lnTo>
                        <a:pt x="73" y="43"/>
                      </a:lnTo>
                      <a:lnTo>
                        <a:pt x="73" y="48"/>
                      </a:lnTo>
                      <a:lnTo>
                        <a:pt x="73" y="54"/>
                      </a:lnTo>
                      <a:lnTo>
                        <a:pt x="73" y="54"/>
                      </a:lnTo>
                      <a:lnTo>
                        <a:pt x="79" y="58"/>
                      </a:lnTo>
                      <a:lnTo>
                        <a:pt x="83" y="60"/>
                      </a:lnTo>
                      <a:lnTo>
                        <a:pt x="88" y="63"/>
                      </a:lnTo>
                      <a:lnTo>
                        <a:pt x="92" y="65"/>
                      </a:lnTo>
                      <a:lnTo>
                        <a:pt x="94" y="65"/>
                      </a:lnTo>
                      <a:lnTo>
                        <a:pt x="92" y="65"/>
                      </a:lnTo>
                      <a:lnTo>
                        <a:pt x="88" y="63"/>
                      </a:lnTo>
                      <a:lnTo>
                        <a:pt x="83" y="60"/>
                      </a:lnTo>
                      <a:lnTo>
                        <a:pt x="79" y="58"/>
                      </a:lnTo>
                      <a:lnTo>
                        <a:pt x="73" y="54"/>
                      </a:lnTo>
                      <a:lnTo>
                        <a:pt x="73" y="54"/>
                      </a:lnTo>
                      <a:lnTo>
                        <a:pt x="73" y="48"/>
                      </a:lnTo>
                      <a:lnTo>
                        <a:pt x="73" y="43"/>
                      </a:lnTo>
                      <a:lnTo>
                        <a:pt x="68" y="43"/>
                      </a:lnTo>
                      <a:lnTo>
                        <a:pt x="62" y="43"/>
                      </a:lnTo>
                      <a:lnTo>
                        <a:pt x="62" y="43"/>
                      </a:lnTo>
                      <a:lnTo>
                        <a:pt x="62" y="43"/>
                      </a:lnTo>
                      <a:lnTo>
                        <a:pt x="60" y="43"/>
                      </a:lnTo>
                      <a:lnTo>
                        <a:pt x="60" y="43"/>
                      </a:lnTo>
                      <a:lnTo>
                        <a:pt x="60" y="45"/>
                      </a:lnTo>
                      <a:lnTo>
                        <a:pt x="60" y="43"/>
                      </a:lnTo>
                      <a:lnTo>
                        <a:pt x="60" y="43"/>
                      </a:lnTo>
                      <a:lnTo>
                        <a:pt x="59" y="43"/>
                      </a:lnTo>
                      <a:lnTo>
                        <a:pt x="60" y="43"/>
                      </a:lnTo>
                      <a:lnTo>
                        <a:pt x="60" y="41"/>
                      </a:lnTo>
                      <a:lnTo>
                        <a:pt x="59" y="41"/>
                      </a:lnTo>
                      <a:lnTo>
                        <a:pt x="59" y="41"/>
                      </a:lnTo>
                      <a:lnTo>
                        <a:pt x="59" y="36"/>
                      </a:lnTo>
                      <a:lnTo>
                        <a:pt x="59" y="32"/>
                      </a:lnTo>
                      <a:lnTo>
                        <a:pt x="59" y="26"/>
                      </a:lnTo>
                      <a:lnTo>
                        <a:pt x="59" y="23"/>
                      </a:lnTo>
                      <a:lnTo>
                        <a:pt x="55" y="21"/>
                      </a:lnTo>
                      <a:lnTo>
                        <a:pt x="49" y="19"/>
                      </a:lnTo>
                      <a:lnTo>
                        <a:pt x="44" y="17"/>
                      </a:lnTo>
                      <a:lnTo>
                        <a:pt x="38" y="17"/>
                      </a:lnTo>
                      <a:lnTo>
                        <a:pt x="38" y="15"/>
                      </a:lnTo>
                      <a:lnTo>
                        <a:pt x="38" y="12"/>
                      </a:lnTo>
                      <a:lnTo>
                        <a:pt x="38" y="6"/>
                      </a:lnTo>
                      <a:lnTo>
                        <a:pt x="29" y="6"/>
                      </a:lnTo>
                      <a:lnTo>
                        <a:pt x="22" y="6"/>
                      </a:lnTo>
                      <a:lnTo>
                        <a:pt x="12" y="6"/>
                      </a:lnTo>
                      <a:lnTo>
                        <a:pt x="3" y="8"/>
                      </a:lnTo>
                      <a:lnTo>
                        <a:pt x="3" y="6"/>
                      </a:ln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6" name="Freeform 3030"/>
                <p:cNvSpPr>
                  <a:spLocks noEditPoints="1"/>
                </p:cNvSpPr>
                <p:nvPr/>
              </p:nvSpPr>
              <p:spPr bwMode="auto">
                <a:xfrm>
                  <a:off x="4736" y="1209"/>
                  <a:ext cx="323" cy="494"/>
                </a:xfrm>
                <a:custGeom>
                  <a:avLst/>
                  <a:gdLst>
                    <a:gd name="T0" fmla="*/ 284 w 323"/>
                    <a:gd name="T1" fmla="*/ 433 h 494"/>
                    <a:gd name="T2" fmla="*/ 282 w 323"/>
                    <a:gd name="T3" fmla="*/ 441 h 494"/>
                    <a:gd name="T4" fmla="*/ 280 w 323"/>
                    <a:gd name="T5" fmla="*/ 446 h 494"/>
                    <a:gd name="T6" fmla="*/ 278 w 323"/>
                    <a:gd name="T7" fmla="*/ 452 h 494"/>
                    <a:gd name="T8" fmla="*/ 275 w 323"/>
                    <a:gd name="T9" fmla="*/ 456 h 494"/>
                    <a:gd name="T10" fmla="*/ 273 w 323"/>
                    <a:gd name="T11" fmla="*/ 457 h 494"/>
                    <a:gd name="T12" fmla="*/ 269 w 323"/>
                    <a:gd name="T13" fmla="*/ 461 h 494"/>
                    <a:gd name="T14" fmla="*/ 265 w 323"/>
                    <a:gd name="T15" fmla="*/ 463 h 494"/>
                    <a:gd name="T16" fmla="*/ 262 w 323"/>
                    <a:gd name="T17" fmla="*/ 465 h 494"/>
                    <a:gd name="T18" fmla="*/ 258 w 323"/>
                    <a:gd name="T19" fmla="*/ 467 h 494"/>
                    <a:gd name="T20" fmla="*/ 254 w 323"/>
                    <a:gd name="T21" fmla="*/ 469 h 494"/>
                    <a:gd name="T22" fmla="*/ 254 w 323"/>
                    <a:gd name="T23" fmla="*/ 469 h 494"/>
                    <a:gd name="T24" fmla="*/ 251 w 323"/>
                    <a:gd name="T25" fmla="*/ 469 h 494"/>
                    <a:gd name="T26" fmla="*/ 245 w 323"/>
                    <a:gd name="T27" fmla="*/ 470 h 494"/>
                    <a:gd name="T28" fmla="*/ 236 w 323"/>
                    <a:gd name="T29" fmla="*/ 472 h 494"/>
                    <a:gd name="T30" fmla="*/ 223 w 323"/>
                    <a:gd name="T31" fmla="*/ 476 h 494"/>
                    <a:gd name="T32" fmla="*/ 221 w 323"/>
                    <a:gd name="T33" fmla="*/ 483 h 494"/>
                    <a:gd name="T34" fmla="*/ 221 w 323"/>
                    <a:gd name="T35" fmla="*/ 489 h 494"/>
                    <a:gd name="T36" fmla="*/ 219 w 323"/>
                    <a:gd name="T37" fmla="*/ 494 h 494"/>
                    <a:gd name="T38" fmla="*/ 221 w 323"/>
                    <a:gd name="T39" fmla="*/ 489 h 494"/>
                    <a:gd name="T40" fmla="*/ 221 w 323"/>
                    <a:gd name="T41" fmla="*/ 483 h 494"/>
                    <a:gd name="T42" fmla="*/ 223 w 323"/>
                    <a:gd name="T43" fmla="*/ 476 h 494"/>
                    <a:gd name="T44" fmla="*/ 236 w 323"/>
                    <a:gd name="T45" fmla="*/ 472 h 494"/>
                    <a:gd name="T46" fmla="*/ 245 w 323"/>
                    <a:gd name="T47" fmla="*/ 470 h 494"/>
                    <a:gd name="T48" fmla="*/ 251 w 323"/>
                    <a:gd name="T49" fmla="*/ 469 h 494"/>
                    <a:gd name="T50" fmla="*/ 254 w 323"/>
                    <a:gd name="T51" fmla="*/ 469 h 494"/>
                    <a:gd name="T52" fmla="*/ 254 w 323"/>
                    <a:gd name="T53" fmla="*/ 469 h 494"/>
                    <a:gd name="T54" fmla="*/ 258 w 323"/>
                    <a:gd name="T55" fmla="*/ 467 h 494"/>
                    <a:gd name="T56" fmla="*/ 262 w 323"/>
                    <a:gd name="T57" fmla="*/ 465 h 494"/>
                    <a:gd name="T58" fmla="*/ 265 w 323"/>
                    <a:gd name="T59" fmla="*/ 463 h 494"/>
                    <a:gd name="T60" fmla="*/ 269 w 323"/>
                    <a:gd name="T61" fmla="*/ 461 h 494"/>
                    <a:gd name="T62" fmla="*/ 273 w 323"/>
                    <a:gd name="T63" fmla="*/ 457 h 494"/>
                    <a:gd name="T64" fmla="*/ 275 w 323"/>
                    <a:gd name="T65" fmla="*/ 456 h 494"/>
                    <a:gd name="T66" fmla="*/ 278 w 323"/>
                    <a:gd name="T67" fmla="*/ 452 h 494"/>
                    <a:gd name="T68" fmla="*/ 280 w 323"/>
                    <a:gd name="T69" fmla="*/ 446 h 494"/>
                    <a:gd name="T70" fmla="*/ 282 w 323"/>
                    <a:gd name="T71" fmla="*/ 441 h 494"/>
                    <a:gd name="T72" fmla="*/ 284 w 323"/>
                    <a:gd name="T73" fmla="*/ 433 h 494"/>
                    <a:gd name="T74" fmla="*/ 293 w 323"/>
                    <a:gd name="T75" fmla="*/ 437 h 494"/>
                    <a:gd name="T76" fmla="*/ 301 w 323"/>
                    <a:gd name="T77" fmla="*/ 439 h 494"/>
                    <a:gd name="T78" fmla="*/ 304 w 323"/>
                    <a:gd name="T79" fmla="*/ 441 h 494"/>
                    <a:gd name="T80" fmla="*/ 308 w 323"/>
                    <a:gd name="T81" fmla="*/ 441 h 494"/>
                    <a:gd name="T82" fmla="*/ 312 w 323"/>
                    <a:gd name="T83" fmla="*/ 441 h 494"/>
                    <a:gd name="T84" fmla="*/ 315 w 323"/>
                    <a:gd name="T85" fmla="*/ 441 h 494"/>
                    <a:gd name="T86" fmla="*/ 319 w 323"/>
                    <a:gd name="T87" fmla="*/ 441 h 494"/>
                    <a:gd name="T88" fmla="*/ 323 w 323"/>
                    <a:gd name="T89" fmla="*/ 439 h 494"/>
                    <a:gd name="T90" fmla="*/ 319 w 323"/>
                    <a:gd name="T91" fmla="*/ 441 h 494"/>
                    <a:gd name="T92" fmla="*/ 315 w 323"/>
                    <a:gd name="T93" fmla="*/ 441 h 494"/>
                    <a:gd name="T94" fmla="*/ 312 w 323"/>
                    <a:gd name="T95" fmla="*/ 441 h 494"/>
                    <a:gd name="T96" fmla="*/ 308 w 323"/>
                    <a:gd name="T97" fmla="*/ 441 h 494"/>
                    <a:gd name="T98" fmla="*/ 304 w 323"/>
                    <a:gd name="T99" fmla="*/ 441 h 494"/>
                    <a:gd name="T100" fmla="*/ 301 w 323"/>
                    <a:gd name="T101" fmla="*/ 439 h 494"/>
                    <a:gd name="T102" fmla="*/ 293 w 323"/>
                    <a:gd name="T103" fmla="*/ 437 h 494"/>
                    <a:gd name="T104" fmla="*/ 284 w 323"/>
                    <a:gd name="T105" fmla="*/ 433 h 494"/>
                    <a:gd name="T106" fmla="*/ 0 w 323"/>
                    <a:gd name="T107" fmla="*/ 0 h 494"/>
                    <a:gd name="T108" fmla="*/ 0 w 323"/>
                    <a:gd name="T109" fmla="*/ 0 h 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23" h="494">
                      <a:moveTo>
                        <a:pt x="284" y="433"/>
                      </a:moveTo>
                      <a:lnTo>
                        <a:pt x="282" y="441"/>
                      </a:lnTo>
                      <a:lnTo>
                        <a:pt x="280" y="446"/>
                      </a:lnTo>
                      <a:lnTo>
                        <a:pt x="278" y="452"/>
                      </a:lnTo>
                      <a:lnTo>
                        <a:pt x="275" y="456"/>
                      </a:lnTo>
                      <a:lnTo>
                        <a:pt x="273" y="457"/>
                      </a:lnTo>
                      <a:lnTo>
                        <a:pt x="269" y="461"/>
                      </a:lnTo>
                      <a:lnTo>
                        <a:pt x="265" y="463"/>
                      </a:lnTo>
                      <a:lnTo>
                        <a:pt x="262" y="465"/>
                      </a:lnTo>
                      <a:lnTo>
                        <a:pt x="258" y="467"/>
                      </a:lnTo>
                      <a:lnTo>
                        <a:pt x="254" y="469"/>
                      </a:lnTo>
                      <a:lnTo>
                        <a:pt x="254" y="469"/>
                      </a:lnTo>
                      <a:lnTo>
                        <a:pt x="251" y="469"/>
                      </a:lnTo>
                      <a:lnTo>
                        <a:pt x="245" y="470"/>
                      </a:lnTo>
                      <a:lnTo>
                        <a:pt x="236" y="472"/>
                      </a:lnTo>
                      <a:lnTo>
                        <a:pt x="223" y="476"/>
                      </a:lnTo>
                      <a:lnTo>
                        <a:pt x="221" y="483"/>
                      </a:lnTo>
                      <a:lnTo>
                        <a:pt x="221" y="489"/>
                      </a:lnTo>
                      <a:lnTo>
                        <a:pt x="219" y="494"/>
                      </a:lnTo>
                      <a:lnTo>
                        <a:pt x="221" y="489"/>
                      </a:lnTo>
                      <a:lnTo>
                        <a:pt x="221" y="483"/>
                      </a:lnTo>
                      <a:lnTo>
                        <a:pt x="223" y="476"/>
                      </a:lnTo>
                      <a:lnTo>
                        <a:pt x="236" y="472"/>
                      </a:lnTo>
                      <a:lnTo>
                        <a:pt x="245" y="470"/>
                      </a:lnTo>
                      <a:lnTo>
                        <a:pt x="251" y="469"/>
                      </a:lnTo>
                      <a:lnTo>
                        <a:pt x="254" y="469"/>
                      </a:lnTo>
                      <a:lnTo>
                        <a:pt x="254" y="469"/>
                      </a:lnTo>
                      <a:lnTo>
                        <a:pt x="258" y="467"/>
                      </a:lnTo>
                      <a:lnTo>
                        <a:pt x="262" y="465"/>
                      </a:lnTo>
                      <a:lnTo>
                        <a:pt x="265" y="463"/>
                      </a:lnTo>
                      <a:lnTo>
                        <a:pt x="269" y="461"/>
                      </a:lnTo>
                      <a:lnTo>
                        <a:pt x="273" y="457"/>
                      </a:lnTo>
                      <a:lnTo>
                        <a:pt x="275" y="456"/>
                      </a:lnTo>
                      <a:lnTo>
                        <a:pt x="278" y="452"/>
                      </a:lnTo>
                      <a:lnTo>
                        <a:pt x="280" y="446"/>
                      </a:lnTo>
                      <a:lnTo>
                        <a:pt x="282" y="441"/>
                      </a:lnTo>
                      <a:lnTo>
                        <a:pt x="284" y="433"/>
                      </a:lnTo>
                      <a:lnTo>
                        <a:pt x="293" y="437"/>
                      </a:lnTo>
                      <a:lnTo>
                        <a:pt x="301" y="439"/>
                      </a:lnTo>
                      <a:lnTo>
                        <a:pt x="304" y="441"/>
                      </a:lnTo>
                      <a:lnTo>
                        <a:pt x="308" y="441"/>
                      </a:lnTo>
                      <a:lnTo>
                        <a:pt x="312" y="441"/>
                      </a:lnTo>
                      <a:lnTo>
                        <a:pt x="315" y="441"/>
                      </a:lnTo>
                      <a:lnTo>
                        <a:pt x="319" y="441"/>
                      </a:lnTo>
                      <a:lnTo>
                        <a:pt x="323" y="439"/>
                      </a:lnTo>
                      <a:lnTo>
                        <a:pt x="319" y="441"/>
                      </a:lnTo>
                      <a:lnTo>
                        <a:pt x="315" y="441"/>
                      </a:lnTo>
                      <a:lnTo>
                        <a:pt x="312" y="441"/>
                      </a:lnTo>
                      <a:lnTo>
                        <a:pt x="308" y="441"/>
                      </a:lnTo>
                      <a:lnTo>
                        <a:pt x="304" y="441"/>
                      </a:lnTo>
                      <a:lnTo>
                        <a:pt x="301" y="439"/>
                      </a:lnTo>
                      <a:lnTo>
                        <a:pt x="293" y="437"/>
                      </a:lnTo>
                      <a:lnTo>
                        <a:pt x="284" y="433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7" name="Freeform 3031"/>
                <p:cNvSpPr>
                  <a:spLocks/>
                </p:cNvSpPr>
                <p:nvPr/>
              </p:nvSpPr>
              <p:spPr bwMode="auto">
                <a:xfrm>
                  <a:off x="4955" y="1642"/>
                  <a:ext cx="104" cy="61"/>
                </a:xfrm>
                <a:custGeom>
                  <a:avLst/>
                  <a:gdLst>
                    <a:gd name="T0" fmla="*/ 65 w 104"/>
                    <a:gd name="T1" fmla="*/ 0 h 61"/>
                    <a:gd name="T2" fmla="*/ 63 w 104"/>
                    <a:gd name="T3" fmla="*/ 8 h 61"/>
                    <a:gd name="T4" fmla="*/ 61 w 104"/>
                    <a:gd name="T5" fmla="*/ 13 h 61"/>
                    <a:gd name="T6" fmla="*/ 59 w 104"/>
                    <a:gd name="T7" fmla="*/ 19 h 61"/>
                    <a:gd name="T8" fmla="*/ 56 w 104"/>
                    <a:gd name="T9" fmla="*/ 23 h 61"/>
                    <a:gd name="T10" fmla="*/ 54 w 104"/>
                    <a:gd name="T11" fmla="*/ 24 h 61"/>
                    <a:gd name="T12" fmla="*/ 50 w 104"/>
                    <a:gd name="T13" fmla="*/ 28 h 61"/>
                    <a:gd name="T14" fmla="*/ 46 w 104"/>
                    <a:gd name="T15" fmla="*/ 30 h 61"/>
                    <a:gd name="T16" fmla="*/ 43 w 104"/>
                    <a:gd name="T17" fmla="*/ 32 h 61"/>
                    <a:gd name="T18" fmla="*/ 39 w 104"/>
                    <a:gd name="T19" fmla="*/ 34 h 61"/>
                    <a:gd name="T20" fmla="*/ 35 w 104"/>
                    <a:gd name="T21" fmla="*/ 36 h 61"/>
                    <a:gd name="T22" fmla="*/ 35 w 104"/>
                    <a:gd name="T23" fmla="*/ 36 h 61"/>
                    <a:gd name="T24" fmla="*/ 32 w 104"/>
                    <a:gd name="T25" fmla="*/ 36 h 61"/>
                    <a:gd name="T26" fmla="*/ 26 w 104"/>
                    <a:gd name="T27" fmla="*/ 37 h 61"/>
                    <a:gd name="T28" fmla="*/ 17 w 104"/>
                    <a:gd name="T29" fmla="*/ 39 h 61"/>
                    <a:gd name="T30" fmla="*/ 4 w 104"/>
                    <a:gd name="T31" fmla="*/ 43 h 61"/>
                    <a:gd name="T32" fmla="*/ 2 w 104"/>
                    <a:gd name="T33" fmla="*/ 50 h 61"/>
                    <a:gd name="T34" fmla="*/ 2 w 104"/>
                    <a:gd name="T35" fmla="*/ 56 h 61"/>
                    <a:gd name="T36" fmla="*/ 0 w 104"/>
                    <a:gd name="T37" fmla="*/ 61 h 61"/>
                    <a:gd name="T38" fmla="*/ 2 w 104"/>
                    <a:gd name="T39" fmla="*/ 56 h 61"/>
                    <a:gd name="T40" fmla="*/ 2 w 104"/>
                    <a:gd name="T41" fmla="*/ 50 h 61"/>
                    <a:gd name="T42" fmla="*/ 4 w 104"/>
                    <a:gd name="T43" fmla="*/ 43 h 61"/>
                    <a:gd name="T44" fmla="*/ 17 w 104"/>
                    <a:gd name="T45" fmla="*/ 39 h 61"/>
                    <a:gd name="T46" fmla="*/ 26 w 104"/>
                    <a:gd name="T47" fmla="*/ 37 h 61"/>
                    <a:gd name="T48" fmla="*/ 32 w 104"/>
                    <a:gd name="T49" fmla="*/ 36 h 61"/>
                    <a:gd name="T50" fmla="*/ 35 w 104"/>
                    <a:gd name="T51" fmla="*/ 36 h 61"/>
                    <a:gd name="T52" fmla="*/ 35 w 104"/>
                    <a:gd name="T53" fmla="*/ 36 h 61"/>
                    <a:gd name="T54" fmla="*/ 39 w 104"/>
                    <a:gd name="T55" fmla="*/ 34 h 61"/>
                    <a:gd name="T56" fmla="*/ 43 w 104"/>
                    <a:gd name="T57" fmla="*/ 32 h 61"/>
                    <a:gd name="T58" fmla="*/ 46 w 104"/>
                    <a:gd name="T59" fmla="*/ 30 h 61"/>
                    <a:gd name="T60" fmla="*/ 50 w 104"/>
                    <a:gd name="T61" fmla="*/ 28 h 61"/>
                    <a:gd name="T62" fmla="*/ 54 w 104"/>
                    <a:gd name="T63" fmla="*/ 24 h 61"/>
                    <a:gd name="T64" fmla="*/ 56 w 104"/>
                    <a:gd name="T65" fmla="*/ 23 h 61"/>
                    <a:gd name="T66" fmla="*/ 59 w 104"/>
                    <a:gd name="T67" fmla="*/ 19 h 61"/>
                    <a:gd name="T68" fmla="*/ 61 w 104"/>
                    <a:gd name="T69" fmla="*/ 13 h 61"/>
                    <a:gd name="T70" fmla="*/ 63 w 104"/>
                    <a:gd name="T71" fmla="*/ 8 h 61"/>
                    <a:gd name="T72" fmla="*/ 65 w 104"/>
                    <a:gd name="T73" fmla="*/ 0 h 61"/>
                    <a:gd name="T74" fmla="*/ 74 w 104"/>
                    <a:gd name="T75" fmla="*/ 4 h 61"/>
                    <a:gd name="T76" fmla="*/ 82 w 104"/>
                    <a:gd name="T77" fmla="*/ 6 h 61"/>
                    <a:gd name="T78" fmla="*/ 85 w 104"/>
                    <a:gd name="T79" fmla="*/ 8 h 61"/>
                    <a:gd name="T80" fmla="*/ 89 w 104"/>
                    <a:gd name="T81" fmla="*/ 8 h 61"/>
                    <a:gd name="T82" fmla="*/ 93 w 104"/>
                    <a:gd name="T83" fmla="*/ 8 h 61"/>
                    <a:gd name="T84" fmla="*/ 96 w 104"/>
                    <a:gd name="T85" fmla="*/ 8 h 61"/>
                    <a:gd name="T86" fmla="*/ 100 w 104"/>
                    <a:gd name="T87" fmla="*/ 8 h 61"/>
                    <a:gd name="T88" fmla="*/ 104 w 104"/>
                    <a:gd name="T89" fmla="*/ 6 h 61"/>
                    <a:gd name="T90" fmla="*/ 100 w 104"/>
                    <a:gd name="T91" fmla="*/ 8 h 61"/>
                    <a:gd name="T92" fmla="*/ 96 w 104"/>
                    <a:gd name="T93" fmla="*/ 8 h 61"/>
                    <a:gd name="T94" fmla="*/ 93 w 104"/>
                    <a:gd name="T95" fmla="*/ 8 h 61"/>
                    <a:gd name="T96" fmla="*/ 89 w 104"/>
                    <a:gd name="T97" fmla="*/ 8 h 61"/>
                    <a:gd name="T98" fmla="*/ 85 w 104"/>
                    <a:gd name="T99" fmla="*/ 8 h 61"/>
                    <a:gd name="T100" fmla="*/ 82 w 104"/>
                    <a:gd name="T101" fmla="*/ 6 h 61"/>
                    <a:gd name="T102" fmla="*/ 74 w 104"/>
                    <a:gd name="T103" fmla="*/ 4 h 61"/>
                    <a:gd name="T104" fmla="*/ 65 w 104"/>
                    <a:gd name="T10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4" h="61">
                      <a:moveTo>
                        <a:pt x="65" y="0"/>
                      </a:moveTo>
                      <a:lnTo>
                        <a:pt x="63" y="8"/>
                      </a:lnTo>
                      <a:lnTo>
                        <a:pt x="61" y="13"/>
                      </a:lnTo>
                      <a:lnTo>
                        <a:pt x="59" y="19"/>
                      </a:lnTo>
                      <a:lnTo>
                        <a:pt x="56" y="23"/>
                      </a:lnTo>
                      <a:lnTo>
                        <a:pt x="54" y="24"/>
                      </a:lnTo>
                      <a:lnTo>
                        <a:pt x="50" y="28"/>
                      </a:lnTo>
                      <a:lnTo>
                        <a:pt x="46" y="30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5" y="36"/>
                      </a:lnTo>
                      <a:lnTo>
                        <a:pt x="35" y="36"/>
                      </a:lnTo>
                      <a:lnTo>
                        <a:pt x="32" y="36"/>
                      </a:lnTo>
                      <a:lnTo>
                        <a:pt x="26" y="37"/>
                      </a:lnTo>
                      <a:lnTo>
                        <a:pt x="17" y="39"/>
                      </a:lnTo>
                      <a:lnTo>
                        <a:pt x="4" y="43"/>
                      </a:lnTo>
                      <a:lnTo>
                        <a:pt x="2" y="50"/>
                      </a:lnTo>
                      <a:lnTo>
                        <a:pt x="2" y="56"/>
                      </a:lnTo>
                      <a:lnTo>
                        <a:pt x="0" y="61"/>
                      </a:lnTo>
                      <a:lnTo>
                        <a:pt x="2" y="56"/>
                      </a:lnTo>
                      <a:lnTo>
                        <a:pt x="2" y="50"/>
                      </a:lnTo>
                      <a:lnTo>
                        <a:pt x="4" y="43"/>
                      </a:lnTo>
                      <a:lnTo>
                        <a:pt x="17" y="39"/>
                      </a:lnTo>
                      <a:lnTo>
                        <a:pt x="26" y="37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5" y="36"/>
                      </a:lnTo>
                      <a:lnTo>
                        <a:pt x="39" y="34"/>
                      </a:lnTo>
                      <a:lnTo>
                        <a:pt x="43" y="32"/>
                      </a:lnTo>
                      <a:lnTo>
                        <a:pt x="46" y="30"/>
                      </a:lnTo>
                      <a:lnTo>
                        <a:pt x="50" y="28"/>
                      </a:lnTo>
                      <a:lnTo>
                        <a:pt x="54" y="24"/>
                      </a:lnTo>
                      <a:lnTo>
                        <a:pt x="56" y="23"/>
                      </a:lnTo>
                      <a:lnTo>
                        <a:pt x="59" y="19"/>
                      </a:lnTo>
                      <a:lnTo>
                        <a:pt x="61" y="13"/>
                      </a:lnTo>
                      <a:lnTo>
                        <a:pt x="63" y="8"/>
                      </a:lnTo>
                      <a:lnTo>
                        <a:pt x="65" y="0"/>
                      </a:lnTo>
                      <a:lnTo>
                        <a:pt x="74" y="4"/>
                      </a:lnTo>
                      <a:lnTo>
                        <a:pt x="82" y="6"/>
                      </a:lnTo>
                      <a:lnTo>
                        <a:pt x="85" y="8"/>
                      </a:lnTo>
                      <a:lnTo>
                        <a:pt x="89" y="8"/>
                      </a:lnTo>
                      <a:lnTo>
                        <a:pt x="93" y="8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104" y="6"/>
                      </a:lnTo>
                      <a:lnTo>
                        <a:pt x="100" y="8"/>
                      </a:lnTo>
                      <a:lnTo>
                        <a:pt x="96" y="8"/>
                      </a:lnTo>
                      <a:lnTo>
                        <a:pt x="93" y="8"/>
                      </a:lnTo>
                      <a:lnTo>
                        <a:pt x="89" y="8"/>
                      </a:lnTo>
                      <a:lnTo>
                        <a:pt x="85" y="8"/>
                      </a:lnTo>
                      <a:lnTo>
                        <a:pt x="82" y="6"/>
                      </a:lnTo>
                      <a:lnTo>
                        <a:pt x="74" y="4"/>
                      </a:lnTo>
                      <a:lnTo>
                        <a:pt x="6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8" name="Line 3032"/>
                <p:cNvSpPr>
                  <a:spLocks noChangeShapeType="1"/>
                </p:cNvSpPr>
                <p:nvPr/>
              </p:nvSpPr>
              <p:spPr bwMode="auto">
                <a:xfrm>
                  <a:off x="4736" y="1209"/>
                  <a:ext cx="1" cy="1"/>
                </a:xfrm>
                <a:prstGeom prst="lin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19" name="Freeform 3033"/>
                <p:cNvSpPr>
                  <a:spLocks/>
                </p:cNvSpPr>
                <p:nvPr/>
              </p:nvSpPr>
              <p:spPr bwMode="auto">
                <a:xfrm>
                  <a:off x="4699" y="1218"/>
                  <a:ext cx="498" cy="557"/>
                </a:xfrm>
                <a:custGeom>
                  <a:avLst/>
                  <a:gdLst>
                    <a:gd name="T0" fmla="*/ 493 w 498"/>
                    <a:gd name="T1" fmla="*/ 85 h 557"/>
                    <a:gd name="T2" fmla="*/ 491 w 498"/>
                    <a:gd name="T3" fmla="*/ 103 h 557"/>
                    <a:gd name="T4" fmla="*/ 469 w 498"/>
                    <a:gd name="T5" fmla="*/ 107 h 557"/>
                    <a:gd name="T6" fmla="*/ 454 w 498"/>
                    <a:gd name="T7" fmla="*/ 94 h 557"/>
                    <a:gd name="T8" fmla="*/ 439 w 498"/>
                    <a:gd name="T9" fmla="*/ 72 h 557"/>
                    <a:gd name="T10" fmla="*/ 415 w 498"/>
                    <a:gd name="T11" fmla="*/ 61 h 557"/>
                    <a:gd name="T12" fmla="*/ 387 w 498"/>
                    <a:gd name="T13" fmla="*/ 90 h 557"/>
                    <a:gd name="T14" fmla="*/ 365 w 498"/>
                    <a:gd name="T15" fmla="*/ 186 h 557"/>
                    <a:gd name="T16" fmla="*/ 387 w 498"/>
                    <a:gd name="T17" fmla="*/ 312 h 557"/>
                    <a:gd name="T18" fmla="*/ 404 w 498"/>
                    <a:gd name="T19" fmla="*/ 354 h 557"/>
                    <a:gd name="T20" fmla="*/ 426 w 498"/>
                    <a:gd name="T21" fmla="*/ 340 h 557"/>
                    <a:gd name="T22" fmla="*/ 448 w 498"/>
                    <a:gd name="T23" fmla="*/ 345 h 557"/>
                    <a:gd name="T24" fmla="*/ 432 w 498"/>
                    <a:gd name="T25" fmla="*/ 376 h 557"/>
                    <a:gd name="T26" fmla="*/ 411 w 498"/>
                    <a:gd name="T27" fmla="*/ 384 h 557"/>
                    <a:gd name="T28" fmla="*/ 406 w 498"/>
                    <a:gd name="T29" fmla="*/ 419 h 557"/>
                    <a:gd name="T30" fmla="*/ 376 w 498"/>
                    <a:gd name="T31" fmla="*/ 456 h 557"/>
                    <a:gd name="T32" fmla="*/ 347 w 498"/>
                    <a:gd name="T33" fmla="*/ 465 h 557"/>
                    <a:gd name="T34" fmla="*/ 369 w 498"/>
                    <a:gd name="T35" fmla="*/ 428 h 557"/>
                    <a:gd name="T36" fmla="*/ 338 w 498"/>
                    <a:gd name="T37" fmla="*/ 430 h 557"/>
                    <a:gd name="T38" fmla="*/ 291 w 498"/>
                    <a:gd name="T39" fmla="*/ 460 h 557"/>
                    <a:gd name="T40" fmla="*/ 262 w 498"/>
                    <a:gd name="T41" fmla="*/ 493 h 557"/>
                    <a:gd name="T42" fmla="*/ 253 w 498"/>
                    <a:gd name="T43" fmla="*/ 504 h 557"/>
                    <a:gd name="T44" fmla="*/ 240 w 498"/>
                    <a:gd name="T45" fmla="*/ 524 h 557"/>
                    <a:gd name="T46" fmla="*/ 188 w 498"/>
                    <a:gd name="T47" fmla="*/ 535 h 557"/>
                    <a:gd name="T48" fmla="*/ 103 w 498"/>
                    <a:gd name="T49" fmla="*/ 530 h 557"/>
                    <a:gd name="T50" fmla="*/ 107 w 498"/>
                    <a:gd name="T51" fmla="*/ 472 h 557"/>
                    <a:gd name="T52" fmla="*/ 75 w 498"/>
                    <a:gd name="T53" fmla="*/ 436 h 557"/>
                    <a:gd name="T54" fmla="*/ 15 w 498"/>
                    <a:gd name="T55" fmla="*/ 437 h 557"/>
                    <a:gd name="T56" fmla="*/ 2 w 498"/>
                    <a:gd name="T57" fmla="*/ 445 h 557"/>
                    <a:gd name="T58" fmla="*/ 35 w 498"/>
                    <a:gd name="T59" fmla="*/ 428 h 557"/>
                    <a:gd name="T60" fmla="*/ 103 w 498"/>
                    <a:gd name="T61" fmla="*/ 454 h 557"/>
                    <a:gd name="T62" fmla="*/ 101 w 498"/>
                    <a:gd name="T63" fmla="*/ 524 h 557"/>
                    <a:gd name="T64" fmla="*/ 175 w 498"/>
                    <a:gd name="T65" fmla="*/ 532 h 557"/>
                    <a:gd name="T66" fmla="*/ 232 w 498"/>
                    <a:gd name="T67" fmla="*/ 539 h 557"/>
                    <a:gd name="T68" fmla="*/ 262 w 498"/>
                    <a:gd name="T69" fmla="*/ 508 h 557"/>
                    <a:gd name="T70" fmla="*/ 271 w 498"/>
                    <a:gd name="T71" fmla="*/ 495 h 557"/>
                    <a:gd name="T72" fmla="*/ 297 w 498"/>
                    <a:gd name="T73" fmla="*/ 460 h 557"/>
                    <a:gd name="T74" fmla="*/ 321 w 498"/>
                    <a:gd name="T75" fmla="*/ 432 h 557"/>
                    <a:gd name="T76" fmla="*/ 362 w 498"/>
                    <a:gd name="T77" fmla="*/ 432 h 557"/>
                    <a:gd name="T78" fmla="*/ 352 w 498"/>
                    <a:gd name="T79" fmla="*/ 450 h 557"/>
                    <a:gd name="T80" fmla="*/ 358 w 498"/>
                    <a:gd name="T81" fmla="*/ 472 h 557"/>
                    <a:gd name="T82" fmla="*/ 374 w 498"/>
                    <a:gd name="T83" fmla="*/ 461 h 557"/>
                    <a:gd name="T84" fmla="*/ 378 w 498"/>
                    <a:gd name="T85" fmla="*/ 436 h 557"/>
                    <a:gd name="T86" fmla="*/ 408 w 498"/>
                    <a:gd name="T87" fmla="*/ 413 h 557"/>
                    <a:gd name="T88" fmla="*/ 400 w 498"/>
                    <a:gd name="T89" fmla="*/ 389 h 557"/>
                    <a:gd name="T90" fmla="*/ 434 w 498"/>
                    <a:gd name="T91" fmla="*/ 378 h 557"/>
                    <a:gd name="T92" fmla="*/ 446 w 498"/>
                    <a:gd name="T93" fmla="*/ 351 h 557"/>
                    <a:gd name="T94" fmla="*/ 450 w 498"/>
                    <a:gd name="T95" fmla="*/ 338 h 557"/>
                    <a:gd name="T96" fmla="*/ 422 w 498"/>
                    <a:gd name="T97" fmla="*/ 340 h 557"/>
                    <a:gd name="T98" fmla="*/ 406 w 498"/>
                    <a:gd name="T99" fmla="*/ 354 h 557"/>
                    <a:gd name="T100" fmla="*/ 389 w 498"/>
                    <a:gd name="T101" fmla="*/ 321 h 557"/>
                    <a:gd name="T102" fmla="*/ 373 w 498"/>
                    <a:gd name="T103" fmla="*/ 194 h 557"/>
                    <a:gd name="T104" fmla="*/ 356 w 498"/>
                    <a:gd name="T105" fmla="*/ 135 h 557"/>
                    <a:gd name="T106" fmla="*/ 406 w 498"/>
                    <a:gd name="T107" fmla="*/ 78 h 557"/>
                    <a:gd name="T108" fmla="*/ 432 w 498"/>
                    <a:gd name="T109" fmla="*/ 55 h 557"/>
                    <a:gd name="T110" fmla="*/ 446 w 498"/>
                    <a:gd name="T111" fmla="*/ 89 h 557"/>
                    <a:gd name="T112" fmla="*/ 465 w 498"/>
                    <a:gd name="T113" fmla="*/ 107 h 557"/>
                    <a:gd name="T114" fmla="*/ 474 w 498"/>
                    <a:gd name="T115" fmla="*/ 94 h 557"/>
                    <a:gd name="T116" fmla="*/ 491 w 498"/>
                    <a:gd name="T117" fmla="*/ 113 h 557"/>
                    <a:gd name="T118" fmla="*/ 491 w 498"/>
                    <a:gd name="T119" fmla="*/ 57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98" h="557">
                      <a:moveTo>
                        <a:pt x="483" y="0"/>
                      </a:moveTo>
                      <a:lnTo>
                        <a:pt x="482" y="0"/>
                      </a:lnTo>
                      <a:lnTo>
                        <a:pt x="480" y="0"/>
                      </a:lnTo>
                      <a:lnTo>
                        <a:pt x="480" y="0"/>
                      </a:lnTo>
                      <a:lnTo>
                        <a:pt x="482" y="0"/>
                      </a:lnTo>
                      <a:lnTo>
                        <a:pt x="483" y="0"/>
                      </a:lnTo>
                      <a:lnTo>
                        <a:pt x="485" y="15"/>
                      </a:lnTo>
                      <a:lnTo>
                        <a:pt x="487" y="30"/>
                      </a:lnTo>
                      <a:lnTo>
                        <a:pt x="489" y="42"/>
                      </a:lnTo>
                      <a:lnTo>
                        <a:pt x="491" y="57"/>
                      </a:lnTo>
                      <a:lnTo>
                        <a:pt x="491" y="72"/>
                      </a:lnTo>
                      <a:lnTo>
                        <a:pt x="493" y="85"/>
                      </a:lnTo>
                      <a:lnTo>
                        <a:pt x="494" y="100"/>
                      </a:lnTo>
                      <a:lnTo>
                        <a:pt x="496" y="114"/>
                      </a:lnTo>
                      <a:lnTo>
                        <a:pt x="494" y="114"/>
                      </a:lnTo>
                      <a:lnTo>
                        <a:pt x="493" y="114"/>
                      </a:lnTo>
                      <a:lnTo>
                        <a:pt x="493" y="113"/>
                      </a:lnTo>
                      <a:lnTo>
                        <a:pt x="493" y="113"/>
                      </a:lnTo>
                      <a:lnTo>
                        <a:pt x="493" y="111"/>
                      </a:lnTo>
                      <a:lnTo>
                        <a:pt x="493" y="111"/>
                      </a:lnTo>
                      <a:lnTo>
                        <a:pt x="491" y="109"/>
                      </a:lnTo>
                      <a:lnTo>
                        <a:pt x="491" y="107"/>
                      </a:lnTo>
                      <a:lnTo>
                        <a:pt x="491" y="103"/>
                      </a:lnTo>
                      <a:lnTo>
                        <a:pt x="491" y="103"/>
                      </a:lnTo>
                      <a:lnTo>
                        <a:pt x="485" y="103"/>
                      </a:lnTo>
                      <a:lnTo>
                        <a:pt x="480" y="103"/>
                      </a:lnTo>
                      <a:lnTo>
                        <a:pt x="480" y="98"/>
                      </a:lnTo>
                      <a:lnTo>
                        <a:pt x="480" y="92"/>
                      </a:lnTo>
                      <a:lnTo>
                        <a:pt x="480" y="92"/>
                      </a:lnTo>
                      <a:lnTo>
                        <a:pt x="474" y="92"/>
                      </a:lnTo>
                      <a:lnTo>
                        <a:pt x="469" y="92"/>
                      </a:lnTo>
                      <a:lnTo>
                        <a:pt x="469" y="92"/>
                      </a:lnTo>
                      <a:lnTo>
                        <a:pt x="469" y="96"/>
                      </a:lnTo>
                      <a:lnTo>
                        <a:pt x="469" y="100"/>
                      </a:lnTo>
                      <a:lnTo>
                        <a:pt x="469" y="105"/>
                      </a:lnTo>
                      <a:lnTo>
                        <a:pt x="469" y="107"/>
                      </a:lnTo>
                      <a:lnTo>
                        <a:pt x="469" y="109"/>
                      </a:lnTo>
                      <a:lnTo>
                        <a:pt x="467" y="107"/>
                      </a:lnTo>
                      <a:lnTo>
                        <a:pt x="467" y="107"/>
                      </a:lnTo>
                      <a:lnTo>
                        <a:pt x="467" y="107"/>
                      </a:lnTo>
                      <a:lnTo>
                        <a:pt x="465" y="107"/>
                      </a:lnTo>
                      <a:lnTo>
                        <a:pt x="463" y="103"/>
                      </a:lnTo>
                      <a:lnTo>
                        <a:pt x="461" y="102"/>
                      </a:lnTo>
                      <a:lnTo>
                        <a:pt x="459" y="100"/>
                      </a:lnTo>
                      <a:lnTo>
                        <a:pt x="459" y="98"/>
                      </a:lnTo>
                      <a:lnTo>
                        <a:pt x="456" y="96"/>
                      </a:lnTo>
                      <a:lnTo>
                        <a:pt x="456" y="96"/>
                      </a:lnTo>
                      <a:lnTo>
                        <a:pt x="454" y="94"/>
                      </a:lnTo>
                      <a:lnTo>
                        <a:pt x="452" y="94"/>
                      </a:lnTo>
                      <a:lnTo>
                        <a:pt x="452" y="94"/>
                      </a:lnTo>
                      <a:lnTo>
                        <a:pt x="450" y="92"/>
                      </a:lnTo>
                      <a:lnTo>
                        <a:pt x="448" y="92"/>
                      </a:lnTo>
                      <a:lnTo>
                        <a:pt x="448" y="89"/>
                      </a:lnTo>
                      <a:lnTo>
                        <a:pt x="448" y="85"/>
                      </a:lnTo>
                      <a:lnTo>
                        <a:pt x="448" y="81"/>
                      </a:lnTo>
                      <a:lnTo>
                        <a:pt x="448" y="76"/>
                      </a:lnTo>
                      <a:lnTo>
                        <a:pt x="448" y="76"/>
                      </a:lnTo>
                      <a:lnTo>
                        <a:pt x="441" y="74"/>
                      </a:lnTo>
                      <a:lnTo>
                        <a:pt x="437" y="74"/>
                      </a:lnTo>
                      <a:lnTo>
                        <a:pt x="439" y="72"/>
                      </a:lnTo>
                      <a:lnTo>
                        <a:pt x="443" y="68"/>
                      </a:lnTo>
                      <a:lnTo>
                        <a:pt x="443" y="68"/>
                      </a:lnTo>
                      <a:lnTo>
                        <a:pt x="439" y="63"/>
                      </a:lnTo>
                      <a:lnTo>
                        <a:pt x="437" y="59"/>
                      </a:lnTo>
                      <a:lnTo>
                        <a:pt x="434" y="54"/>
                      </a:lnTo>
                      <a:lnTo>
                        <a:pt x="432" y="48"/>
                      </a:lnTo>
                      <a:lnTo>
                        <a:pt x="432" y="48"/>
                      </a:lnTo>
                      <a:lnTo>
                        <a:pt x="424" y="48"/>
                      </a:lnTo>
                      <a:lnTo>
                        <a:pt x="419" y="48"/>
                      </a:lnTo>
                      <a:lnTo>
                        <a:pt x="419" y="48"/>
                      </a:lnTo>
                      <a:lnTo>
                        <a:pt x="417" y="55"/>
                      </a:lnTo>
                      <a:lnTo>
                        <a:pt x="415" y="61"/>
                      </a:lnTo>
                      <a:lnTo>
                        <a:pt x="415" y="68"/>
                      </a:lnTo>
                      <a:lnTo>
                        <a:pt x="413" y="74"/>
                      </a:lnTo>
                      <a:lnTo>
                        <a:pt x="411" y="74"/>
                      </a:lnTo>
                      <a:lnTo>
                        <a:pt x="411" y="74"/>
                      </a:lnTo>
                      <a:lnTo>
                        <a:pt x="411" y="76"/>
                      </a:lnTo>
                      <a:lnTo>
                        <a:pt x="406" y="76"/>
                      </a:lnTo>
                      <a:lnTo>
                        <a:pt x="400" y="78"/>
                      </a:lnTo>
                      <a:lnTo>
                        <a:pt x="395" y="79"/>
                      </a:lnTo>
                      <a:lnTo>
                        <a:pt x="395" y="79"/>
                      </a:lnTo>
                      <a:lnTo>
                        <a:pt x="391" y="79"/>
                      </a:lnTo>
                      <a:lnTo>
                        <a:pt x="389" y="79"/>
                      </a:lnTo>
                      <a:lnTo>
                        <a:pt x="387" y="90"/>
                      </a:lnTo>
                      <a:lnTo>
                        <a:pt x="386" y="100"/>
                      </a:lnTo>
                      <a:lnTo>
                        <a:pt x="384" y="109"/>
                      </a:lnTo>
                      <a:lnTo>
                        <a:pt x="380" y="120"/>
                      </a:lnTo>
                      <a:lnTo>
                        <a:pt x="374" y="124"/>
                      </a:lnTo>
                      <a:lnTo>
                        <a:pt x="367" y="127"/>
                      </a:lnTo>
                      <a:lnTo>
                        <a:pt x="362" y="131"/>
                      </a:lnTo>
                      <a:lnTo>
                        <a:pt x="354" y="135"/>
                      </a:lnTo>
                      <a:lnTo>
                        <a:pt x="356" y="148"/>
                      </a:lnTo>
                      <a:lnTo>
                        <a:pt x="356" y="161"/>
                      </a:lnTo>
                      <a:lnTo>
                        <a:pt x="358" y="174"/>
                      </a:lnTo>
                      <a:lnTo>
                        <a:pt x="360" y="186"/>
                      </a:lnTo>
                      <a:lnTo>
                        <a:pt x="365" y="186"/>
                      </a:lnTo>
                      <a:lnTo>
                        <a:pt x="371" y="186"/>
                      </a:lnTo>
                      <a:lnTo>
                        <a:pt x="371" y="194"/>
                      </a:lnTo>
                      <a:lnTo>
                        <a:pt x="371" y="203"/>
                      </a:lnTo>
                      <a:lnTo>
                        <a:pt x="373" y="212"/>
                      </a:lnTo>
                      <a:lnTo>
                        <a:pt x="374" y="221"/>
                      </a:lnTo>
                      <a:lnTo>
                        <a:pt x="378" y="242"/>
                      </a:lnTo>
                      <a:lnTo>
                        <a:pt x="382" y="262"/>
                      </a:lnTo>
                      <a:lnTo>
                        <a:pt x="384" y="273"/>
                      </a:lnTo>
                      <a:lnTo>
                        <a:pt x="386" y="282"/>
                      </a:lnTo>
                      <a:lnTo>
                        <a:pt x="387" y="293"/>
                      </a:lnTo>
                      <a:lnTo>
                        <a:pt x="387" y="303"/>
                      </a:lnTo>
                      <a:lnTo>
                        <a:pt x="387" y="312"/>
                      </a:lnTo>
                      <a:lnTo>
                        <a:pt x="387" y="321"/>
                      </a:lnTo>
                      <a:lnTo>
                        <a:pt x="387" y="330"/>
                      </a:lnTo>
                      <a:lnTo>
                        <a:pt x="387" y="338"/>
                      </a:lnTo>
                      <a:lnTo>
                        <a:pt x="387" y="340"/>
                      </a:lnTo>
                      <a:lnTo>
                        <a:pt x="391" y="340"/>
                      </a:lnTo>
                      <a:lnTo>
                        <a:pt x="397" y="340"/>
                      </a:lnTo>
                      <a:lnTo>
                        <a:pt x="400" y="340"/>
                      </a:lnTo>
                      <a:lnTo>
                        <a:pt x="404" y="340"/>
                      </a:lnTo>
                      <a:lnTo>
                        <a:pt x="404" y="341"/>
                      </a:lnTo>
                      <a:lnTo>
                        <a:pt x="404" y="347"/>
                      </a:lnTo>
                      <a:lnTo>
                        <a:pt x="404" y="351"/>
                      </a:lnTo>
                      <a:lnTo>
                        <a:pt x="404" y="354"/>
                      </a:lnTo>
                      <a:lnTo>
                        <a:pt x="404" y="356"/>
                      </a:lnTo>
                      <a:lnTo>
                        <a:pt x="410" y="356"/>
                      </a:lnTo>
                      <a:lnTo>
                        <a:pt x="415" y="354"/>
                      </a:lnTo>
                      <a:lnTo>
                        <a:pt x="415" y="354"/>
                      </a:lnTo>
                      <a:lnTo>
                        <a:pt x="417" y="351"/>
                      </a:lnTo>
                      <a:lnTo>
                        <a:pt x="419" y="349"/>
                      </a:lnTo>
                      <a:lnTo>
                        <a:pt x="419" y="349"/>
                      </a:lnTo>
                      <a:lnTo>
                        <a:pt x="419" y="345"/>
                      </a:lnTo>
                      <a:lnTo>
                        <a:pt x="421" y="343"/>
                      </a:lnTo>
                      <a:lnTo>
                        <a:pt x="422" y="341"/>
                      </a:lnTo>
                      <a:lnTo>
                        <a:pt x="424" y="341"/>
                      </a:lnTo>
                      <a:lnTo>
                        <a:pt x="426" y="340"/>
                      </a:lnTo>
                      <a:lnTo>
                        <a:pt x="428" y="338"/>
                      </a:lnTo>
                      <a:lnTo>
                        <a:pt x="430" y="338"/>
                      </a:lnTo>
                      <a:lnTo>
                        <a:pt x="432" y="336"/>
                      </a:lnTo>
                      <a:lnTo>
                        <a:pt x="434" y="336"/>
                      </a:lnTo>
                      <a:lnTo>
                        <a:pt x="437" y="336"/>
                      </a:lnTo>
                      <a:lnTo>
                        <a:pt x="441" y="336"/>
                      </a:lnTo>
                      <a:lnTo>
                        <a:pt x="448" y="336"/>
                      </a:lnTo>
                      <a:lnTo>
                        <a:pt x="448" y="338"/>
                      </a:lnTo>
                      <a:lnTo>
                        <a:pt x="448" y="340"/>
                      </a:lnTo>
                      <a:lnTo>
                        <a:pt x="450" y="341"/>
                      </a:lnTo>
                      <a:lnTo>
                        <a:pt x="450" y="343"/>
                      </a:lnTo>
                      <a:lnTo>
                        <a:pt x="448" y="345"/>
                      </a:lnTo>
                      <a:lnTo>
                        <a:pt x="448" y="347"/>
                      </a:lnTo>
                      <a:lnTo>
                        <a:pt x="446" y="349"/>
                      </a:lnTo>
                      <a:lnTo>
                        <a:pt x="446" y="351"/>
                      </a:lnTo>
                      <a:lnTo>
                        <a:pt x="443" y="353"/>
                      </a:lnTo>
                      <a:lnTo>
                        <a:pt x="439" y="356"/>
                      </a:lnTo>
                      <a:lnTo>
                        <a:pt x="435" y="358"/>
                      </a:lnTo>
                      <a:lnTo>
                        <a:pt x="432" y="360"/>
                      </a:lnTo>
                      <a:lnTo>
                        <a:pt x="432" y="360"/>
                      </a:lnTo>
                      <a:lnTo>
                        <a:pt x="432" y="364"/>
                      </a:lnTo>
                      <a:lnTo>
                        <a:pt x="432" y="369"/>
                      </a:lnTo>
                      <a:lnTo>
                        <a:pt x="432" y="373"/>
                      </a:lnTo>
                      <a:lnTo>
                        <a:pt x="432" y="376"/>
                      </a:lnTo>
                      <a:lnTo>
                        <a:pt x="430" y="376"/>
                      </a:lnTo>
                      <a:lnTo>
                        <a:pt x="430" y="376"/>
                      </a:lnTo>
                      <a:lnTo>
                        <a:pt x="426" y="376"/>
                      </a:lnTo>
                      <a:lnTo>
                        <a:pt x="422" y="378"/>
                      </a:lnTo>
                      <a:lnTo>
                        <a:pt x="422" y="378"/>
                      </a:lnTo>
                      <a:lnTo>
                        <a:pt x="421" y="378"/>
                      </a:lnTo>
                      <a:lnTo>
                        <a:pt x="421" y="378"/>
                      </a:lnTo>
                      <a:lnTo>
                        <a:pt x="417" y="380"/>
                      </a:lnTo>
                      <a:lnTo>
                        <a:pt x="413" y="382"/>
                      </a:lnTo>
                      <a:lnTo>
                        <a:pt x="413" y="382"/>
                      </a:lnTo>
                      <a:lnTo>
                        <a:pt x="411" y="384"/>
                      </a:lnTo>
                      <a:lnTo>
                        <a:pt x="411" y="384"/>
                      </a:lnTo>
                      <a:lnTo>
                        <a:pt x="408" y="386"/>
                      </a:lnTo>
                      <a:lnTo>
                        <a:pt x="404" y="388"/>
                      </a:lnTo>
                      <a:lnTo>
                        <a:pt x="398" y="389"/>
                      </a:lnTo>
                      <a:lnTo>
                        <a:pt x="398" y="389"/>
                      </a:lnTo>
                      <a:lnTo>
                        <a:pt x="402" y="395"/>
                      </a:lnTo>
                      <a:lnTo>
                        <a:pt x="404" y="400"/>
                      </a:lnTo>
                      <a:lnTo>
                        <a:pt x="404" y="402"/>
                      </a:lnTo>
                      <a:lnTo>
                        <a:pt x="406" y="404"/>
                      </a:lnTo>
                      <a:lnTo>
                        <a:pt x="406" y="406"/>
                      </a:lnTo>
                      <a:lnTo>
                        <a:pt x="406" y="410"/>
                      </a:lnTo>
                      <a:lnTo>
                        <a:pt x="406" y="413"/>
                      </a:lnTo>
                      <a:lnTo>
                        <a:pt x="406" y="419"/>
                      </a:lnTo>
                      <a:lnTo>
                        <a:pt x="404" y="424"/>
                      </a:lnTo>
                      <a:lnTo>
                        <a:pt x="404" y="430"/>
                      </a:lnTo>
                      <a:lnTo>
                        <a:pt x="398" y="432"/>
                      </a:lnTo>
                      <a:lnTo>
                        <a:pt x="391" y="432"/>
                      </a:lnTo>
                      <a:lnTo>
                        <a:pt x="386" y="432"/>
                      </a:lnTo>
                      <a:lnTo>
                        <a:pt x="378" y="434"/>
                      </a:lnTo>
                      <a:lnTo>
                        <a:pt x="378" y="434"/>
                      </a:lnTo>
                      <a:lnTo>
                        <a:pt x="378" y="439"/>
                      </a:lnTo>
                      <a:lnTo>
                        <a:pt x="378" y="443"/>
                      </a:lnTo>
                      <a:lnTo>
                        <a:pt x="378" y="448"/>
                      </a:lnTo>
                      <a:lnTo>
                        <a:pt x="376" y="452"/>
                      </a:lnTo>
                      <a:lnTo>
                        <a:pt x="376" y="456"/>
                      </a:lnTo>
                      <a:lnTo>
                        <a:pt x="374" y="458"/>
                      </a:lnTo>
                      <a:lnTo>
                        <a:pt x="374" y="461"/>
                      </a:lnTo>
                      <a:lnTo>
                        <a:pt x="373" y="463"/>
                      </a:lnTo>
                      <a:lnTo>
                        <a:pt x="369" y="465"/>
                      </a:lnTo>
                      <a:lnTo>
                        <a:pt x="367" y="467"/>
                      </a:lnTo>
                      <a:lnTo>
                        <a:pt x="365" y="469"/>
                      </a:lnTo>
                      <a:lnTo>
                        <a:pt x="362" y="469"/>
                      </a:lnTo>
                      <a:lnTo>
                        <a:pt x="358" y="471"/>
                      </a:lnTo>
                      <a:lnTo>
                        <a:pt x="354" y="471"/>
                      </a:lnTo>
                      <a:lnTo>
                        <a:pt x="349" y="469"/>
                      </a:lnTo>
                      <a:lnTo>
                        <a:pt x="345" y="469"/>
                      </a:lnTo>
                      <a:lnTo>
                        <a:pt x="347" y="465"/>
                      </a:lnTo>
                      <a:lnTo>
                        <a:pt x="345" y="465"/>
                      </a:lnTo>
                      <a:lnTo>
                        <a:pt x="347" y="465"/>
                      </a:lnTo>
                      <a:lnTo>
                        <a:pt x="345" y="465"/>
                      </a:lnTo>
                      <a:lnTo>
                        <a:pt x="347" y="465"/>
                      </a:lnTo>
                      <a:lnTo>
                        <a:pt x="347" y="463"/>
                      </a:lnTo>
                      <a:lnTo>
                        <a:pt x="349" y="460"/>
                      </a:lnTo>
                      <a:lnTo>
                        <a:pt x="349" y="456"/>
                      </a:lnTo>
                      <a:lnTo>
                        <a:pt x="352" y="450"/>
                      </a:lnTo>
                      <a:lnTo>
                        <a:pt x="356" y="445"/>
                      </a:lnTo>
                      <a:lnTo>
                        <a:pt x="360" y="439"/>
                      </a:lnTo>
                      <a:lnTo>
                        <a:pt x="365" y="434"/>
                      </a:lnTo>
                      <a:lnTo>
                        <a:pt x="369" y="428"/>
                      </a:lnTo>
                      <a:lnTo>
                        <a:pt x="373" y="419"/>
                      </a:lnTo>
                      <a:lnTo>
                        <a:pt x="365" y="419"/>
                      </a:lnTo>
                      <a:lnTo>
                        <a:pt x="360" y="419"/>
                      </a:lnTo>
                      <a:lnTo>
                        <a:pt x="360" y="419"/>
                      </a:lnTo>
                      <a:lnTo>
                        <a:pt x="360" y="426"/>
                      </a:lnTo>
                      <a:lnTo>
                        <a:pt x="360" y="430"/>
                      </a:lnTo>
                      <a:lnTo>
                        <a:pt x="356" y="432"/>
                      </a:lnTo>
                      <a:lnTo>
                        <a:pt x="352" y="432"/>
                      </a:lnTo>
                      <a:lnTo>
                        <a:pt x="349" y="432"/>
                      </a:lnTo>
                      <a:lnTo>
                        <a:pt x="345" y="432"/>
                      </a:lnTo>
                      <a:lnTo>
                        <a:pt x="341" y="432"/>
                      </a:lnTo>
                      <a:lnTo>
                        <a:pt x="338" y="430"/>
                      </a:lnTo>
                      <a:lnTo>
                        <a:pt x="330" y="428"/>
                      </a:lnTo>
                      <a:lnTo>
                        <a:pt x="321" y="424"/>
                      </a:lnTo>
                      <a:lnTo>
                        <a:pt x="319" y="432"/>
                      </a:lnTo>
                      <a:lnTo>
                        <a:pt x="317" y="437"/>
                      </a:lnTo>
                      <a:lnTo>
                        <a:pt x="315" y="443"/>
                      </a:lnTo>
                      <a:lnTo>
                        <a:pt x="312" y="447"/>
                      </a:lnTo>
                      <a:lnTo>
                        <a:pt x="310" y="448"/>
                      </a:lnTo>
                      <a:lnTo>
                        <a:pt x="306" y="452"/>
                      </a:lnTo>
                      <a:lnTo>
                        <a:pt x="302" y="454"/>
                      </a:lnTo>
                      <a:lnTo>
                        <a:pt x="299" y="456"/>
                      </a:lnTo>
                      <a:lnTo>
                        <a:pt x="295" y="458"/>
                      </a:lnTo>
                      <a:lnTo>
                        <a:pt x="291" y="460"/>
                      </a:lnTo>
                      <a:lnTo>
                        <a:pt x="291" y="460"/>
                      </a:lnTo>
                      <a:lnTo>
                        <a:pt x="288" y="460"/>
                      </a:lnTo>
                      <a:lnTo>
                        <a:pt x="282" y="461"/>
                      </a:lnTo>
                      <a:lnTo>
                        <a:pt x="273" y="463"/>
                      </a:lnTo>
                      <a:lnTo>
                        <a:pt x="260" y="467"/>
                      </a:lnTo>
                      <a:lnTo>
                        <a:pt x="258" y="474"/>
                      </a:lnTo>
                      <a:lnTo>
                        <a:pt x="258" y="480"/>
                      </a:lnTo>
                      <a:lnTo>
                        <a:pt x="256" y="485"/>
                      </a:lnTo>
                      <a:lnTo>
                        <a:pt x="256" y="485"/>
                      </a:lnTo>
                      <a:lnTo>
                        <a:pt x="256" y="491"/>
                      </a:lnTo>
                      <a:lnTo>
                        <a:pt x="256" y="493"/>
                      </a:lnTo>
                      <a:lnTo>
                        <a:pt x="262" y="493"/>
                      </a:lnTo>
                      <a:lnTo>
                        <a:pt x="266" y="495"/>
                      </a:lnTo>
                      <a:lnTo>
                        <a:pt x="264" y="495"/>
                      </a:lnTo>
                      <a:lnTo>
                        <a:pt x="264" y="495"/>
                      </a:lnTo>
                      <a:lnTo>
                        <a:pt x="260" y="496"/>
                      </a:lnTo>
                      <a:lnTo>
                        <a:pt x="258" y="496"/>
                      </a:lnTo>
                      <a:lnTo>
                        <a:pt x="258" y="496"/>
                      </a:lnTo>
                      <a:lnTo>
                        <a:pt x="256" y="498"/>
                      </a:lnTo>
                      <a:lnTo>
                        <a:pt x="255" y="500"/>
                      </a:lnTo>
                      <a:lnTo>
                        <a:pt x="255" y="500"/>
                      </a:lnTo>
                      <a:lnTo>
                        <a:pt x="253" y="502"/>
                      </a:lnTo>
                      <a:lnTo>
                        <a:pt x="253" y="502"/>
                      </a:lnTo>
                      <a:lnTo>
                        <a:pt x="253" y="504"/>
                      </a:lnTo>
                      <a:lnTo>
                        <a:pt x="251" y="508"/>
                      </a:lnTo>
                      <a:lnTo>
                        <a:pt x="251" y="509"/>
                      </a:lnTo>
                      <a:lnTo>
                        <a:pt x="256" y="509"/>
                      </a:lnTo>
                      <a:lnTo>
                        <a:pt x="262" y="509"/>
                      </a:lnTo>
                      <a:lnTo>
                        <a:pt x="267" y="511"/>
                      </a:lnTo>
                      <a:lnTo>
                        <a:pt x="271" y="511"/>
                      </a:lnTo>
                      <a:lnTo>
                        <a:pt x="271" y="511"/>
                      </a:lnTo>
                      <a:lnTo>
                        <a:pt x="271" y="511"/>
                      </a:lnTo>
                      <a:lnTo>
                        <a:pt x="269" y="513"/>
                      </a:lnTo>
                      <a:lnTo>
                        <a:pt x="260" y="517"/>
                      </a:lnTo>
                      <a:lnTo>
                        <a:pt x="249" y="520"/>
                      </a:lnTo>
                      <a:lnTo>
                        <a:pt x="240" y="524"/>
                      </a:lnTo>
                      <a:lnTo>
                        <a:pt x="229" y="530"/>
                      </a:lnTo>
                      <a:lnTo>
                        <a:pt x="229" y="533"/>
                      </a:lnTo>
                      <a:lnTo>
                        <a:pt x="231" y="535"/>
                      </a:lnTo>
                      <a:lnTo>
                        <a:pt x="232" y="539"/>
                      </a:lnTo>
                      <a:lnTo>
                        <a:pt x="232" y="541"/>
                      </a:lnTo>
                      <a:lnTo>
                        <a:pt x="225" y="544"/>
                      </a:lnTo>
                      <a:lnTo>
                        <a:pt x="218" y="548"/>
                      </a:lnTo>
                      <a:lnTo>
                        <a:pt x="210" y="552"/>
                      </a:lnTo>
                      <a:lnTo>
                        <a:pt x="203" y="556"/>
                      </a:lnTo>
                      <a:lnTo>
                        <a:pt x="197" y="550"/>
                      </a:lnTo>
                      <a:lnTo>
                        <a:pt x="194" y="543"/>
                      </a:lnTo>
                      <a:lnTo>
                        <a:pt x="188" y="535"/>
                      </a:lnTo>
                      <a:lnTo>
                        <a:pt x="183" y="530"/>
                      </a:lnTo>
                      <a:lnTo>
                        <a:pt x="175" y="530"/>
                      </a:lnTo>
                      <a:lnTo>
                        <a:pt x="168" y="532"/>
                      </a:lnTo>
                      <a:lnTo>
                        <a:pt x="160" y="533"/>
                      </a:lnTo>
                      <a:lnTo>
                        <a:pt x="153" y="535"/>
                      </a:lnTo>
                      <a:lnTo>
                        <a:pt x="153" y="530"/>
                      </a:lnTo>
                      <a:lnTo>
                        <a:pt x="153" y="524"/>
                      </a:lnTo>
                      <a:lnTo>
                        <a:pt x="153" y="524"/>
                      </a:lnTo>
                      <a:lnTo>
                        <a:pt x="140" y="526"/>
                      </a:lnTo>
                      <a:lnTo>
                        <a:pt x="127" y="528"/>
                      </a:lnTo>
                      <a:lnTo>
                        <a:pt x="114" y="528"/>
                      </a:lnTo>
                      <a:lnTo>
                        <a:pt x="103" y="530"/>
                      </a:lnTo>
                      <a:lnTo>
                        <a:pt x="103" y="524"/>
                      </a:lnTo>
                      <a:lnTo>
                        <a:pt x="101" y="519"/>
                      </a:lnTo>
                      <a:lnTo>
                        <a:pt x="103" y="513"/>
                      </a:lnTo>
                      <a:lnTo>
                        <a:pt x="103" y="509"/>
                      </a:lnTo>
                      <a:lnTo>
                        <a:pt x="103" y="502"/>
                      </a:lnTo>
                      <a:lnTo>
                        <a:pt x="105" y="495"/>
                      </a:lnTo>
                      <a:lnTo>
                        <a:pt x="105" y="495"/>
                      </a:lnTo>
                      <a:lnTo>
                        <a:pt x="107" y="487"/>
                      </a:lnTo>
                      <a:lnTo>
                        <a:pt x="107" y="487"/>
                      </a:lnTo>
                      <a:lnTo>
                        <a:pt x="107" y="478"/>
                      </a:lnTo>
                      <a:lnTo>
                        <a:pt x="107" y="472"/>
                      </a:lnTo>
                      <a:lnTo>
                        <a:pt x="107" y="472"/>
                      </a:lnTo>
                      <a:lnTo>
                        <a:pt x="107" y="467"/>
                      </a:lnTo>
                      <a:lnTo>
                        <a:pt x="107" y="467"/>
                      </a:lnTo>
                      <a:lnTo>
                        <a:pt x="105" y="461"/>
                      </a:lnTo>
                      <a:lnTo>
                        <a:pt x="103" y="454"/>
                      </a:lnTo>
                      <a:lnTo>
                        <a:pt x="103" y="452"/>
                      </a:lnTo>
                      <a:lnTo>
                        <a:pt x="98" y="452"/>
                      </a:lnTo>
                      <a:lnTo>
                        <a:pt x="92" y="454"/>
                      </a:lnTo>
                      <a:lnTo>
                        <a:pt x="92" y="448"/>
                      </a:lnTo>
                      <a:lnTo>
                        <a:pt x="92" y="443"/>
                      </a:lnTo>
                      <a:lnTo>
                        <a:pt x="92" y="443"/>
                      </a:lnTo>
                      <a:lnTo>
                        <a:pt x="85" y="439"/>
                      </a:lnTo>
                      <a:lnTo>
                        <a:pt x="75" y="436"/>
                      </a:lnTo>
                      <a:lnTo>
                        <a:pt x="68" y="434"/>
                      </a:lnTo>
                      <a:lnTo>
                        <a:pt x="61" y="432"/>
                      </a:lnTo>
                      <a:lnTo>
                        <a:pt x="52" y="430"/>
                      </a:lnTo>
                      <a:lnTo>
                        <a:pt x="44" y="428"/>
                      </a:lnTo>
                      <a:lnTo>
                        <a:pt x="35" y="426"/>
                      </a:lnTo>
                      <a:lnTo>
                        <a:pt x="35" y="426"/>
                      </a:lnTo>
                      <a:lnTo>
                        <a:pt x="26" y="426"/>
                      </a:lnTo>
                      <a:lnTo>
                        <a:pt x="26" y="426"/>
                      </a:lnTo>
                      <a:lnTo>
                        <a:pt x="26" y="432"/>
                      </a:lnTo>
                      <a:lnTo>
                        <a:pt x="26" y="437"/>
                      </a:lnTo>
                      <a:lnTo>
                        <a:pt x="20" y="437"/>
                      </a:lnTo>
                      <a:lnTo>
                        <a:pt x="15" y="437"/>
                      </a:lnTo>
                      <a:lnTo>
                        <a:pt x="15" y="437"/>
                      </a:lnTo>
                      <a:lnTo>
                        <a:pt x="13" y="443"/>
                      </a:lnTo>
                      <a:lnTo>
                        <a:pt x="11" y="447"/>
                      </a:lnTo>
                      <a:lnTo>
                        <a:pt x="7" y="445"/>
                      </a:lnTo>
                      <a:lnTo>
                        <a:pt x="5" y="445"/>
                      </a:lnTo>
                      <a:lnTo>
                        <a:pt x="2" y="445"/>
                      </a:lnTo>
                      <a:lnTo>
                        <a:pt x="0" y="443"/>
                      </a:lnTo>
                      <a:lnTo>
                        <a:pt x="0" y="443"/>
                      </a:lnTo>
                      <a:lnTo>
                        <a:pt x="0" y="445"/>
                      </a:lnTo>
                      <a:lnTo>
                        <a:pt x="0" y="445"/>
                      </a:lnTo>
                      <a:lnTo>
                        <a:pt x="2" y="445"/>
                      </a:lnTo>
                      <a:lnTo>
                        <a:pt x="2" y="445"/>
                      </a:lnTo>
                      <a:lnTo>
                        <a:pt x="5" y="447"/>
                      </a:lnTo>
                      <a:lnTo>
                        <a:pt x="7" y="447"/>
                      </a:lnTo>
                      <a:lnTo>
                        <a:pt x="11" y="448"/>
                      </a:lnTo>
                      <a:lnTo>
                        <a:pt x="11" y="448"/>
                      </a:lnTo>
                      <a:lnTo>
                        <a:pt x="13" y="443"/>
                      </a:lnTo>
                      <a:lnTo>
                        <a:pt x="16" y="439"/>
                      </a:lnTo>
                      <a:lnTo>
                        <a:pt x="20" y="439"/>
                      </a:lnTo>
                      <a:lnTo>
                        <a:pt x="26" y="439"/>
                      </a:lnTo>
                      <a:lnTo>
                        <a:pt x="28" y="439"/>
                      </a:lnTo>
                      <a:lnTo>
                        <a:pt x="28" y="432"/>
                      </a:lnTo>
                      <a:lnTo>
                        <a:pt x="28" y="428"/>
                      </a:lnTo>
                      <a:lnTo>
                        <a:pt x="35" y="428"/>
                      </a:lnTo>
                      <a:lnTo>
                        <a:pt x="44" y="430"/>
                      </a:lnTo>
                      <a:lnTo>
                        <a:pt x="52" y="430"/>
                      </a:lnTo>
                      <a:lnTo>
                        <a:pt x="61" y="432"/>
                      </a:lnTo>
                      <a:lnTo>
                        <a:pt x="68" y="436"/>
                      </a:lnTo>
                      <a:lnTo>
                        <a:pt x="75" y="437"/>
                      </a:lnTo>
                      <a:lnTo>
                        <a:pt x="83" y="441"/>
                      </a:lnTo>
                      <a:lnTo>
                        <a:pt x="92" y="443"/>
                      </a:lnTo>
                      <a:lnTo>
                        <a:pt x="92" y="448"/>
                      </a:lnTo>
                      <a:lnTo>
                        <a:pt x="92" y="454"/>
                      </a:lnTo>
                      <a:lnTo>
                        <a:pt x="92" y="454"/>
                      </a:lnTo>
                      <a:lnTo>
                        <a:pt x="98" y="454"/>
                      </a:lnTo>
                      <a:lnTo>
                        <a:pt x="103" y="454"/>
                      </a:lnTo>
                      <a:lnTo>
                        <a:pt x="103" y="461"/>
                      </a:lnTo>
                      <a:lnTo>
                        <a:pt x="105" y="467"/>
                      </a:lnTo>
                      <a:lnTo>
                        <a:pt x="105" y="472"/>
                      </a:lnTo>
                      <a:lnTo>
                        <a:pt x="105" y="478"/>
                      </a:lnTo>
                      <a:lnTo>
                        <a:pt x="105" y="487"/>
                      </a:lnTo>
                      <a:lnTo>
                        <a:pt x="103" y="495"/>
                      </a:lnTo>
                      <a:lnTo>
                        <a:pt x="101" y="502"/>
                      </a:lnTo>
                      <a:lnTo>
                        <a:pt x="101" y="509"/>
                      </a:lnTo>
                      <a:lnTo>
                        <a:pt x="101" y="513"/>
                      </a:lnTo>
                      <a:lnTo>
                        <a:pt x="101" y="519"/>
                      </a:lnTo>
                      <a:lnTo>
                        <a:pt x="101" y="519"/>
                      </a:lnTo>
                      <a:lnTo>
                        <a:pt x="101" y="524"/>
                      </a:lnTo>
                      <a:lnTo>
                        <a:pt x="101" y="532"/>
                      </a:lnTo>
                      <a:lnTo>
                        <a:pt x="101" y="532"/>
                      </a:lnTo>
                      <a:lnTo>
                        <a:pt x="114" y="530"/>
                      </a:lnTo>
                      <a:lnTo>
                        <a:pt x="127" y="528"/>
                      </a:lnTo>
                      <a:lnTo>
                        <a:pt x="140" y="528"/>
                      </a:lnTo>
                      <a:lnTo>
                        <a:pt x="151" y="526"/>
                      </a:lnTo>
                      <a:lnTo>
                        <a:pt x="151" y="530"/>
                      </a:lnTo>
                      <a:lnTo>
                        <a:pt x="151" y="535"/>
                      </a:lnTo>
                      <a:lnTo>
                        <a:pt x="151" y="537"/>
                      </a:lnTo>
                      <a:lnTo>
                        <a:pt x="160" y="535"/>
                      </a:lnTo>
                      <a:lnTo>
                        <a:pt x="168" y="533"/>
                      </a:lnTo>
                      <a:lnTo>
                        <a:pt x="175" y="532"/>
                      </a:lnTo>
                      <a:lnTo>
                        <a:pt x="183" y="532"/>
                      </a:lnTo>
                      <a:lnTo>
                        <a:pt x="188" y="537"/>
                      </a:lnTo>
                      <a:lnTo>
                        <a:pt x="192" y="544"/>
                      </a:lnTo>
                      <a:lnTo>
                        <a:pt x="197" y="550"/>
                      </a:lnTo>
                      <a:lnTo>
                        <a:pt x="203" y="557"/>
                      </a:lnTo>
                      <a:lnTo>
                        <a:pt x="203" y="557"/>
                      </a:lnTo>
                      <a:lnTo>
                        <a:pt x="203" y="557"/>
                      </a:lnTo>
                      <a:lnTo>
                        <a:pt x="210" y="554"/>
                      </a:lnTo>
                      <a:lnTo>
                        <a:pt x="218" y="550"/>
                      </a:lnTo>
                      <a:lnTo>
                        <a:pt x="227" y="546"/>
                      </a:lnTo>
                      <a:lnTo>
                        <a:pt x="234" y="543"/>
                      </a:lnTo>
                      <a:lnTo>
                        <a:pt x="232" y="539"/>
                      </a:lnTo>
                      <a:lnTo>
                        <a:pt x="232" y="535"/>
                      </a:lnTo>
                      <a:lnTo>
                        <a:pt x="231" y="532"/>
                      </a:lnTo>
                      <a:lnTo>
                        <a:pt x="231" y="530"/>
                      </a:lnTo>
                      <a:lnTo>
                        <a:pt x="240" y="526"/>
                      </a:lnTo>
                      <a:lnTo>
                        <a:pt x="251" y="522"/>
                      </a:lnTo>
                      <a:lnTo>
                        <a:pt x="260" y="517"/>
                      </a:lnTo>
                      <a:lnTo>
                        <a:pt x="271" y="513"/>
                      </a:lnTo>
                      <a:lnTo>
                        <a:pt x="273" y="511"/>
                      </a:lnTo>
                      <a:lnTo>
                        <a:pt x="275" y="511"/>
                      </a:lnTo>
                      <a:lnTo>
                        <a:pt x="275" y="509"/>
                      </a:lnTo>
                      <a:lnTo>
                        <a:pt x="267" y="509"/>
                      </a:lnTo>
                      <a:lnTo>
                        <a:pt x="262" y="508"/>
                      </a:lnTo>
                      <a:lnTo>
                        <a:pt x="256" y="508"/>
                      </a:lnTo>
                      <a:lnTo>
                        <a:pt x="253" y="508"/>
                      </a:lnTo>
                      <a:lnTo>
                        <a:pt x="253" y="506"/>
                      </a:lnTo>
                      <a:lnTo>
                        <a:pt x="253" y="506"/>
                      </a:lnTo>
                      <a:lnTo>
                        <a:pt x="255" y="502"/>
                      </a:lnTo>
                      <a:lnTo>
                        <a:pt x="255" y="500"/>
                      </a:lnTo>
                      <a:lnTo>
                        <a:pt x="256" y="498"/>
                      </a:lnTo>
                      <a:lnTo>
                        <a:pt x="258" y="498"/>
                      </a:lnTo>
                      <a:lnTo>
                        <a:pt x="260" y="496"/>
                      </a:lnTo>
                      <a:lnTo>
                        <a:pt x="264" y="496"/>
                      </a:lnTo>
                      <a:lnTo>
                        <a:pt x="267" y="495"/>
                      </a:lnTo>
                      <a:lnTo>
                        <a:pt x="271" y="495"/>
                      </a:lnTo>
                      <a:lnTo>
                        <a:pt x="262" y="491"/>
                      </a:lnTo>
                      <a:lnTo>
                        <a:pt x="258" y="491"/>
                      </a:lnTo>
                      <a:lnTo>
                        <a:pt x="258" y="485"/>
                      </a:lnTo>
                      <a:lnTo>
                        <a:pt x="260" y="480"/>
                      </a:lnTo>
                      <a:lnTo>
                        <a:pt x="260" y="474"/>
                      </a:lnTo>
                      <a:lnTo>
                        <a:pt x="262" y="469"/>
                      </a:lnTo>
                      <a:lnTo>
                        <a:pt x="273" y="465"/>
                      </a:lnTo>
                      <a:lnTo>
                        <a:pt x="284" y="463"/>
                      </a:lnTo>
                      <a:lnTo>
                        <a:pt x="288" y="461"/>
                      </a:lnTo>
                      <a:lnTo>
                        <a:pt x="291" y="460"/>
                      </a:lnTo>
                      <a:lnTo>
                        <a:pt x="297" y="460"/>
                      </a:lnTo>
                      <a:lnTo>
                        <a:pt x="297" y="460"/>
                      </a:lnTo>
                      <a:lnTo>
                        <a:pt x="301" y="458"/>
                      </a:lnTo>
                      <a:lnTo>
                        <a:pt x="301" y="458"/>
                      </a:lnTo>
                      <a:lnTo>
                        <a:pt x="304" y="456"/>
                      </a:lnTo>
                      <a:lnTo>
                        <a:pt x="304" y="456"/>
                      </a:lnTo>
                      <a:lnTo>
                        <a:pt x="308" y="454"/>
                      </a:lnTo>
                      <a:lnTo>
                        <a:pt x="308" y="452"/>
                      </a:lnTo>
                      <a:lnTo>
                        <a:pt x="310" y="450"/>
                      </a:lnTo>
                      <a:lnTo>
                        <a:pt x="314" y="447"/>
                      </a:lnTo>
                      <a:lnTo>
                        <a:pt x="315" y="443"/>
                      </a:lnTo>
                      <a:lnTo>
                        <a:pt x="315" y="443"/>
                      </a:lnTo>
                      <a:lnTo>
                        <a:pt x="319" y="437"/>
                      </a:lnTo>
                      <a:lnTo>
                        <a:pt x="321" y="432"/>
                      </a:lnTo>
                      <a:lnTo>
                        <a:pt x="321" y="432"/>
                      </a:lnTo>
                      <a:lnTo>
                        <a:pt x="323" y="426"/>
                      </a:lnTo>
                      <a:lnTo>
                        <a:pt x="330" y="428"/>
                      </a:lnTo>
                      <a:lnTo>
                        <a:pt x="336" y="430"/>
                      </a:lnTo>
                      <a:lnTo>
                        <a:pt x="341" y="432"/>
                      </a:lnTo>
                      <a:lnTo>
                        <a:pt x="341" y="432"/>
                      </a:lnTo>
                      <a:lnTo>
                        <a:pt x="345" y="434"/>
                      </a:lnTo>
                      <a:lnTo>
                        <a:pt x="349" y="434"/>
                      </a:lnTo>
                      <a:lnTo>
                        <a:pt x="349" y="434"/>
                      </a:lnTo>
                      <a:lnTo>
                        <a:pt x="352" y="434"/>
                      </a:lnTo>
                      <a:lnTo>
                        <a:pt x="356" y="432"/>
                      </a:lnTo>
                      <a:lnTo>
                        <a:pt x="362" y="432"/>
                      </a:lnTo>
                      <a:lnTo>
                        <a:pt x="362" y="432"/>
                      </a:lnTo>
                      <a:lnTo>
                        <a:pt x="362" y="426"/>
                      </a:lnTo>
                      <a:lnTo>
                        <a:pt x="362" y="421"/>
                      </a:lnTo>
                      <a:lnTo>
                        <a:pt x="365" y="421"/>
                      </a:lnTo>
                      <a:lnTo>
                        <a:pt x="371" y="421"/>
                      </a:lnTo>
                      <a:lnTo>
                        <a:pt x="367" y="426"/>
                      </a:lnTo>
                      <a:lnTo>
                        <a:pt x="363" y="434"/>
                      </a:lnTo>
                      <a:lnTo>
                        <a:pt x="360" y="439"/>
                      </a:lnTo>
                      <a:lnTo>
                        <a:pt x="360" y="439"/>
                      </a:lnTo>
                      <a:lnTo>
                        <a:pt x="354" y="445"/>
                      </a:lnTo>
                      <a:lnTo>
                        <a:pt x="354" y="445"/>
                      </a:lnTo>
                      <a:lnTo>
                        <a:pt x="352" y="450"/>
                      </a:lnTo>
                      <a:lnTo>
                        <a:pt x="349" y="456"/>
                      </a:lnTo>
                      <a:lnTo>
                        <a:pt x="349" y="456"/>
                      </a:lnTo>
                      <a:lnTo>
                        <a:pt x="347" y="458"/>
                      </a:lnTo>
                      <a:lnTo>
                        <a:pt x="345" y="461"/>
                      </a:lnTo>
                      <a:lnTo>
                        <a:pt x="345" y="461"/>
                      </a:lnTo>
                      <a:lnTo>
                        <a:pt x="345" y="465"/>
                      </a:lnTo>
                      <a:lnTo>
                        <a:pt x="343" y="469"/>
                      </a:lnTo>
                      <a:lnTo>
                        <a:pt x="343" y="471"/>
                      </a:lnTo>
                      <a:lnTo>
                        <a:pt x="349" y="471"/>
                      </a:lnTo>
                      <a:lnTo>
                        <a:pt x="354" y="472"/>
                      </a:lnTo>
                      <a:lnTo>
                        <a:pt x="354" y="472"/>
                      </a:lnTo>
                      <a:lnTo>
                        <a:pt x="358" y="472"/>
                      </a:lnTo>
                      <a:lnTo>
                        <a:pt x="358" y="472"/>
                      </a:lnTo>
                      <a:lnTo>
                        <a:pt x="362" y="471"/>
                      </a:lnTo>
                      <a:lnTo>
                        <a:pt x="365" y="471"/>
                      </a:lnTo>
                      <a:lnTo>
                        <a:pt x="365" y="471"/>
                      </a:lnTo>
                      <a:lnTo>
                        <a:pt x="367" y="469"/>
                      </a:lnTo>
                      <a:lnTo>
                        <a:pt x="367" y="469"/>
                      </a:lnTo>
                      <a:lnTo>
                        <a:pt x="371" y="467"/>
                      </a:lnTo>
                      <a:lnTo>
                        <a:pt x="371" y="467"/>
                      </a:lnTo>
                      <a:lnTo>
                        <a:pt x="373" y="465"/>
                      </a:lnTo>
                      <a:lnTo>
                        <a:pt x="373" y="465"/>
                      </a:lnTo>
                      <a:lnTo>
                        <a:pt x="374" y="461"/>
                      </a:lnTo>
                      <a:lnTo>
                        <a:pt x="374" y="461"/>
                      </a:lnTo>
                      <a:lnTo>
                        <a:pt x="376" y="460"/>
                      </a:lnTo>
                      <a:lnTo>
                        <a:pt x="376" y="460"/>
                      </a:lnTo>
                      <a:lnTo>
                        <a:pt x="378" y="456"/>
                      </a:lnTo>
                      <a:lnTo>
                        <a:pt x="378" y="456"/>
                      </a:lnTo>
                      <a:lnTo>
                        <a:pt x="378" y="452"/>
                      </a:lnTo>
                      <a:lnTo>
                        <a:pt x="378" y="452"/>
                      </a:lnTo>
                      <a:lnTo>
                        <a:pt x="378" y="448"/>
                      </a:lnTo>
                      <a:lnTo>
                        <a:pt x="380" y="443"/>
                      </a:lnTo>
                      <a:lnTo>
                        <a:pt x="380" y="443"/>
                      </a:lnTo>
                      <a:lnTo>
                        <a:pt x="380" y="439"/>
                      </a:lnTo>
                      <a:lnTo>
                        <a:pt x="380" y="439"/>
                      </a:lnTo>
                      <a:lnTo>
                        <a:pt x="378" y="436"/>
                      </a:lnTo>
                      <a:lnTo>
                        <a:pt x="386" y="434"/>
                      </a:lnTo>
                      <a:lnTo>
                        <a:pt x="391" y="434"/>
                      </a:lnTo>
                      <a:lnTo>
                        <a:pt x="398" y="432"/>
                      </a:lnTo>
                      <a:lnTo>
                        <a:pt x="406" y="432"/>
                      </a:lnTo>
                      <a:lnTo>
                        <a:pt x="406" y="432"/>
                      </a:lnTo>
                      <a:lnTo>
                        <a:pt x="406" y="424"/>
                      </a:lnTo>
                      <a:lnTo>
                        <a:pt x="408" y="419"/>
                      </a:lnTo>
                      <a:lnTo>
                        <a:pt x="406" y="419"/>
                      </a:lnTo>
                      <a:lnTo>
                        <a:pt x="408" y="419"/>
                      </a:lnTo>
                      <a:lnTo>
                        <a:pt x="406" y="419"/>
                      </a:lnTo>
                      <a:lnTo>
                        <a:pt x="408" y="419"/>
                      </a:lnTo>
                      <a:lnTo>
                        <a:pt x="408" y="413"/>
                      </a:lnTo>
                      <a:lnTo>
                        <a:pt x="408" y="413"/>
                      </a:lnTo>
                      <a:lnTo>
                        <a:pt x="408" y="410"/>
                      </a:lnTo>
                      <a:lnTo>
                        <a:pt x="408" y="408"/>
                      </a:lnTo>
                      <a:lnTo>
                        <a:pt x="408" y="406"/>
                      </a:lnTo>
                      <a:lnTo>
                        <a:pt x="408" y="404"/>
                      </a:lnTo>
                      <a:lnTo>
                        <a:pt x="408" y="404"/>
                      </a:lnTo>
                      <a:lnTo>
                        <a:pt x="406" y="402"/>
                      </a:lnTo>
                      <a:lnTo>
                        <a:pt x="406" y="399"/>
                      </a:lnTo>
                      <a:lnTo>
                        <a:pt x="406" y="399"/>
                      </a:lnTo>
                      <a:lnTo>
                        <a:pt x="402" y="395"/>
                      </a:lnTo>
                      <a:lnTo>
                        <a:pt x="402" y="395"/>
                      </a:lnTo>
                      <a:lnTo>
                        <a:pt x="400" y="389"/>
                      </a:lnTo>
                      <a:lnTo>
                        <a:pt x="404" y="389"/>
                      </a:lnTo>
                      <a:lnTo>
                        <a:pt x="404" y="389"/>
                      </a:lnTo>
                      <a:lnTo>
                        <a:pt x="408" y="388"/>
                      </a:lnTo>
                      <a:lnTo>
                        <a:pt x="408" y="388"/>
                      </a:lnTo>
                      <a:lnTo>
                        <a:pt x="411" y="384"/>
                      </a:lnTo>
                      <a:lnTo>
                        <a:pt x="415" y="382"/>
                      </a:lnTo>
                      <a:lnTo>
                        <a:pt x="417" y="382"/>
                      </a:lnTo>
                      <a:lnTo>
                        <a:pt x="421" y="380"/>
                      </a:lnTo>
                      <a:lnTo>
                        <a:pt x="424" y="378"/>
                      </a:lnTo>
                      <a:lnTo>
                        <a:pt x="426" y="378"/>
                      </a:lnTo>
                      <a:lnTo>
                        <a:pt x="430" y="378"/>
                      </a:lnTo>
                      <a:lnTo>
                        <a:pt x="434" y="378"/>
                      </a:lnTo>
                      <a:lnTo>
                        <a:pt x="434" y="378"/>
                      </a:lnTo>
                      <a:lnTo>
                        <a:pt x="434" y="373"/>
                      </a:lnTo>
                      <a:lnTo>
                        <a:pt x="434" y="367"/>
                      </a:lnTo>
                      <a:lnTo>
                        <a:pt x="432" y="364"/>
                      </a:lnTo>
                      <a:lnTo>
                        <a:pt x="432" y="360"/>
                      </a:lnTo>
                      <a:lnTo>
                        <a:pt x="435" y="358"/>
                      </a:lnTo>
                      <a:lnTo>
                        <a:pt x="437" y="358"/>
                      </a:lnTo>
                      <a:lnTo>
                        <a:pt x="441" y="356"/>
                      </a:lnTo>
                      <a:lnTo>
                        <a:pt x="445" y="354"/>
                      </a:lnTo>
                      <a:lnTo>
                        <a:pt x="445" y="354"/>
                      </a:lnTo>
                      <a:lnTo>
                        <a:pt x="446" y="351"/>
                      </a:lnTo>
                      <a:lnTo>
                        <a:pt x="446" y="351"/>
                      </a:lnTo>
                      <a:lnTo>
                        <a:pt x="448" y="351"/>
                      </a:lnTo>
                      <a:lnTo>
                        <a:pt x="450" y="349"/>
                      </a:lnTo>
                      <a:lnTo>
                        <a:pt x="450" y="349"/>
                      </a:lnTo>
                      <a:lnTo>
                        <a:pt x="450" y="347"/>
                      </a:lnTo>
                      <a:lnTo>
                        <a:pt x="450" y="347"/>
                      </a:lnTo>
                      <a:lnTo>
                        <a:pt x="450" y="343"/>
                      </a:lnTo>
                      <a:lnTo>
                        <a:pt x="450" y="343"/>
                      </a:lnTo>
                      <a:lnTo>
                        <a:pt x="450" y="341"/>
                      </a:lnTo>
                      <a:lnTo>
                        <a:pt x="450" y="341"/>
                      </a:lnTo>
                      <a:lnTo>
                        <a:pt x="450" y="340"/>
                      </a:lnTo>
                      <a:lnTo>
                        <a:pt x="450" y="340"/>
                      </a:lnTo>
                      <a:lnTo>
                        <a:pt x="450" y="338"/>
                      </a:lnTo>
                      <a:lnTo>
                        <a:pt x="448" y="334"/>
                      </a:lnTo>
                      <a:lnTo>
                        <a:pt x="448" y="334"/>
                      </a:lnTo>
                      <a:lnTo>
                        <a:pt x="441" y="334"/>
                      </a:lnTo>
                      <a:lnTo>
                        <a:pt x="435" y="334"/>
                      </a:lnTo>
                      <a:lnTo>
                        <a:pt x="434" y="334"/>
                      </a:lnTo>
                      <a:lnTo>
                        <a:pt x="432" y="336"/>
                      </a:lnTo>
                      <a:lnTo>
                        <a:pt x="432" y="336"/>
                      </a:lnTo>
                      <a:lnTo>
                        <a:pt x="430" y="336"/>
                      </a:lnTo>
                      <a:lnTo>
                        <a:pt x="428" y="338"/>
                      </a:lnTo>
                      <a:lnTo>
                        <a:pt x="428" y="338"/>
                      </a:lnTo>
                      <a:lnTo>
                        <a:pt x="424" y="338"/>
                      </a:lnTo>
                      <a:lnTo>
                        <a:pt x="422" y="340"/>
                      </a:lnTo>
                      <a:lnTo>
                        <a:pt x="422" y="340"/>
                      </a:lnTo>
                      <a:lnTo>
                        <a:pt x="421" y="341"/>
                      </a:lnTo>
                      <a:lnTo>
                        <a:pt x="421" y="341"/>
                      </a:lnTo>
                      <a:lnTo>
                        <a:pt x="419" y="343"/>
                      </a:lnTo>
                      <a:lnTo>
                        <a:pt x="419" y="345"/>
                      </a:lnTo>
                      <a:lnTo>
                        <a:pt x="419" y="345"/>
                      </a:lnTo>
                      <a:lnTo>
                        <a:pt x="417" y="349"/>
                      </a:lnTo>
                      <a:lnTo>
                        <a:pt x="415" y="351"/>
                      </a:lnTo>
                      <a:lnTo>
                        <a:pt x="415" y="351"/>
                      </a:lnTo>
                      <a:lnTo>
                        <a:pt x="415" y="354"/>
                      </a:lnTo>
                      <a:lnTo>
                        <a:pt x="410" y="354"/>
                      </a:lnTo>
                      <a:lnTo>
                        <a:pt x="406" y="354"/>
                      </a:lnTo>
                      <a:lnTo>
                        <a:pt x="406" y="351"/>
                      </a:lnTo>
                      <a:lnTo>
                        <a:pt x="406" y="347"/>
                      </a:lnTo>
                      <a:lnTo>
                        <a:pt x="406" y="341"/>
                      </a:lnTo>
                      <a:lnTo>
                        <a:pt x="406" y="338"/>
                      </a:lnTo>
                      <a:lnTo>
                        <a:pt x="406" y="338"/>
                      </a:lnTo>
                      <a:lnTo>
                        <a:pt x="400" y="338"/>
                      </a:lnTo>
                      <a:lnTo>
                        <a:pt x="397" y="338"/>
                      </a:lnTo>
                      <a:lnTo>
                        <a:pt x="391" y="338"/>
                      </a:lnTo>
                      <a:lnTo>
                        <a:pt x="389" y="338"/>
                      </a:lnTo>
                      <a:lnTo>
                        <a:pt x="389" y="330"/>
                      </a:lnTo>
                      <a:lnTo>
                        <a:pt x="389" y="330"/>
                      </a:lnTo>
                      <a:lnTo>
                        <a:pt x="389" y="321"/>
                      </a:lnTo>
                      <a:lnTo>
                        <a:pt x="389" y="321"/>
                      </a:lnTo>
                      <a:lnTo>
                        <a:pt x="389" y="312"/>
                      </a:lnTo>
                      <a:lnTo>
                        <a:pt x="389" y="303"/>
                      </a:lnTo>
                      <a:lnTo>
                        <a:pt x="389" y="293"/>
                      </a:lnTo>
                      <a:lnTo>
                        <a:pt x="387" y="282"/>
                      </a:lnTo>
                      <a:lnTo>
                        <a:pt x="386" y="273"/>
                      </a:lnTo>
                      <a:lnTo>
                        <a:pt x="384" y="262"/>
                      </a:lnTo>
                      <a:lnTo>
                        <a:pt x="380" y="242"/>
                      </a:lnTo>
                      <a:lnTo>
                        <a:pt x="376" y="221"/>
                      </a:lnTo>
                      <a:lnTo>
                        <a:pt x="374" y="212"/>
                      </a:lnTo>
                      <a:lnTo>
                        <a:pt x="373" y="203"/>
                      </a:lnTo>
                      <a:lnTo>
                        <a:pt x="373" y="194"/>
                      </a:lnTo>
                      <a:lnTo>
                        <a:pt x="371" y="186"/>
                      </a:lnTo>
                      <a:lnTo>
                        <a:pt x="371" y="185"/>
                      </a:lnTo>
                      <a:lnTo>
                        <a:pt x="365" y="185"/>
                      </a:lnTo>
                      <a:lnTo>
                        <a:pt x="360" y="185"/>
                      </a:lnTo>
                      <a:lnTo>
                        <a:pt x="360" y="174"/>
                      </a:lnTo>
                      <a:lnTo>
                        <a:pt x="358" y="161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35"/>
                      </a:lnTo>
                      <a:lnTo>
                        <a:pt x="362" y="131"/>
                      </a:lnTo>
                      <a:lnTo>
                        <a:pt x="369" y="127"/>
                      </a:lnTo>
                      <a:lnTo>
                        <a:pt x="374" y="124"/>
                      </a:lnTo>
                      <a:lnTo>
                        <a:pt x="382" y="120"/>
                      </a:lnTo>
                      <a:lnTo>
                        <a:pt x="384" y="111"/>
                      </a:lnTo>
                      <a:lnTo>
                        <a:pt x="387" y="100"/>
                      </a:lnTo>
                      <a:lnTo>
                        <a:pt x="389" y="90"/>
                      </a:lnTo>
                      <a:lnTo>
                        <a:pt x="391" y="81"/>
                      </a:lnTo>
                      <a:lnTo>
                        <a:pt x="395" y="79"/>
                      </a:lnTo>
                      <a:lnTo>
                        <a:pt x="400" y="79"/>
                      </a:lnTo>
                      <a:lnTo>
                        <a:pt x="400" y="79"/>
                      </a:lnTo>
                      <a:lnTo>
                        <a:pt x="406" y="78"/>
                      </a:lnTo>
                      <a:lnTo>
                        <a:pt x="411" y="78"/>
                      </a:lnTo>
                      <a:lnTo>
                        <a:pt x="411" y="78"/>
                      </a:lnTo>
                      <a:lnTo>
                        <a:pt x="413" y="76"/>
                      </a:lnTo>
                      <a:lnTo>
                        <a:pt x="413" y="76"/>
                      </a:lnTo>
                      <a:lnTo>
                        <a:pt x="415" y="74"/>
                      </a:lnTo>
                      <a:lnTo>
                        <a:pt x="415" y="68"/>
                      </a:lnTo>
                      <a:lnTo>
                        <a:pt x="417" y="61"/>
                      </a:lnTo>
                      <a:lnTo>
                        <a:pt x="419" y="55"/>
                      </a:lnTo>
                      <a:lnTo>
                        <a:pt x="421" y="50"/>
                      </a:lnTo>
                      <a:lnTo>
                        <a:pt x="424" y="50"/>
                      </a:lnTo>
                      <a:lnTo>
                        <a:pt x="430" y="50"/>
                      </a:lnTo>
                      <a:lnTo>
                        <a:pt x="432" y="55"/>
                      </a:lnTo>
                      <a:lnTo>
                        <a:pt x="435" y="59"/>
                      </a:lnTo>
                      <a:lnTo>
                        <a:pt x="435" y="59"/>
                      </a:lnTo>
                      <a:lnTo>
                        <a:pt x="439" y="65"/>
                      </a:lnTo>
                      <a:lnTo>
                        <a:pt x="441" y="68"/>
                      </a:lnTo>
                      <a:lnTo>
                        <a:pt x="437" y="70"/>
                      </a:lnTo>
                      <a:lnTo>
                        <a:pt x="435" y="72"/>
                      </a:lnTo>
                      <a:lnTo>
                        <a:pt x="435" y="74"/>
                      </a:lnTo>
                      <a:lnTo>
                        <a:pt x="441" y="76"/>
                      </a:lnTo>
                      <a:lnTo>
                        <a:pt x="446" y="78"/>
                      </a:lnTo>
                      <a:lnTo>
                        <a:pt x="446" y="81"/>
                      </a:lnTo>
                      <a:lnTo>
                        <a:pt x="446" y="85"/>
                      </a:lnTo>
                      <a:lnTo>
                        <a:pt x="446" y="89"/>
                      </a:lnTo>
                      <a:lnTo>
                        <a:pt x="446" y="92"/>
                      </a:lnTo>
                      <a:lnTo>
                        <a:pt x="446" y="94"/>
                      </a:lnTo>
                      <a:lnTo>
                        <a:pt x="448" y="94"/>
                      </a:lnTo>
                      <a:lnTo>
                        <a:pt x="450" y="94"/>
                      </a:lnTo>
                      <a:lnTo>
                        <a:pt x="452" y="96"/>
                      </a:lnTo>
                      <a:lnTo>
                        <a:pt x="454" y="98"/>
                      </a:lnTo>
                      <a:lnTo>
                        <a:pt x="458" y="100"/>
                      </a:lnTo>
                      <a:lnTo>
                        <a:pt x="459" y="103"/>
                      </a:lnTo>
                      <a:lnTo>
                        <a:pt x="459" y="103"/>
                      </a:lnTo>
                      <a:lnTo>
                        <a:pt x="461" y="105"/>
                      </a:lnTo>
                      <a:lnTo>
                        <a:pt x="465" y="107"/>
                      </a:lnTo>
                      <a:lnTo>
                        <a:pt x="465" y="107"/>
                      </a:lnTo>
                      <a:lnTo>
                        <a:pt x="465" y="109"/>
                      </a:lnTo>
                      <a:lnTo>
                        <a:pt x="467" y="109"/>
                      </a:lnTo>
                      <a:lnTo>
                        <a:pt x="467" y="109"/>
                      </a:lnTo>
                      <a:lnTo>
                        <a:pt x="469" y="109"/>
                      </a:lnTo>
                      <a:lnTo>
                        <a:pt x="469" y="109"/>
                      </a:lnTo>
                      <a:lnTo>
                        <a:pt x="469" y="109"/>
                      </a:lnTo>
                      <a:lnTo>
                        <a:pt x="470" y="109"/>
                      </a:lnTo>
                      <a:lnTo>
                        <a:pt x="470" y="105"/>
                      </a:lnTo>
                      <a:lnTo>
                        <a:pt x="470" y="100"/>
                      </a:lnTo>
                      <a:lnTo>
                        <a:pt x="470" y="96"/>
                      </a:lnTo>
                      <a:lnTo>
                        <a:pt x="470" y="94"/>
                      </a:lnTo>
                      <a:lnTo>
                        <a:pt x="474" y="94"/>
                      </a:lnTo>
                      <a:lnTo>
                        <a:pt x="478" y="94"/>
                      </a:lnTo>
                      <a:lnTo>
                        <a:pt x="478" y="98"/>
                      </a:lnTo>
                      <a:lnTo>
                        <a:pt x="478" y="103"/>
                      </a:lnTo>
                      <a:lnTo>
                        <a:pt x="478" y="105"/>
                      </a:lnTo>
                      <a:lnTo>
                        <a:pt x="485" y="105"/>
                      </a:lnTo>
                      <a:lnTo>
                        <a:pt x="491" y="105"/>
                      </a:lnTo>
                      <a:lnTo>
                        <a:pt x="491" y="107"/>
                      </a:lnTo>
                      <a:lnTo>
                        <a:pt x="491" y="109"/>
                      </a:lnTo>
                      <a:lnTo>
                        <a:pt x="491" y="109"/>
                      </a:lnTo>
                      <a:lnTo>
                        <a:pt x="491" y="113"/>
                      </a:lnTo>
                      <a:lnTo>
                        <a:pt x="491" y="113"/>
                      </a:lnTo>
                      <a:lnTo>
                        <a:pt x="491" y="113"/>
                      </a:lnTo>
                      <a:lnTo>
                        <a:pt x="491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4" y="114"/>
                      </a:lnTo>
                      <a:lnTo>
                        <a:pt x="496" y="114"/>
                      </a:lnTo>
                      <a:lnTo>
                        <a:pt x="498" y="114"/>
                      </a:lnTo>
                      <a:lnTo>
                        <a:pt x="496" y="100"/>
                      </a:lnTo>
                      <a:lnTo>
                        <a:pt x="494" y="85"/>
                      </a:lnTo>
                      <a:lnTo>
                        <a:pt x="493" y="72"/>
                      </a:lnTo>
                      <a:lnTo>
                        <a:pt x="491" y="57"/>
                      </a:lnTo>
                      <a:lnTo>
                        <a:pt x="491" y="42"/>
                      </a:lnTo>
                      <a:lnTo>
                        <a:pt x="489" y="28"/>
                      </a:lnTo>
                      <a:lnTo>
                        <a:pt x="487" y="15"/>
                      </a:lnTo>
                      <a:lnTo>
                        <a:pt x="485" y="0"/>
                      </a:lnTo>
                      <a:lnTo>
                        <a:pt x="485" y="2"/>
                      </a:lnTo>
                      <a:lnTo>
                        <a:pt x="485" y="0"/>
                      </a:lnTo>
                      <a:lnTo>
                        <a:pt x="48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0" name="Freeform 3034"/>
                <p:cNvSpPr>
                  <a:spLocks/>
                </p:cNvSpPr>
                <p:nvPr/>
              </p:nvSpPr>
              <p:spPr bwMode="auto">
                <a:xfrm>
                  <a:off x="4699" y="1218"/>
                  <a:ext cx="498" cy="557"/>
                </a:xfrm>
                <a:custGeom>
                  <a:avLst/>
                  <a:gdLst>
                    <a:gd name="T0" fmla="*/ 493 w 498"/>
                    <a:gd name="T1" fmla="*/ 85 h 557"/>
                    <a:gd name="T2" fmla="*/ 491 w 498"/>
                    <a:gd name="T3" fmla="*/ 103 h 557"/>
                    <a:gd name="T4" fmla="*/ 469 w 498"/>
                    <a:gd name="T5" fmla="*/ 107 h 557"/>
                    <a:gd name="T6" fmla="*/ 454 w 498"/>
                    <a:gd name="T7" fmla="*/ 94 h 557"/>
                    <a:gd name="T8" fmla="*/ 439 w 498"/>
                    <a:gd name="T9" fmla="*/ 72 h 557"/>
                    <a:gd name="T10" fmla="*/ 415 w 498"/>
                    <a:gd name="T11" fmla="*/ 61 h 557"/>
                    <a:gd name="T12" fmla="*/ 387 w 498"/>
                    <a:gd name="T13" fmla="*/ 90 h 557"/>
                    <a:gd name="T14" fmla="*/ 365 w 498"/>
                    <a:gd name="T15" fmla="*/ 186 h 557"/>
                    <a:gd name="T16" fmla="*/ 387 w 498"/>
                    <a:gd name="T17" fmla="*/ 312 h 557"/>
                    <a:gd name="T18" fmla="*/ 404 w 498"/>
                    <a:gd name="T19" fmla="*/ 354 h 557"/>
                    <a:gd name="T20" fmla="*/ 426 w 498"/>
                    <a:gd name="T21" fmla="*/ 340 h 557"/>
                    <a:gd name="T22" fmla="*/ 448 w 498"/>
                    <a:gd name="T23" fmla="*/ 345 h 557"/>
                    <a:gd name="T24" fmla="*/ 432 w 498"/>
                    <a:gd name="T25" fmla="*/ 376 h 557"/>
                    <a:gd name="T26" fmla="*/ 411 w 498"/>
                    <a:gd name="T27" fmla="*/ 384 h 557"/>
                    <a:gd name="T28" fmla="*/ 406 w 498"/>
                    <a:gd name="T29" fmla="*/ 419 h 557"/>
                    <a:gd name="T30" fmla="*/ 376 w 498"/>
                    <a:gd name="T31" fmla="*/ 456 h 557"/>
                    <a:gd name="T32" fmla="*/ 347 w 498"/>
                    <a:gd name="T33" fmla="*/ 465 h 557"/>
                    <a:gd name="T34" fmla="*/ 369 w 498"/>
                    <a:gd name="T35" fmla="*/ 428 h 557"/>
                    <a:gd name="T36" fmla="*/ 338 w 498"/>
                    <a:gd name="T37" fmla="*/ 430 h 557"/>
                    <a:gd name="T38" fmla="*/ 291 w 498"/>
                    <a:gd name="T39" fmla="*/ 460 h 557"/>
                    <a:gd name="T40" fmla="*/ 262 w 498"/>
                    <a:gd name="T41" fmla="*/ 493 h 557"/>
                    <a:gd name="T42" fmla="*/ 253 w 498"/>
                    <a:gd name="T43" fmla="*/ 504 h 557"/>
                    <a:gd name="T44" fmla="*/ 240 w 498"/>
                    <a:gd name="T45" fmla="*/ 524 h 557"/>
                    <a:gd name="T46" fmla="*/ 188 w 498"/>
                    <a:gd name="T47" fmla="*/ 535 h 557"/>
                    <a:gd name="T48" fmla="*/ 103 w 498"/>
                    <a:gd name="T49" fmla="*/ 530 h 557"/>
                    <a:gd name="T50" fmla="*/ 107 w 498"/>
                    <a:gd name="T51" fmla="*/ 472 h 557"/>
                    <a:gd name="T52" fmla="*/ 75 w 498"/>
                    <a:gd name="T53" fmla="*/ 436 h 557"/>
                    <a:gd name="T54" fmla="*/ 15 w 498"/>
                    <a:gd name="T55" fmla="*/ 437 h 557"/>
                    <a:gd name="T56" fmla="*/ 2 w 498"/>
                    <a:gd name="T57" fmla="*/ 445 h 557"/>
                    <a:gd name="T58" fmla="*/ 35 w 498"/>
                    <a:gd name="T59" fmla="*/ 428 h 557"/>
                    <a:gd name="T60" fmla="*/ 103 w 498"/>
                    <a:gd name="T61" fmla="*/ 454 h 557"/>
                    <a:gd name="T62" fmla="*/ 101 w 498"/>
                    <a:gd name="T63" fmla="*/ 524 h 557"/>
                    <a:gd name="T64" fmla="*/ 175 w 498"/>
                    <a:gd name="T65" fmla="*/ 532 h 557"/>
                    <a:gd name="T66" fmla="*/ 232 w 498"/>
                    <a:gd name="T67" fmla="*/ 539 h 557"/>
                    <a:gd name="T68" fmla="*/ 262 w 498"/>
                    <a:gd name="T69" fmla="*/ 508 h 557"/>
                    <a:gd name="T70" fmla="*/ 271 w 498"/>
                    <a:gd name="T71" fmla="*/ 495 h 557"/>
                    <a:gd name="T72" fmla="*/ 297 w 498"/>
                    <a:gd name="T73" fmla="*/ 460 h 557"/>
                    <a:gd name="T74" fmla="*/ 321 w 498"/>
                    <a:gd name="T75" fmla="*/ 432 h 557"/>
                    <a:gd name="T76" fmla="*/ 362 w 498"/>
                    <a:gd name="T77" fmla="*/ 432 h 557"/>
                    <a:gd name="T78" fmla="*/ 352 w 498"/>
                    <a:gd name="T79" fmla="*/ 450 h 557"/>
                    <a:gd name="T80" fmla="*/ 358 w 498"/>
                    <a:gd name="T81" fmla="*/ 472 h 557"/>
                    <a:gd name="T82" fmla="*/ 374 w 498"/>
                    <a:gd name="T83" fmla="*/ 461 h 557"/>
                    <a:gd name="T84" fmla="*/ 378 w 498"/>
                    <a:gd name="T85" fmla="*/ 436 h 557"/>
                    <a:gd name="T86" fmla="*/ 408 w 498"/>
                    <a:gd name="T87" fmla="*/ 413 h 557"/>
                    <a:gd name="T88" fmla="*/ 400 w 498"/>
                    <a:gd name="T89" fmla="*/ 389 h 557"/>
                    <a:gd name="T90" fmla="*/ 434 w 498"/>
                    <a:gd name="T91" fmla="*/ 378 h 557"/>
                    <a:gd name="T92" fmla="*/ 446 w 498"/>
                    <a:gd name="T93" fmla="*/ 351 h 557"/>
                    <a:gd name="T94" fmla="*/ 450 w 498"/>
                    <a:gd name="T95" fmla="*/ 338 h 557"/>
                    <a:gd name="T96" fmla="*/ 422 w 498"/>
                    <a:gd name="T97" fmla="*/ 340 h 557"/>
                    <a:gd name="T98" fmla="*/ 406 w 498"/>
                    <a:gd name="T99" fmla="*/ 354 h 557"/>
                    <a:gd name="T100" fmla="*/ 389 w 498"/>
                    <a:gd name="T101" fmla="*/ 321 h 557"/>
                    <a:gd name="T102" fmla="*/ 373 w 498"/>
                    <a:gd name="T103" fmla="*/ 194 h 557"/>
                    <a:gd name="T104" fmla="*/ 356 w 498"/>
                    <a:gd name="T105" fmla="*/ 135 h 557"/>
                    <a:gd name="T106" fmla="*/ 406 w 498"/>
                    <a:gd name="T107" fmla="*/ 78 h 557"/>
                    <a:gd name="T108" fmla="*/ 432 w 498"/>
                    <a:gd name="T109" fmla="*/ 55 h 557"/>
                    <a:gd name="T110" fmla="*/ 446 w 498"/>
                    <a:gd name="T111" fmla="*/ 89 h 557"/>
                    <a:gd name="T112" fmla="*/ 465 w 498"/>
                    <a:gd name="T113" fmla="*/ 107 h 557"/>
                    <a:gd name="T114" fmla="*/ 474 w 498"/>
                    <a:gd name="T115" fmla="*/ 94 h 557"/>
                    <a:gd name="T116" fmla="*/ 491 w 498"/>
                    <a:gd name="T117" fmla="*/ 113 h 557"/>
                    <a:gd name="T118" fmla="*/ 491 w 498"/>
                    <a:gd name="T119" fmla="*/ 57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98" h="557">
                      <a:moveTo>
                        <a:pt x="483" y="0"/>
                      </a:moveTo>
                      <a:lnTo>
                        <a:pt x="482" y="0"/>
                      </a:lnTo>
                      <a:lnTo>
                        <a:pt x="480" y="0"/>
                      </a:lnTo>
                      <a:lnTo>
                        <a:pt x="480" y="0"/>
                      </a:lnTo>
                      <a:lnTo>
                        <a:pt x="482" y="0"/>
                      </a:lnTo>
                      <a:lnTo>
                        <a:pt x="483" y="0"/>
                      </a:lnTo>
                      <a:lnTo>
                        <a:pt x="485" y="15"/>
                      </a:lnTo>
                      <a:lnTo>
                        <a:pt x="487" y="30"/>
                      </a:lnTo>
                      <a:lnTo>
                        <a:pt x="489" y="42"/>
                      </a:lnTo>
                      <a:lnTo>
                        <a:pt x="491" y="57"/>
                      </a:lnTo>
                      <a:lnTo>
                        <a:pt x="491" y="72"/>
                      </a:lnTo>
                      <a:lnTo>
                        <a:pt x="493" y="85"/>
                      </a:lnTo>
                      <a:lnTo>
                        <a:pt x="494" y="100"/>
                      </a:lnTo>
                      <a:lnTo>
                        <a:pt x="496" y="114"/>
                      </a:lnTo>
                      <a:lnTo>
                        <a:pt x="494" y="114"/>
                      </a:lnTo>
                      <a:lnTo>
                        <a:pt x="493" y="114"/>
                      </a:lnTo>
                      <a:lnTo>
                        <a:pt x="493" y="113"/>
                      </a:lnTo>
                      <a:lnTo>
                        <a:pt x="493" y="113"/>
                      </a:lnTo>
                      <a:lnTo>
                        <a:pt x="493" y="111"/>
                      </a:lnTo>
                      <a:lnTo>
                        <a:pt x="493" y="111"/>
                      </a:lnTo>
                      <a:lnTo>
                        <a:pt x="491" y="109"/>
                      </a:lnTo>
                      <a:lnTo>
                        <a:pt x="491" y="107"/>
                      </a:lnTo>
                      <a:lnTo>
                        <a:pt x="491" y="103"/>
                      </a:lnTo>
                      <a:lnTo>
                        <a:pt x="491" y="103"/>
                      </a:lnTo>
                      <a:lnTo>
                        <a:pt x="485" y="103"/>
                      </a:lnTo>
                      <a:lnTo>
                        <a:pt x="480" y="103"/>
                      </a:lnTo>
                      <a:lnTo>
                        <a:pt x="480" y="98"/>
                      </a:lnTo>
                      <a:lnTo>
                        <a:pt x="480" y="92"/>
                      </a:lnTo>
                      <a:lnTo>
                        <a:pt x="480" y="92"/>
                      </a:lnTo>
                      <a:lnTo>
                        <a:pt x="474" y="92"/>
                      </a:lnTo>
                      <a:lnTo>
                        <a:pt x="469" y="92"/>
                      </a:lnTo>
                      <a:lnTo>
                        <a:pt x="469" y="92"/>
                      </a:lnTo>
                      <a:lnTo>
                        <a:pt x="469" y="96"/>
                      </a:lnTo>
                      <a:lnTo>
                        <a:pt x="469" y="100"/>
                      </a:lnTo>
                      <a:lnTo>
                        <a:pt x="469" y="105"/>
                      </a:lnTo>
                      <a:lnTo>
                        <a:pt x="469" y="107"/>
                      </a:lnTo>
                      <a:lnTo>
                        <a:pt x="469" y="109"/>
                      </a:lnTo>
                      <a:lnTo>
                        <a:pt x="467" y="107"/>
                      </a:lnTo>
                      <a:lnTo>
                        <a:pt x="467" y="107"/>
                      </a:lnTo>
                      <a:lnTo>
                        <a:pt x="467" y="107"/>
                      </a:lnTo>
                      <a:lnTo>
                        <a:pt x="465" y="107"/>
                      </a:lnTo>
                      <a:lnTo>
                        <a:pt x="463" y="103"/>
                      </a:lnTo>
                      <a:lnTo>
                        <a:pt x="461" y="102"/>
                      </a:lnTo>
                      <a:lnTo>
                        <a:pt x="459" y="100"/>
                      </a:lnTo>
                      <a:lnTo>
                        <a:pt x="459" y="98"/>
                      </a:lnTo>
                      <a:lnTo>
                        <a:pt x="456" y="96"/>
                      </a:lnTo>
                      <a:lnTo>
                        <a:pt x="456" y="96"/>
                      </a:lnTo>
                      <a:lnTo>
                        <a:pt x="454" y="94"/>
                      </a:lnTo>
                      <a:lnTo>
                        <a:pt x="452" y="94"/>
                      </a:lnTo>
                      <a:lnTo>
                        <a:pt x="452" y="94"/>
                      </a:lnTo>
                      <a:lnTo>
                        <a:pt x="450" y="92"/>
                      </a:lnTo>
                      <a:lnTo>
                        <a:pt x="448" y="92"/>
                      </a:lnTo>
                      <a:lnTo>
                        <a:pt x="448" y="89"/>
                      </a:lnTo>
                      <a:lnTo>
                        <a:pt x="448" y="85"/>
                      </a:lnTo>
                      <a:lnTo>
                        <a:pt x="448" y="81"/>
                      </a:lnTo>
                      <a:lnTo>
                        <a:pt x="448" y="76"/>
                      </a:lnTo>
                      <a:lnTo>
                        <a:pt x="448" y="76"/>
                      </a:lnTo>
                      <a:lnTo>
                        <a:pt x="441" y="74"/>
                      </a:lnTo>
                      <a:lnTo>
                        <a:pt x="437" y="74"/>
                      </a:lnTo>
                      <a:lnTo>
                        <a:pt x="439" y="72"/>
                      </a:lnTo>
                      <a:lnTo>
                        <a:pt x="443" y="68"/>
                      </a:lnTo>
                      <a:lnTo>
                        <a:pt x="443" y="68"/>
                      </a:lnTo>
                      <a:lnTo>
                        <a:pt x="439" y="63"/>
                      </a:lnTo>
                      <a:lnTo>
                        <a:pt x="437" y="59"/>
                      </a:lnTo>
                      <a:lnTo>
                        <a:pt x="434" y="54"/>
                      </a:lnTo>
                      <a:lnTo>
                        <a:pt x="432" y="48"/>
                      </a:lnTo>
                      <a:lnTo>
                        <a:pt x="432" y="48"/>
                      </a:lnTo>
                      <a:lnTo>
                        <a:pt x="424" y="48"/>
                      </a:lnTo>
                      <a:lnTo>
                        <a:pt x="419" y="48"/>
                      </a:lnTo>
                      <a:lnTo>
                        <a:pt x="419" y="48"/>
                      </a:lnTo>
                      <a:lnTo>
                        <a:pt x="417" y="55"/>
                      </a:lnTo>
                      <a:lnTo>
                        <a:pt x="415" y="61"/>
                      </a:lnTo>
                      <a:lnTo>
                        <a:pt x="415" y="68"/>
                      </a:lnTo>
                      <a:lnTo>
                        <a:pt x="413" y="74"/>
                      </a:lnTo>
                      <a:lnTo>
                        <a:pt x="411" y="74"/>
                      </a:lnTo>
                      <a:lnTo>
                        <a:pt x="411" y="74"/>
                      </a:lnTo>
                      <a:lnTo>
                        <a:pt x="411" y="76"/>
                      </a:lnTo>
                      <a:lnTo>
                        <a:pt x="406" y="76"/>
                      </a:lnTo>
                      <a:lnTo>
                        <a:pt x="400" y="78"/>
                      </a:lnTo>
                      <a:lnTo>
                        <a:pt x="395" y="79"/>
                      </a:lnTo>
                      <a:lnTo>
                        <a:pt x="395" y="79"/>
                      </a:lnTo>
                      <a:lnTo>
                        <a:pt x="391" y="79"/>
                      </a:lnTo>
                      <a:lnTo>
                        <a:pt x="389" y="79"/>
                      </a:lnTo>
                      <a:lnTo>
                        <a:pt x="387" y="90"/>
                      </a:lnTo>
                      <a:lnTo>
                        <a:pt x="386" y="100"/>
                      </a:lnTo>
                      <a:lnTo>
                        <a:pt x="384" y="109"/>
                      </a:lnTo>
                      <a:lnTo>
                        <a:pt x="380" y="120"/>
                      </a:lnTo>
                      <a:lnTo>
                        <a:pt x="374" y="124"/>
                      </a:lnTo>
                      <a:lnTo>
                        <a:pt x="367" y="127"/>
                      </a:lnTo>
                      <a:lnTo>
                        <a:pt x="362" y="131"/>
                      </a:lnTo>
                      <a:lnTo>
                        <a:pt x="354" y="135"/>
                      </a:lnTo>
                      <a:lnTo>
                        <a:pt x="356" y="148"/>
                      </a:lnTo>
                      <a:lnTo>
                        <a:pt x="356" y="161"/>
                      </a:lnTo>
                      <a:lnTo>
                        <a:pt x="358" y="174"/>
                      </a:lnTo>
                      <a:lnTo>
                        <a:pt x="360" y="186"/>
                      </a:lnTo>
                      <a:lnTo>
                        <a:pt x="365" y="186"/>
                      </a:lnTo>
                      <a:lnTo>
                        <a:pt x="371" y="186"/>
                      </a:lnTo>
                      <a:lnTo>
                        <a:pt x="371" y="194"/>
                      </a:lnTo>
                      <a:lnTo>
                        <a:pt x="371" y="203"/>
                      </a:lnTo>
                      <a:lnTo>
                        <a:pt x="373" y="212"/>
                      </a:lnTo>
                      <a:lnTo>
                        <a:pt x="374" y="221"/>
                      </a:lnTo>
                      <a:lnTo>
                        <a:pt x="378" y="242"/>
                      </a:lnTo>
                      <a:lnTo>
                        <a:pt x="382" y="262"/>
                      </a:lnTo>
                      <a:lnTo>
                        <a:pt x="384" y="273"/>
                      </a:lnTo>
                      <a:lnTo>
                        <a:pt x="386" y="282"/>
                      </a:lnTo>
                      <a:lnTo>
                        <a:pt x="387" y="293"/>
                      </a:lnTo>
                      <a:lnTo>
                        <a:pt x="387" y="303"/>
                      </a:lnTo>
                      <a:lnTo>
                        <a:pt x="387" y="312"/>
                      </a:lnTo>
                      <a:lnTo>
                        <a:pt x="387" y="321"/>
                      </a:lnTo>
                      <a:lnTo>
                        <a:pt x="387" y="330"/>
                      </a:lnTo>
                      <a:lnTo>
                        <a:pt x="387" y="338"/>
                      </a:lnTo>
                      <a:lnTo>
                        <a:pt x="387" y="340"/>
                      </a:lnTo>
                      <a:lnTo>
                        <a:pt x="391" y="340"/>
                      </a:lnTo>
                      <a:lnTo>
                        <a:pt x="397" y="340"/>
                      </a:lnTo>
                      <a:lnTo>
                        <a:pt x="400" y="340"/>
                      </a:lnTo>
                      <a:lnTo>
                        <a:pt x="404" y="340"/>
                      </a:lnTo>
                      <a:lnTo>
                        <a:pt x="404" y="341"/>
                      </a:lnTo>
                      <a:lnTo>
                        <a:pt x="404" y="347"/>
                      </a:lnTo>
                      <a:lnTo>
                        <a:pt x="404" y="351"/>
                      </a:lnTo>
                      <a:lnTo>
                        <a:pt x="404" y="354"/>
                      </a:lnTo>
                      <a:lnTo>
                        <a:pt x="404" y="356"/>
                      </a:lnTo>
                      <a:lnTo>
                        <a:pt x="410" y="356"/>
                      </a:lnTo>
                      <a:lnTo>
                        <a:pt x="415" y="354"/>
                      </a:lnTo>
                      <a:lnTo>
                        <a:pt x="415" y="354"/>
                      </a:lnTo>
                      <a:lnTo>
                        <a:pt x="417" y="351"/>
                      </a:lnTo>
                      <a:lnTo>
                        <a:pt x="419" y="349"/>
                      </a:lnTo>
                      <a:lnTo>
                        <a:pt x="419" y="349"/>
                      </a:lnTo>
                      <a:lnTo>
                        <a:pt x="419" y="345"/>
                      </a:lnTo>
                      <a:lnTo>
                        <a:pt x="421" y="343"/>
                      </a:lnTo>
                      <a:lnTo>
                        <a:pt x="422" y="341"/>
                      </a:lnTo>
                      <a:lnTo>
                        <a:pt x="424" y="341"/>
                      </a:lnTo>
                      <a:lnTo>
                        <a:pt x="426" y="340"/>
                      </a:lnTo>
                      <a:lnTo>
                        <a:pt x="428" y="338"/>
                      </a:lnTo>
                      <a:lnTo>
                        <a:pt x="430" y="338"/>
                      </a:lnTo>
                      <a:lnTo>
                        <a:pt x="432" y="336"/>
                      </a:lnTo>
                      <a:lnTo>
                        <a:pt x="434" y="336"/>
                      </a:lnTo>
                      <a:lnTo>
                        <a:pt x="437" y="336"/>
                      </a:lnTo>
                      <a:lnTo>
                        <a:pt x="441" y="336"/>
                      </a:lnTo>
                      <a:lnTo>
                        <a:pt x="448" y="336"/>
                      </a:lnTo>
                      <a:lnTo>
                        <a:pt x="448" y="338"/>
                      </a:lnTo>
                      <a:lnTo>
                        <a:pt x="448" y="340"/>
                      </a:lnTo>
                      <a:lnTo>
                        <a:pt x="450" y="341"/>
                      </a:lnTo>
                      <a:lnTo>
                        <a:pt x="450" y="343"/>
                      </a:lnTo>
                      <a:lnTo>
                        <a:pt x="448" y="345"/>
                      </a:lnTo>
                      <a:lnTo>
                        <a:pt x="448" y="347"/>
                      </a:lnTo>
                      <a:lnTo>
                        <a:pt x="446" y="349"/>
                      </a:lnTo>
                      <a:lnTo>
                        <a:pt x="446" y="351"/>
                      </a:lnTo>
                      <a:lnTo>
                        <a:pt x="443" y="353"/>
                      </a:lnTo>
                      <a:lnTo>
                        <a:pt x="439" y="356"/>
                      </a:lnTo>
                      <a:lnTo>
                        <a:pt x="435" y="358"/>
                      </a:lnTo>
                      <a:lnTo>
                        <a:pt x="432" y="360"/>
                      </a:lnTo>
                      <a:lnTo>
                        <a:pt x="432" y="360"/>
                      </a:lnTo>
                      <a:lnTo>
                        <a:pt x="432" y="364"/>
                      </a:lnTo>
                      <a:lnTo>
                        <a:pt x="432" y="369"/>
                      </a:lnTo>
                      <a:lnTo>
                        <a:pt x="432" y="373"/>
                      </a:lnTo>
                      <a:lnTo>
                        <a:pt x="432" y="376"/>
                      </a:lnTo>
                      <a:lnTo>
                        <a:pt x="430" y="376"/>
                      </a:lnTo>
                      <a:lnTo>
                        <a:pt x="430" y="376"/>
                      </a:lnTo>
                      <a:lnTo>
                        <a:pt x="426" y="376"/>
                      </a:lnTo>
                      <a:lnTo>
                        <a:pt x="422" y="378"/>
                      </a:lnTo>
                      <a:lnTo>
                        <a:pt x="422" y="378"/>
                      </a:lnTo>
                      <a:lnTo>
                        <a:pt x="421" y="378"/>
                      </a:lnTo>
                      <a:lnTo>
                        <a:pt x="421" y="378"/>
                      </a:lnTo>
                      <a:lnTo>
                        <a:pt x="417" y="380"/>
                      </a:lnTo>
                      <a:lnTo>
                        <a:pt x="413" y="382"/>
                      </a:lnTo>
                      <a:lnTo>
                        <a:pt x="413" y="382"/>
                      </a:lnTo>
                      <a:lnTo>
                        <a:pt x="411" y="384"/>
                      </a:lnTo>
                      <a:lnTo>
                        <a:pt x="411" y="384"/>
                      </a:lnTo>
                      <a:lnTo>
                        <a:pt x="408" y="386"/>
                      </a:lnTo>
                      <a:lnTo>
                        <a:pt x="404" y="388"/>
                      </a:lnTo>
                      <a:lnTo>
                        <a:pt x="398" y="389"/>
                      </a:lnTo>
                      <a:lnTo>
                        <a:pt x="398" y="389"/>
                      </a:lnTo>
                      <a:lnTo>
                        <a:pt x="402" y="395"/>
                      </a:lnTo>
                      <a:lnTo>
                        <a:pt x="404" y="400"/>
                      </a:lnTo>
                      <a:lnTo>
                        <a:pt x="404" y="402"/>
                      </a:lnTo>
                      <a:lnTo>
                        <a:pt x="406" y="404"/>
                      </a:lnTo>
                      <a:lnTo>
                        <a:pt x="406" y="406"/>
                      </a:lnTo>
                      <a:lnTo>
                        <a:pt x="406" y="410"/>
                      </a:lnTo>
                      <a:lnTo>
                        <a:pt x="406" y="413"/>
                      </a:lnTo>
                      <a:lnTo>
                        <a:pt x="406" y="419"/>
                      </a:lnTo>
                      <a:lnTo>
                        <a:pt x="404" y="424"/>
                      </a:lnTo>
                      <a:lnTo>
                        <a:pt x="404" y="430"/>
                      </a:lnTo>
                      <a:lnTo>
                        <a:pt x="398" y="432"/>
                      </a:lnTo>
                      <a:lnTo>
                        <a:pt x="391" y="432"/>
                      </a:lnTo>
                      <a:lnTo>
                        <a:pt x="386" y="432"/>
                      </a:lnTo>
                      <a:lnTo>
                        <a:pt x="378" y="434"/>
                      </a:lnTo>
                      <a:lnTo>
                        <a:pt x="378" y="434"/>
                      </a:lnTo>
                      <a:lnTo>
                        <a:pt x="378" y="439"/>
                      </a:lnTo>
                      <a:lnTo>
                        <a:pt x="378" y="443"/>
                      </a:lnTo>
                      <a:lnTo>
                        <a:pt x="378" y="448"/>
                      </a:lnTo>
                      <a:lnTo>
                        <a:pt x="376" y="452"/>
                      </a:lnTo>
                      <a:lnTo>
                        <a:pt x="376" y="456"/>
                      </a:lnTo>
                      <a:lnTo>
                        <a:pt x="374" y="458"/>
                      </a:lnTo>
                      <a:lnTo>
                        <a:pt x="374" y="461"/>
                      </a:lnTo>
                      <a:lnTo>
                        <a:pt x="373" y="463"/>
                      </a:lnTo>
                      <a:lnTo>
                        <a:pt x="369" y="465"/>
                      </a:lnTo>
                      <a:lnTo>
                        <a:pt x="367" y="467"/>
                      </a:lnTo>
                      <a:lnTo>
                        <a:pt x="365" y="469"/>
                      </a:lnTo>
                      <a:lnTo>
                        <a:pt x="362" y="469"/>
                      </a:lnTo>
                      <a:lnTo>
                        <a:pt x="358" y="471"/>
                      </a:lnTo>
                      <a:lnTo>
                        <a:pt x="354" y="471"/>
                      </a:lnTo>
                      <a:lnTo>
                        <a:pt x="349" y="469"/>
                      </a:lnTo>
                      <a:lnTo>
                        <a:pt x="345" y="469"/>
                      </a:lnTo>
                      <a:lnTo>
                        <a:pt x="347" y="465"/>
                      </a:lnTo>
                      <a:lnTo>
                        <a:pt x="345" y="465"/>
                      </a:lnTo>
                      <a:lnTo>
                        <a:pt x="347" y="465"/>
                      </a:lnTo>
                      <a:lnTo>
                        <a:pt x="345" y="465"/>
                      </a:lnTo>
                      <a:lnTo>
                        <a:pt x="347" y="465"/>
                      </a:lnTo>
                      <a:lnTo>
                        <a:pt x="347" y="463"/>
                      </a:lnTo>
                      <a:lnTo>
                        <a:pt x="349" y="460"/>
                      </a:lnTo>
                      <a:lnTo>
                        <a:pt x="349" y="456"/>
                      </a:lnTo>
                      <a:lnTo>
                        <a:pt x="352" y="450"/>
                      </a:lnTo>
                      <a:lnTo>
                        <a:pt x="356" y="445"/>
                      </a:lnTo>
                      <a:lnTo>
                        <a:pt x="360" y="439"/>
                      </a:lnTo>
                      <a:lnTo>
                        <a:pt x="365" y="434"/>
                      </a:lnTo>
                      <a:lnTo>
                        <a:pt x="369" y="428"/>
                      </a:lnTo>
                      <a:lnTo>
                        <a:pt x="373" y="419"/>
                      </a:lnTo>
                      <a:lnTo>
                        <a:pt x="365" y="419"/>
                      </a:lnTo>
                      <a:lnTo>
                        <a:pt x="360" y="419"/>
                      </a:lnTo>
                      <a:lnTo>
                        <a:pt x="360" y="419"/>
                      </a:lnTo>
                      <a:lnTo>
                        <a:pt x="360" y="426"/>
                      </a:lnTo>
                      <a:lnTo>
                        <a:pt x="360" y="430"/>
                      </a:lnTo>
                      <a:lnTo>
                        <a:pt x="356" y="432"/>
                      </a:lnTo>
                      <a:lnTo>
                        <a:pt x="352" y="432"/>
                      </a:lnTo>
                      <a:lnTo>
                        <a:pt x="349" y="432"/>
                      </a:lnTo>
                      <a:lnTo>
                        <a:pt x="345" y="432"/>
                      </a:lnTo>
                      <a:lnTo>
                        <a:pt x="341" y="432"/>
                      </a:lnTo>
                      <a:lnTo>
                        <a:pt x="338" y="430"/>
                      </a:lnTo>
                      <a:lnTo>
                        <a:pt x="330" y="428"/>
                      </a:lnTo>
                      <a:lnTo>
                        <a:pt x="321" y="424"/>
                      </a:lnTo>
                      <a:lnTo>
                        <a:pt x="319" y="432"/>
                      </a:lnTo>
                      <a:lnTo>
                        <a:pt x="317" y="437"/>
                      </a:lnTo>
                      <a:lnTo>
                        <a:pt x="315" y="443"/>
                      </a:lnTo>
                      <a:lnTo>
                        <a:pt x="312" y="447"/>
                      </a:lnTo>
                      <a:lnTo>
                        <a:pt x="310" y="448"/>
                      </a:lnTo>
                      <a:lnTo>
                        <a:pt x="306" y="452"/>
                      </a:lnTo>
                      <a:lnTo>
                        <a:pt x="302" y="454"/>
                      </a:lnTo>
                      <a:lnTo>
                        <a:pt x="299" y="456"/>
                      </a:lnTo>
                      <a:lnTo>
                        <a:pt x="295" y="458"/>
                      </a:lnTo>
                      <a:lnTo>
                        <a:pt x="291" y="460"/>
                      </a:lnTo>
                      <a:lnTo>
                        <a:pt x="291" y="460"/>
                      </a:lnTo>
                      <a:lnTo>
                        <a:pt x="288" y="460"/>
                      </a:lnTo>
                      <a:lnTo>
                        <a:pt x="282" y="461"/>
                      </a:lnTo>
                      <a:lnTo>
                        <a:pt x="273" y="463"/>
                      </a:lnTo>
                      <a:lnTo>
                        <a:pt x="260" y="467"/>
                      </a:lnTo>
                      <a:lnTo>
                        <a:pt x="258" y="474"/>
                      </a:lnTo>
                      <a:lnTo>
                        <a:pt x="258" y="480"/>
                      </a:lnTo>
                      <a:lnTo>
                        <a:pt x="256" y="485"/>
                      </a:lnTo>
                      <a:lnTo>
                        <a:pt x="256" y="485"/>
                      </a:lnTo>
                      <a:lnTo>
                        <a:pt x="256" y="491"/>
                      </a:lnTo>
                      <a:lnTo>
                        <a:pt x="256" y="493"/>
                      </a:lnTo>
                      <a:lnTo>
                        <a:pt x="262" y="493"/>
                      </a:lnTo>
                      <a:lnTo>
                        <a:pt x="266" y="495"/>
                      </a:lnTo>
                      <a:lnTo>
                        <a:pt x="264" y="495"/>
                      </a:lnTo>
                      <a:lnTo>
                        <a:pt x="264" y="495"/>
                      </a:lnTo>
                      <a:lnTo>
                        <a:pt x="260" y="496"/>
                      </a:lnTo>
                      <a:lnTo>
                        <a:pt x="258" y="496"/>
                      </a:lnTo>
                      <a:lnTo>
                        <a:pt x="258" y="496"/>
                      </a:lnTo>
                      <a:lnTo>
                        <a:pt x="256" y="498"/>
                      </a:lnTo>
                      <a:lnTo>
                        <a:pt x="255" y="500"/>
                      </a:lnTo>
                      <a:lnTo>
                        <a:pt x="255" y="500"/>
                      </a:lnTo>
                      <a:lnTo>
                        <a:pt x="253" y="502"/>
                      </a:lnTo>
                      <a:lnTo>
                        <a:pt x="253" y="502"/>
                      </a:lnTo>
                      <a:lnTo>
                        <a:pt x="253" y="504"/>
                      </a:lnTo>
                      <a:lnTo>
                        <a:pt x="251" y="508"/>
                      </a:lnTo>
                      <a:lnTo>
                        <a:pt x="251" y="509"/>
                      </a:lnTo>
                      <a:lnTo>
                        <a:pt x="256" y="509"/>
                      </a:lnTo>
                      <a:lnTo>
                        <a:pt x="262" y="509"/>
                      </a:lnTo>
                      <a:lnTo>
                        <a:pt x="267" y="511"/>
                      </a:lnTo>
                      <a:lnTo>
                        <a:pt x="271" y="511"/>
                      </a:lnTo>
                      <a:lnTo>
                        <a:pt x="271" y="511"/>
                      </a:lnTo>
                      <a:lnTo>
                        <a:pt x="271" y="511"/>
                      </a:lnTo>
                      <a:lnTo>
                        <a:pt x="269" y="513"/>
                      </a:lnTo>
                      <a:lnTo>
                        <a:pt x="260" y="517"/>
                      </a:lnTo>
                      <a:lnTo>
                        <a:pt x="249" y="520"/>
                      </a:lnTo>
                      <a:lnTo>
                        <a:pt x="240" y="524"/>
                      </a:lnTo>
                      <a:lnTo>
                        <a:pt x="229" y="530"/>
                      </a:lnTo>
                      <a:lnTo>
                        <a:pt x="229" y="533"/>
                      </a:lnTo>
                      <a:lnTo>
                        <a:pt x="231" y="535"/>
                      </a:lnTo>
                      <a:lnTo>
                        <a:pt x="232" y="539"/>
                      </a:lnTo>
                      <a:lnTo>
                        <a:pt x="232" y="541"/>
                      </a:lnTo>
                      <a:lnTo>
                        <a:pt x="225" y="544"/>
                      </a:lnTo>
                      <a:lnTo>
                        <a:pt x="218" y="548"/>
                      </a:lnTo>
                      <a:lnTo>
                        <a:pt x="210" y="552"/>
                      </a:lnTo>
                      <a:lnTo>
                        <a:pt x="203" y="556"/>
                      </a:lnTo>
                      <a:lnTo>
                        <a:pt x="197" y="550"/>
                      </a:lnTo>
                      <a:lnTo>
                        <a:pt x="194" y="543"/>
                      </a:lnTo>
                      <a:lnTo>
                        <a:pt x="188" y="535"/>
                      </a:lnTo>
                      <a:lnTo>
                        <a:pt x="183" y="530"/>
                      </a:lnTo>
                      <a:lnTo>
                        <a:pt x="175" y="530"/>
                      </a:lnTo>
                      <a:lnTo>
                        <a:pt x="168" y="532"/>
                      </a:lnTo>
                      <a:lnTo>
                        <a:pt x="160" y="533"/>
                      </a:lnTo>
                      <a:lnTo>
                        <a:pt x="153" y="535"/>
                      </a:lnTo>
                      <a:lnTo>
                        <a:pt x="153" y="530"/>
                      </a:lnTo>
                      <a:lnTo>
                        <a:pt x="153" y="524"/>
                      </a:lnTo>
                      <a:lnTo>
                        <a:pt x="153" y="524"/>
                      </a:lnTo>
                      <a:lnTo>
                        <a:pt x="140" y="526"/>
                      </a:lnTo>
                      <a:lnTo>
                        <a:pt x="127" y="528"/>
                      </a:lnTo>
                      <a:lnTo>
                        <a:pt x="114" y="528"/>
                      </a:lnTo>
                      <a:lnTo>
                        <a:pt x="103" y="530"/>
                      </a:lnTo>
                      <a:lnTo>
                        <a:pt x="103" y="524"/>
                      </a:lnTo>
                      <a:lnTo>
                        <a:pt x="101" y="519"/>
                      </a:lnTo>
                      <a:lnTo>
                        <a:pt x="103" y="513"/>
                      </a:lnTo>
                      <a:lnTo>
                        <a:pt x="103" y="509"/>
                      </a:lnTo>
                      <a:lnTo>
                        <a:pt x="103" y="502"/>
                      </a:lnTo>
                      <a:lnTo>
                        <a:pt x="105" y="495"/>
                      </a:lnTo>
                      <a:lnTo>
                        <a:pt x="105" y="495"/>
                      </a:lnTo>
                      <a:lnTo>
                        <a:pt x="107" y="487"/>
                      </a:lnTo>
                      <a:lnTo>
                        <a:pt x="107" y="487"/>
                      </a:lnTo>
                      <a:lnTo>
                        <a:pt x="107" y="478"/>
                      </a:lnTo>
                      <a:lnTo>
                        <a:pt x="107" y="472"/>
                      </a:lnTo>
                      <a:lnTo>
                        <a:pt x="107" y="472"/>
                      </a:lnTo>
                      <a:lnTo>
                        <a:pt x="107" y="467"/>
                      </a:lnTo>
                      <a:lnTo>
                        <a:pt x="107" y="467"/>
                      </a:lnTo>
                      <a:lnTo>
                        <a:pt x="105" y="461"/>
                      </a:lnTo>
                      <a:lnTo>
                        <a:pt x="103" y="454"/>
                      </a:lnTo>
                      <a:lnTo>
                        <a:pt x="103" y="452"/>
                      </a:lnTo>
                      <a:lnTo>
                        <a:pt x="98" y="452"/>
                      </a:lnTo>
                      <a:lnTo>
                        <a:pt x="92" y="454"/>
                      </a:lnTo>
                      <a:lnTo>
                        <a:pt x="92" y="448"/>
                      </a:lnTo>
                      <a:lnTo>
                        <a:pt x="92" y="443"/>
                      </a:lnTo>
                      <a:lnTo>
                        <a:pt x="92" y="443"/>
                      </a:lnTo>
                      <a:lnTo>
                        <a:pt x="85" y="439"/>
                      </a:lnTo>
                      <a:lnTo>
                        <a:pt x="75" y="436"/>
                      </a:lnTo>
                      <a:lnTo>
                        <a:pt x="68" y="434"/>
                      </a:lnTo>
                      <a:lnTo>
                        <a:pt x="61" y="432"/>
                      </a:lnTo>
                      <a:lnTo>
                        <a:pt x="52" y="430"/>
                      </a:lnTo>
                      <a:lnTo>
                        <a:pt x="44" y="428"/>
                      </a:lnTo>
                      <a:lnTo>
                        <a:pt x="35" y="426"/>
                      </a:lnTo>
                      <a:lnTo>
                        <a:pt x="35" y="426"/>
                      </a:lnTo>
                      <a:lnTo>
                        <a:pt x="26" y="426"/>
                      </a:lnTo>
                      <a:lnTo>
                        <a:pt x="26" y="426"/>
                      </a:lnTo>
                      <a:lnTo>
                        <a:pt x="26" y="432"/>
                      </a:lnTo>
                      <a:lnTo>
                        <a:pt x="26" y="437"/>
                      </a:lnTo>
                      <a:lnTo>
                        <a:pt x="20" y="437"/>
                      </a:lnTo>
                      <a:lnTo>
                        <a:pt x="15" y="437"/>
                      </a:lnTo>
                      <a:lnTo>
                        <a:pt x="15" y="437"/>
                      </a:lnTo>
                      <a:lnTo>
                        <a:pt x="13" y="443"/>
                      </a:lnTo>
                      <a:lnTo>
                        <a:pt x="11" y="447"/>
                      </a:lnTo>
                      <a:lnTo>
                        <a:pt x="7" y="445"/>
                      </a:lnTo>
                      <a:lnTo>
                        <a:pt x="5" y="445"/>
                      </a:lnTo>
                      <a:lnTo>
                        <a:pt x="2" y="445"/>
                      </a:lnTo>
                      <a:lnTo>
                        <a:pt x="0" y="443"/>
                      </a:lnTo>
                      <a:lnTo>
                        <a:pt x="0" y="443"/>
                      </a:lnTo>
                      <a:lnTo>
                        <a:pt x="0" y="445"/>
                      </a:lnTo>
                      <a:lnTo>
                        <a:pt x="0" y="445"/>
                      </a:lnTo>
                      <a:lnTo>
                        <a:pt x="2" y="445"/>
                      </a:lnTo>
                      <a:lnTo>
                        <a:pt x="2" y="445"/>
                      </a:lnTo>
                      <a:lnTo>
                        <a:pt x="5" y="447"/>
                      </a:lnTo>
                      <a:lnTo>
                        <a:pt x="7" y="447"/>
                      </a:lnTo>
                      <a:lnTo>
                        <a:pt x="11" y="448"/>
                      </a:lnTo>
                      <a:lnTo>
                        <a:pt x="11" y="448"/>
                      </a:lnTo>
                      <a:lnTo>
                        <a:pt x="13" y="443"/>
                      </a:lnTo>
                      <a:lnTo>
                        <a:pt x="16" y="439"/>
                      </a:lnTo>
                      <a:lnTo>
                        <a:pt x="20" y="439"/>
                      </a:lnTo>
                      <a:lnTo>
                        <a:pt x="26" y="439"/>
                      </a:lnTo>
                      <a:lnTo>
                        <a:pt x="28" y="439"/>
                      </a:lnTo>
                      <a:lnTo>
                        <a:pt x="28" y="432"/>
                      </a:lnTo>
                      <a:lnTo>
                        <a:pt x="28" y="428"/>
                      </a:lnTo>
                      <a:lnTo>
                        <a:pt x="35" y="428"/>
                      </a:lnTo>
                      <a:lnTo>
                        <a:pt x="44" y="430"/>
                      </a:lnTo>
                      <a:lnTo>
                        <a:pt x="52" y="430"/>
                      </a:lnTo>
                      <a:lnTo>
                        <a:pt x="61" y="432"/>
                      </a:lnTo>
                      <a:lnTo>
                        <a:pt x="68" y="436"/>
                      </a:lnTo>
                      <a:lnTo>
                        <a:pt x="75" y="437"/>
                      </a:lnTo>
                      <a:lnTo>
                        <a:pt x="83" y="441"/>
                      </a:lnTo>
                      <a:lnTo>
                        <a:pt x="92" y="443"/>
                      </a:lnTo>
                      <a:lnTo>
                        <a:pt x="92" y="448"/>
                      </a:lnTo>
                      <a:lnTo>
                        <a:pt x="92" y="454"/>
                      </a:lnTo>
                      <a:lnTo>
                        <a:pt x="92" y="454"/>
                      </a:lnTo>
                      <a:lnTo>
                        <a:pt x="98" y="454"/>
                      </a:lnTo>
                      <a:lnTo>
                        <a:pt x="103" y="454"/>
                      </a:lnTo>
                      <a:lnTo>
                        <a:pt x="103" y="461"/>
                      </a:lnTo>
                      <a:lnTo>
                        <a:pt x="105" y="467"/>
                      </a:lnTo>
                      <a:lnTo>
                        <a:pt x="105" y="472"/>
                      </a:lnTo>
                      <a:lnTo>
                        <a:pt x="105" y="478"/>
                      </a:lnTo>
                      <a:lnTo>
                        <a:pt x="105" y="487"/>
                      </a:lnTo>
                      <a:lnTo>
                        <a:pt x="103" y="495"/>
                      </a:lnTo>
                      <a:lnTo>
                        <a:pt x="101" y="502"/>
                      </a:lnTo>
                      <a:lnTo>
                        <a:pt x="101" y="509"/>
                      </a:lnTo>
                      <a:lnTo>
                        <a:pt x="101" y="513"/>
                      </a:lnTo>
                      <a:lnTo>
                        <a:pt x="101" y="519"/>
                      </a:lnTo>
                      <a:lnTo>
                        <a:pt x="101" y="519"/>
                      </a:lnTo>
                      <a:lnTo>
                        <a:pt x="101" y="524"/>
                      </a:lnTo>
                      <a:lnTo>
                        <a:pt x="101" y="532"/>
                      </a:lnTo>
                      <a:lnTo>
                        <a:pt x="101" y="532"/>
                      </a:lnTo>
                      <a:lnTo>
                        <a:pt x="114" y="530"/>
                      </a:lnTo>
                      <a:lnTo>
                        <a:pt x="127" y="528"/>
                      </a:lnTo>
                      <a:lnTo>
                        <a:pt x="140" y="528"/>
                      </a:lnTo>
                      <a:lnTo>
                        <a:pt x="151" y="526"/>
                      </a:lnTo>
                      <a:lnTo>
                        <a:pt x="151" y="530"/>
                      </a:lnTo>
                      <a:lnTo>
                        <a:pt x="151" y="535"/>
                      </a:lnTo>
                      <a:lnTo>
                        <a:pt x="151" y="537"/>
                      </a:lnTo>
                      <a:lnTo>
                        <a:pt x="160" y="535"/>
                      </a:lnTo>
                      <a:lnTo>
                        <a:pt x="168" y="533"/>
                      </a:lnTo>
                      <a:lnTo>
                        <a:pt x="175" y="532"/>
                      </a:lnTo>
                      <a:lnTo>
                        <a:pt x="183" y="532"/>
                      </a:lnTo>
                      <a:lnTo>
                        <a:pt x="188" y="537"/>
                      </a:lnTo>
                      <a:lnTo>
                        <a:pt x="192" y="544"/>
                      </a:lnTo>
                      <a:lnTo>
                        <a:pt x="197" y="550"/>
                      </a:lnTo>
                      <a:lnTo>
                        <a:pt x="203" y="557"/>
                      </a:lnTo>
                      <a:lnTo>
                        <a:pt x="203" y="557"/>
                      </a:lnTo>
                      <a:lnTo>
                        <a:pt x="203" y="557"/>
                      </a:lnTo>
                      <a:lnTo>
                        <a:pt x="210" y="554"/>
                      </a:lnTo>
                      <a:lnTo>
                        <a:pt x="218" y="550"/>
                      </a:lnTo>
                      <a:lnTo>
                        <a:pt x="227" y="546"/>
                      </a:lnTo>
                      <a:lnTo>
                        <a:pt x="234" y="543"/>
                      </a:lnTo>
                      <a:lnTo>
                        <a:pt x="232" y="539"/>
                      </a:lnTo>
                      <a:lnTo>
                        <a:pt x="232" y="535"/>
                      </a:lnTo>
                      <a:lnTo>
                        <a:pt x="231" y="532"/>
                      </a:lnTo>
                      <a:lnTo>
                        <a:pt x="231" y="530"/>
                      </a:lnTo>
                      <a:lnTo>
                        <a:pt x="240" y="526"/>
                      </a:lnTo>
                      <a:lnTo>
                        <a:pt x="251" y="522"/>
                      </a:lnTo>
                      <a:lnTo>
                        <a:pt x="260" y="517"/>
                      </a:lnTo>
                      <a:lnTo>
                        <a:pt x="271" y="513"/>
                      </a:lnTo>
                      <a:lnTo>
                        <a:pt x="273" y="511"/>
                      </a:lnTo>
                      <a:lnTo>
                        <a:pt x="275" y="511"/>
                      </a:lnTo>
                      <a:lnTo>
                        <a:pt x="275" y="509"/>
                      </a:lnTo>
                      <a:lnTo>
                        <a:pt x="267" y="509"/>
                      </a:lnTo>
                      <a:lnTo>
                        <a:pt x="262" y="508"/>
                      </a:lnTo>
                      <a:lnTo>
                        <a:pt x="256" y="508"/>
                      </a:lnTo>
                      <a:lnTo>
                        <a:pt x="253" y="508"/>
                      </a:lnTo>
                      <a:lnTo>
                        <a:pt x="253" y="506"/>
                      </a:lnTo>
                      <a:lnTo>
                        <a:pt x="253" y="506"/>
                      </a:lnTo>
                      <a:lnTo>
                        <a:pt x="255" y="502"/>
                      </a:lnTo>
                      <a:lnTo>
                        <a:pt x="255" y="500"/>
                      </a:lnTo>
                      <a:lnTo>
                        <a:pt x="256" y="498"/>
                      </a:lnTo>
                      <a:lnTo>
                        <a:pt x="258" y="498"/>
                      </a:lnTo>
                      <a:lnTo>
                        <a:pt x="260" y="496"/>
                      </a:lnTo>
                      <a:lnTo>
                        <a:pt x="264" y="496"/>
                      </a:lnTo>
                      <a:lnTo>
                        <a:pt x="267" y="495"/>
                      </a:lnTo>
                      <a:lnTo>
                        <a:pt x="271" y="495"/>
                      </a:lnTo>
                      <a:lnTo>
                        <a:pt x="262" y="491"/>
                      </a:lnTo>
                      <a:lnTo>
                        <a:pt x="258" y="491"/>
                      </a:lnTo>
                      <a:lnTo>
                        <a:pt x="258" y="485"/>
                      </a:lnTo>
                      <a:lnTo>
                        <a:pt x="260" y="480"/>
                      </a:lnTo>
                      <a:lnTo>
                        <a:pt x="260" y="474"/>
                      </a:lnTo>
                      <a:lnTo>
                        <a:pt x="262" y="469"/>
                      </a:lnTo>
                      <a:lnTo>
                        <a:pt x="273" y="465"/>
                      </a:lnTo>
                      <a:lnTo>
                        <a:pt x="284" y="463"/>
                      </a:lnTo>
                      <a:lnTo>
                        <a:pt x="288" y="461"/>
                      </a:lnTo>
                      <a:lnTo>
                        <a:pt x="291" y="460"/>
                      </a:lnTo>
                      <a:lnTo>
                        <a:pt x="297" y="460"/>
                      </a:lnTo>
                      <a:lnTo>
                        <a:pt x="297" y="460"/>
                      </a:lnTo>
                      <a:lnTo>
                        <a:pt x="301" y="458"/>
                      </a:lnTo>
                      <a:lnTo>
                        <a:pt x="301" y="458"/>
                      </a:lnTo>
                      <a:lnTo>
                        <a:pt x="304" y="456"/>
                      </a:lnTo>
                      <a:lnTo>
                        <a:pt x="304" y="456"/>
                      </a:lnTo>
                      <a:lnTo>
                        <a:pt x="308" y="454"/>
                      </a:lnTo>
                      <a:lnTo>
                        <a:pt x="308" y="452"/>
                      </a:lnTo>
                      <a:lnTo>
                        <a:pt x="310" y="450"/>
                      </a:lnTo>
                      <a:lnTo>
                        <a:pt x="314" y="447"/>
                      </a:lnTo>
                      <a:lnTo>
                        <a:pt x="315" y="443"/>
                      </a:lnTo>
                      <a:lnTo>
                        <a:pt x="315" y="443"/>
                      </a:lnTo>
                      <a:lnTo>
                        <a:pt x="319" y="437"/>
                      </a:lnTo>
                      <a:lnTo>
                        <a:pt x="321" y="432"/>
                      </a:lnTo>
                      <a:lnTo>
                        <a:pt x="321" y="432"/>
                      </a:lnTo>
                      <a:lnTo>
                        <a:pt x="323" y="426"/>
                      </a:lnTo>
                      <a:lnTo>
                        <a:pt x="330" y="428"/>
                      </a:lnTo>
                      <a:lnTo>
                        <a:pt x="336" y="430"/>
                      </a:lnTo>
                      <a:lnTo>
                        <a:pt x="341" y="432"/>
                      </a:lnTo>
                      <a:lnTo>
                        <a:pt x="341" y="432"/>
                      </a:lnTo>
                      <a:lnTo>
                        <a:pt x="345" y="434"/>
                      </a:lnTo>
                      <a:lnTo>
                        <a:pt x="349" y="434"/>
                      </a:lnTo>
                      <a:lnTo>
                        <a:pt x="349" y="434"/>
                      </a:lnTo>
                      <a:lnTo>
                        <a:pt x="352" y="434"/>
                      </a:lnTo>
                      <a:lnTo>
                        <a:pt x="356" y="432"/>
                      </a:lnTo>
                      <a:lnTo>
                        <a:pt x="362" y="432"/>
                      </a:lnTo>
                      <a:lnTo>
                        <a:pt x="362" y="432"/>
                      </a:lnTo>
                      <a:lnTo>
                        <a:pt x="362" y="426"/>
                      </a:lnTo>
                      <a:lnTo>
                        <a:pt x="362" y="421"/>
                      </a:lnTo>
                      <a:lnTo>
                        <a:pt x="365" y="421"/>
                      </a:lnTo>
                      <a:lnTo>
                        <a:pt x="371" y="421"/>
                      </a:lnTo>
                      <a:lnTo>
                        <a:pt x="367" y="426"/>
                      </a:lnTo>
                      <a:lnTo>
                        <a:pt x="363" y="434"/>
                      </a:lnTo>
                      <a:lnTo>
                        <a:pt x="360" y="439"/>
                      </a:lnTo>
                      <a:lnTo>
                        <a:pt x="360" y="439"/>
                      </a:lnTo>
                      <a:lnTo>
                        <a:pt x="354" y="445"/>
                      </a:lnTo>
                      <a:lnTo>
                        <a:pt x="354" y="445"/>
                      </a:lnTo>
                      <a:lnTo>
                        <a:pt x="352" y="450"/>
                      </a:lnTo>
                      <a:lnTo>
                        <a:pt x="349" y="456"/>
                      </a:lnTo>
                      <a:lnTo>
                        <a:pt x="349" y="456"/>
                      </a:lnTo>
                      <a:lnTo>
                        <a:pt x="347" y="458"/>
                      </a:lnTo>
                      <a:lnTo>
                        <a:pt x="345" y="461"/>
                      </a:lnTo>
                      <a:lnTo>
                        <a:pt x="345" y="461"/>
                      </a:lnTo>
                      <a:lnTo>
                        <a:pt x="345" y="465"/>
                      </a:lnTo>
                      <a:lnTo>
                        <a:pt x="343" y="469"/>
                      </a:lnTo>
                      <a:lnTo>
                        <a:pt x="343" y="471"/>
                      </a:lnTo>
                      <a:lnTo>
                        <a:pt x="349" y="471"/>
                      </a:lnTo>
                      <a:lnTo>
                        <a:pt x="354" y="472"/>
                      </a:lnTo>
                      <a:lnTo>
                        <a:pt x="354" y="472"/>
                      </a:lnTo>
                      <a:lnTo>
                        <a:pt x="358" y="472"/>
                      </a:lnTo>
                      <a:lnTo>
                        <a:pt x="358" y="472"/>
                      </a:lnTo>
                      <a:lnTo>
                        <a:pt x="362" y="471"/>
                      </a:lnTo>
                      <a:lnTo>
                        <a:pt x="365" y="471"/>
                      </a:lnTo>
                      <a:lnTo>
                        <a:pt x="365" y="471"/>
                      </a:lnTo>
                      <a:lnTo>
                        <a:pt x="367" y="469"/>
                      </a:lnTo>
                      <a:lnTo>
                        <a:pt x="367" y="469"/>
                      </a:lnTo>
                      <a:lnTo>
                        <a:pt x="371" y="467"/>
                      </a:lnTo>
                      <a:lnTo>
                        <a:pt x="371" y="467"/>
                      </a:lnTo>
                      <a:lnTo>
                        <a:pt x="373" y="465"/>
                      </a:lnTo>
                      <a:lnTo>
                        <a:pt x="373" y="465"/>
                      </a:lnTo>
                      <a:lnTo>
                        <a:pt x="374" y="461"/>
                      </a:lnTo>
                      <a:lnTo>
                        <a:pt x="374" y="461"/>
                      </a:lnTo>
                      <a:lnTo>
                        <a:pt x="376" y="460"/>
                      </a:lnTo>
                      <a:lnTo>
                        <a:pt x="376" y="460"/>
                      </a:lnTo>
                      <a:lnTo>
                        <a:pt x="378" y="456"/>
                      </a:lnTo>
                      <a:lnTo>
                        <a:pt x="378" y="456"/>
                      </a:lnTo>
                      <a:lnTo>
                        <a:pt x="378" y="452"/>
                      </a:lnTo>
                      <a:lnTo>
                        <a:pt x="378" y="452"/>
                      </a:lnTo>
                      <a:lnTo>
                        <a:pt x="378" y="448"/>
                      </a:lnTo>
                      <a:lnTo>
                        <a:pt x="380" y="443"/>
                      </a:lnTo>
                      <a:lnTo>
                        <a:pt x="380" y="443"/>
                      </a:lnTo>
                      <a:lnTo>
                        <a:pt x="380" y="439"/>
                      </a:lnTo>
                      <a:lnTo>
                        <a:pt x="380" y="439"/>
                      </a:lnTo>
                      <a:lnTo>
                        <a:pt x="378" y="436"/>
                      </a:lnTo>
                      <a:lnTo>
                        <a:pt x="386" y="434"/>
                      </a:lnTo>
                      <a:lnTo>
                        <a:pt x="391" y="434"/>
                      </a:lnTo>
                      <a:lnTo>
                        <a:pt x="398" y="432"/>
                      </a:lnTo>
                      <a:lnTo>
                        <a:pt x="406" y="432"/>
                      </a:lnTo>
                      <a:lnTo>
                        <a:pt x="406" y="432"/>
                      </a:lnTo>
                      <a:lnTo>
                        <a:pt x="406" y="424"/>
                      </a:lnTo>
                      <a:lnTo>
                        <a:pt x="408" y="419"/>
                      </a:lnTo>
                      <a:lnTo>
                        <a:pt x="406" y="419"/>
                      </a:lnTo>
                      <a:lnTo>
                        <a:pt x="408" y="419"/>
                      </a:lnTo>
                      <a:lnTo>
                        <a:pt x="406" y="419"/>
                      </a:lnTo>
                      <a:lnTo>
                        <a:pt x="408" y="419"/>
                      </a:lnTo>
                      <a:lnTo>
                        <a:pt x="408" y="413"/>
                      </a:lnTo>
                      <a:lnTo>
                        <a:pt x="408" y="413"/>
                      </a:lnTo>
                      <a:lnTo>
                        <a:pt x="408" y="410"/>
                      </a:lnTo>
                      <a:lnTo>
                        <a:pt x="408" y="408"/>
                      </a:lnTo>
                      <a:lnTo>
                        <a:pt x="408" y="406"/>
                      </a:lnTo>
                      <a:lnTo>
                        <a:pt x="408" y="404"/>
                      </a:lnTo>
                      <a:lnTo>
                        <a:pt x="408" y="404"/>
                      </a:lnTo>
                      <a:lnTo>
                        <a:pt x="406" y="402"/>
                      </a:lnTo>
                      <a:lnTo>
                        <a:pt x="406" y="399"/>
                      </a:lnTo>
                      <a:lnTo>
                        <a:pt x="406" y="399"/>
                      </a:lnTo>
                      <a:lnTo>
                        <a:pt x="402" y="395"/>
                      </a:lnTo>
                      <a:lnTo>
                        <a:pt x="402" y="395"/>
                      </a:lnTo>
                      <a:lnTo>
                        <a:pt x="400" y="389"/>
                      </a:lnTo>
                      <a:lnTo>
                        <a:pt x="404" y="389"/>
                      </a:lnTo>
                      <a:lnTo>
                        <a:pt x="404" y="389"/>
                      </a:lnTo>
                      <a:lnTo>
                        <a:pt x="408" y="388"/>
                      </a:lnTo>
                      <a:lnTo>
                        <a:pt x="408" y="388"/>
                      </a:lnTo>
                      <a:lnTo>
                        <a:pt x="411" y="384"/>
                      </a:lnTo>
                      <a:lnTo>
                        <a:pt x="415" y="382"/>
                      </a:lnTo>
                      <a:lnTo>
                        <a:pt x="417" y="382"/>
                      </a:lnTo>
                      <a:lnTo>
                        <a:pt x="421" y="380"/>
                      </a:lnTo>
                      <a:lnTo>
                        <a:pt x="424" y="378"/>
                      </a:lnTo>
                      <a:lnTo>
                        <a:pt x="426" y="378"/>
                      </a:lnTo>
                      <a:lnTo>
                        <a:pt x="430" y="378"/>
                      </a:lnTo>
                      <a:lnTo>
                        <a:pt x="434" y="378"/>
                      </a:lnTo>
                      <a:lnTo>
                        <a:pt x="434" y="378"/>
                      </a:lnTo>
                      <a:lnTo>
                        <a:pt x="434" y="373"/>
                      </a:lnTo>
                      <a:lnTo>
                        <a:pt x="434" y="367"/>
                      </a:lnTo>
                      <a:lnTo>
                        <a:pt x="432" y="364"/>
                      </a:lnTo>
                      <a:lnTo>
                        <a:pt x="432" y="360"/>
                      </a:lnTo>
                      <a:lnTo>
                        <a:pt x="435" y="358"/>
                      </a:lnTo>
                      <a:lnTo>
                        <a:pt x="437" y="358"/>
                      </a:lnTo>
                      <a:lnTo>
                        <a:pt x="441" y="356"/>
                      </a:lnTo>
                      <a:lnTo>
                        <a:pt x="445" y="354"/>
                      </a:lnTo>
                      <a:lnTo>
                        <a:pt x="445" y="354"/>
                      </a:lnTo>
                      <a:lnTo>
                        <a:pt x="446" y="351"/>
                      </a:lnTo>
                      <a:lnTo>
                        <a:pt x="446" y="351"/>
                      </a:lnTo>
                      <a:lnTo>
                        <a:pt x="448" y="351"/>
                      </a:lnTo>
                      <a:lnTo>
                        <a:pt x="450" y="349"/>
                      </a:lnTo>
                      <a:lnTo>
                        <a:pt x="450" y="349"/>
                      </a:lnTo>
                      <a:lnTo>
                        <a:pt x="450" y="347"/>
                      </a:lnTo>
                      <a:lnTo>
                        <a:pt x="450" y="347"/>
                      </a:lnTo>
                      <a:lnTo>
                        <a:pt x="450" y="343"/>
                      </a:lnTo>
                      <a:lnTo>
                        <a:pt x="450" y="343"/>
                      </a:lnTo>
                      <a:lnTo>
                        <a:pt x="450" y="341"/>
                      </a:lnTo>
                      <a:lnTo>
                        <a:pt x="450" y="341"/>
                      </a:lnTo>
                      <a:lnTo>
                        <a:pt x="450" y="340"/>
                      </a:lnTo>
                      <a:lnTo>
                        <a:pt x="450" y="340"/>
                      </a:lnTo>
                      <a:lnTo>
                        <a:pt x="450" y="338"/>
                      </a:lnTo>
                      <a:lnTo>
                        <a:pt x="448" y="334"/>
                      </a:lnTo>
                      <a:lnTo>
                        <a:pt x="448" y="334"/>
                      </a:lnTo>
                      <a:lnTo>
                        <a:pt x="441" y="334"/>
                      </a:lnTo>
                      <a:lnTo>
                        <a:pt x="435" y="334"/>
                      </a:lnTo>
                      <a:lnTo>
                        <a:pt x="434" y="334"/>
                      </a:lnTo>
                      <a:lnTo>
                        <a:pt x="432" y="336"/>
                      </a:lnTo>
                      <a:lnTo>
                        <a:pt x="432" y="336"/>
                      </a:lnTo>
                      <a:lnTo>
                        <a:pt x="430" y="336"/>
                      </a:lnTo>
                      <a:lnTo>
                        <a:pt x="428" y="338"/>
                      </a:lnTo>
                      <a:lnTo>
                        <a:pt x="428" y="338"/>
                      </a:lnTo>
                      <a:lnTo>
                        <a:pt x="424" y="338"/>
                      </a:lnTo>
                      <a:lnTo>
                        <a:pt x="422" y="340"/>
                      </a:lnTo>
                      <a:lnTo>
                        <a:pt x="422" y="340"/>
                      </a:lnTo>
                      <a:lnTo>
                        <a:pt x="421" y="341"/>
                      </a:lnTo>
                      <a:lnTo>
                        <a:pt x="421" y="341"/>
                      </a:lnTo>
                      <a:lnTo>
                        <a:pt x="419" y="343"/>
                      </a:lnTo>
                      <a:lnTo>
                        <a:pt x="419" y="345"/>
                      </a:lnTo>
                      <a:lnTo>
                        <a:pt x="419" y="345"/>
                      </a:lnTo>
                      <a:lnTo>
                        <a:pt x="417" y="349"/>
                      </a:lnTo>
                      <a:lnTo>
                        <a:pt x="415" y="351"/>
                      </a:lnTo>
                      <a:lnTo>
                        <a:pt x="415" y="351"/>
                      </a:lnTo>
                      <a:lnTo>
                        <a:pt x="415" y="354"/>
                      </a:lnTo>
                      <a:lnTo>
                        <a:pt x="410" y="354"/>
                      </a:lnTo>
                      <a:lnTo>
                        <a:pt x="406" y="354"/>
                      </a:lnTo>
                      <a:lnTo>
                        <a:pt x="406" y="351"/>
                      </a:lnTo>
                      <a:lnTo>
                        <a:pt x="406" y="347"/>
                      </a:lnTo>
                      <a:lnTo>
                        <a:pt x="406" y="341"/>
                      </a:lnTo>
                      <a:lnTo>
                        <a:pt x="406" y="338"/>
                      </a:lnTo>
                      <a:lnTo>
                        <a:pt x="406" y="338"/>
                      </a:lnTo>
                      <a:lnTo>
                        <a:pt x="400" y="338"/>
                      </a:lnTo>
                      <a:lnTo>
                        <a:pt x="397" y="338"/>
                      </a:lnTo>
                      <a:lnTo>
                        <a:pt x="391" y="338"/>
                      </a:lnTo>
                      <a:lnTo>
                        <a:pt x="389" y="338"/>
                      </a:lnTo>
                      <a:lnTo>
                        <a:pt x="389" y="330"/>
                      </a:lnTo>
                      <a:lnTo>
                        <a:pt x="389" y="330"/>
                      </a:lnTo>
                      <a:lnTo>
                        <a:pt x="389" y="321"/>
                      </a:lnTo>
                      <a:lnTo>
                        <a:pt x="389" y="321"/>
                      </a:lnTo>
                      <a:lnTo>
                        <a:pt x="389" y="312"/>
                      </a:lnTo>
                      <a:lnTo>
                        <a:pt x="389" y="303"/>
                      </a:lnTo>
                      <a:lnTo>
                        <a:pt x="389" y="293"/>
                      </a:lnTo>
                      <a:lnTo>
                        <a:pt x="387" y="282"/>
                      </a:lnTo>
                      <a:lnTo>
                        <a:pt x="386" y="273"/>
                      </a:lnTo>
                      <a:lnTo>
                        <a:pt x="384" y="262"/>
                      </a:lnTo>
                      <a:lnTo>
                        <a:pt x="380" y="242"/>
                      </a:lnTo>
                      <a:lnTo>
                        <a:pt x="376" y="221"/>
                      </a:lnTo>
                      <a:lnTo>
                        <a:pt x="374" y="212"/>
                      </a:lnTo>
                      <a:lnTo>
                        <a:pt x="373" y="203"/>
                      </a:lnTo>
                      <a:lnTo>
                        <a:pt x="373" y="194"/>
                      </a:lnTo>
                      <a:lnTo>
                        <a:pt x="371" y="186"/>
                      </a:lnTo>
                      <a:lnTo>
                        <a:pt x="371" y="185"/>
                      </a:lnTo>
                      <a:lnTo>
                        <a:pt x="365" y="185"/>
                      </a:lnTo>
                      <a:lnTo>
                        <a:pt x="360" y="185"/>
                      </a:lnTo>
                      <a:lnTo>
                        <a:pt x="360" y="174"/>
                      </a:lnTo>
                      <a:lnTo>
                        <a:pt x="358" y="161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48"/>
                      </a:lnTo>
                      <a:lnTo>
                        <a:pt x="356" y="135"/>
                      </a:lnTo>
                      <a:lnTo>
                        <a:pt x="362" y="131"/>
                      </a:lnTo>
                      <a:lnTo>
                        <a:pt x="369" y="127"/>
                      </a:lnTo>
                      <a:lnTo>
                        <a:pt x="374" y="124"/>
                      </a:lnTo>
                      <a:lnTo>
                        <a:pt x="382" y="120"/>
                      </a:lnTo>
                      <a:lnTo>
                        <a:pt x="384" y="111"/>
                      </a:lnTo>
                      <a:lnTo>
                        <a:pt x="387" y="100"/>
                      </a:lnTo>
                      <a:lnTo>
                        <a:pt x="389" y="90"/>
                      </a:lnTo>
                      <a:lnTo>
                        <a:pt x="391" y="81"/>
                      </a:lnTo>
                      <a:lnTo>
                        <a:pt x="395" y="79"/>
                      </a:lnTo>
                      <a:lnTo>
                        <a:pt x="400" y="79"/>
                      </a:lnTo>
                      <a:lnTo>
                        <a:pt x="400" y="79"/>
                      </a:lnTo>
                      <a:lnTo>
                        <a:pt x="406" y="78"/>
                      </a:lnTo>
                      <a:lnTo>
                        <a:pt x="411" y="78"/>
                      </a:lnTo>
                      <a:lnTo>
                        <a:pt x="411" y="78"/>
                      </a:lnTo>
                      <a:lnTo>
                        <a:pt x="413" y="76"/>
                      </a:lnTo>
                      <a:lnTo>
                        <a:pt x="413" y="76"/>
                      </a:lnTo>
                      <a:lnTo>
                        <a:pt x="415" y="74"/>
                      </a:lnTo>
                      <a:lnTo>
                        <a:pt x="415" y="68"/>
                      </a:lnTo>
                      <a:lnTo>
                        <a:pt x="417" y="61"/>
                      </a:lnTo>
                      <a:lnTo>
                        <a:pt x="419" y="55"/>
                      </a:lnTo>
                      <a:lnTo>
                        <a:pt x="421" y="50"/>
                      </a:lnTo>
                      <a:lnTo>
                        <a:pt x="424" y="50"/>
                      </a:lnTo>
                      <a:lnTo>
                        <a:pt x="430" y="50"/>
                      </a:lnTo>
                      <a:lnTo>
                        <a:pt x="432" y="55"/>
                      </a:lnTo>
                      <a:lnTo>
                        <a:pt x="435" y="59"/>
                      </a:lnTo>
                      <a:lnTo>
                        <a:pt x="435" y="59"/>
                      </a:lnTo>
                      <a:lnTo>
                        <a:pt x="439" y="65"/>
                      </a:lnTo>
                      <a:lnTo>
                        <a:pt x="441" y="68"/>
                      </a:lnTo>
                      <a:lnTo>
                        <a:pt x="437" y="70"/>
                      </a:lnTo>
                      <a:lnTo>
                        <a:pt x="435" y="72"/>
                      </a:lnTo>
                      <a:lnTo>
                        <a:pt x="435" y="74"/>
                      </a:lnTo>
                      <a:lnTo>
                        <a:pt x="441" y="76"/>
                      </a:lnTo>
                      <a:lnTo>
                        <a:pt x="446" y="78"/>
                      </a:lnTo>
                      <a:lnTo>
                        <a:pt x="446" y="81"/>
                      </a:lnTo>
                      <a:lnTo>
                        <a:pt x="446" y="85"/>
                      </a:lnTo>
                      <a:lnTo>
                        <a:pt x="446" y="89"/>
                      </a:lnTo>
                      <a:lnTo>
                        <a:pt x="446" y="92"/>
                      </a:lnTo>
                      <a:lnTo>
                        <a:pt x="446" y="94"/>
                      </a:lnTo>
                      <a:lnTo>
                        <a:pt x="448" y="94"/>
                      </a:lnTo>
                      <a:lnTo>
                        <a:pt x="450" y="94"/>
                      </a:lnTo>
                      <a:lnTo>
                        <a:pt x="452" y="96"/>
                      </a:lnTo>
                      <a:lnTo>
                        <a:pt x="454" y="98"/>
                      </a:lnTo>
                      <a:lnTo>
                        <a:pt x="458" y="100"/>
                      </a:lnTo>
                      <a:lnTo>
                        <a:pt x="459" y="103"/>
                      </a:lnTo>
                      <a:lnTo>
                        <a:pt x="459" y="103"/>
                      </a:lnTo>
                      <a:lnTo>
                        <a:pt x="461" y="105"/>
                      </a:lnTo>
                      <a:lnTo>
                        <a:pt x="465" y="107"/>
                      </a:lnTo>
                      <a:lnTo>
                        <a:pt x="465" y="107"/>
                      </a:lnTo>
                      <a:lnTo>
                        <a:pt x="465" y="109"/>
                      </a:lnTo>
                      <a:lnTo>
                        <a:pt x="467" y="109"/>
                      </a:lnTo>
                      <a:lnTo>
                        <a:pt x="467" y="109"/>
                      </a:lnTo>
                      <a:lnTo>
                        <a:pt x="469" y="109"/>
                      </a:lnTo>
                      <a:lnTo>
                        <a:pt x="469" y="109"/>
                      </a:lnTo>
                      <a:lnTo>
                        <a:pt x="469" y="109"/>
                      </a:lnTo>
                      <a:lnTo>
                        <a:pt x="470" y="109"/>
                      </a:lnTo>
                      <a:lnTo>
                        <a:pt x="470" y="105"/>
                      </a:lnTo>
                      <a:lnTo>
                        <a:pt x="470" y="100"/>
                      </a:lnTo>
                      <a:lnTo>
                        <a:pt x="470" y="96"/>
                      </a:lnTo>
                      <a:lnTo>
                        <a:pt x="470" y="94"/>
                      </a:lnTo>
                      <a:lnTo>
                        <a:pt x="474" y="94"/>
                      </a:lnTo>
                      <a:lnTo>
                        <a:pt x="478" y="94"/>
                      </a:lnTo>
                      <a:lnTo>
                        <a:pt x="478" y="98"/>
                      </a:lnTo>
                      <a:lnTo>
                        <a:pt x="478" y="103"/>
                      </a:lnTo>
                      <a:lnTo>
                        <a:pt x="478" y="105"/>
                      </a:lnTo>
                      <a:lnTo>
                        <a:pt x="485" y="105"/>
                      </a:lnTo>
                      <a:lnTo>
                        <a:pt x="491" y="105"/>
                      </a:lnTo>
                      <a:lnTo>
                        <a:pt x="491" y="107"/>
                      </a:lnTo>
                      <a:lnTo>
                        <a:pt x="491" y="109"/>
                      </a:lnTo>
                      <a:lnTo>
                        <a:pt x="491" y="109"/>
                      </a:lnTo>
                      <a:lnTo>
                        <a:pt x="491" y="113"/>
                      </a:lnTo>
                      <a:lnTo>
                        <a:pt x="491" y="113"/>
                      </a:lnTo>
                      <a:lnTo>
                        <a:pt x="491" y="113"/>
                      </a:lnTo>
                      <a:lnTo>
                        <a:pt x="491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3" y="114"/>
                      </a:lnTo>
                      <a:lnTo>
                        <a:pt x="494" y="114"/>
                      </a:lnTo>
                      <a:lnTo>
                        <a:pt x="496" y="114"/>
                      </a:lnTo>
                      <a:lnTo>
                        <a:pt x="498" y="114"/>
                      </a:lnTo>
                      <a:lnTo>
                        <a:pt x="496" y="100"/>
                      </a:lnTo>
                      <a:lnTo>
                        <a:pt x="494" y="85"/>
                      </a:lnTo>
                      <a:lnTo>
                        <a:pt x="493" y="72"/>
                      </a:lnTo>
                      <a:lnTo>
                        <a:pt x="491" y="57"/>
                      </a:lnTo>
                      <a:lnTo>
                        <a:pt x="491" y="42"/>
                      </a:lnTo>
                      <a:lnTo>
                        <a:pt x="489" y="28"/>
                      </a:lnTo>
                      <a:lnTo>
                        <a:pt x="487" y="15"/>
                      </a:lnTo>
                      <a:lnTo>
                        <a:pt x="485" y="0"/>
                      </a:lnTo>
                      <a:lnTo>
                        <a:pt x="485" y="2"/>
                      </a:lnTo>
                      <a:lnTo>
                        <a:pt x="485" y="0"/>
                      </a:lnTo>
                      <a:lnTo>
                        <a:pt x="48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1" name="Freeform 3035"/>
                <p:cNvSpPr>
                  <a:spLocks/>
                </p:cNvSpPr>
                <p:nvPr/>
              </p:nvSpPr>
              <p:spPr bwMode="auto">
                <a:xfrm>
                  <a:off x="3924" y="1024"/>
                  <a:ext cx="29" cy="13"/>
                </a:xfrm>
                <a:custGeom>
                  <a:avLst/>
                  <a:gdLst>
                    <a:gd name="T0" fmla="*/ 20 w 29"/>
                    <a:gd name="T1" fmla="*/ 0 h 13"/>
                    <a:gd name="T2" fmla="*/ 14 w 29"/>
                    <a:gd name="T3" fmla="*/ 0 h 13"/>
                    <a:gd name="T4" fmla="*/ 9 w 29"/>
                    <a:gd name="T5" fmla="*/ 0 h 13"/>
                    <a:gd name="T6" fmla="*/ 3 w 29"/>
                    <a:gd name="T7" fmla="*/ 0 h 13"/>
                    <a:gd name="T8" fmla="*/ 0 w 29"/>
                    <a:gd name="T9" fmla="*/ 0 h 13"/>
                    <a:gd name="T10" fmla="*/ 2 w 29"/>
                    <a:gd name="T11" fmla="*/ 2 h 13"/>
                    <a:gd name="T12" fmla="*/ 7 w 29"/>
                    <a:gd name="T13" fmla="*/ 8 h 13"/>
                    <a:gd name="T14" fmla="*/ 11 w 29"/>
                    <a:gd name="T15" fmla="*/ 9 h 13"/>
                    <a:gd name="T16" fmla="*/ 14 w 29"/>
                    <a:gd name="T17" fmla="*/ 13 h 13"/>
                    <a:gd name="T18" fmla="*/ 18 w 29"/>
                    <a:gd name="T19" fmla="*/ 13 h 13"/>
                    <a:gd name="T20" fmla="*/ 22 w 29"/>
                    <a:gd name="T21" fmla="*/ 11 h 13"/>
                    <a:gd name="T22" fmla="*/ 27 w 29"/>
                    <a:gd name="T23" fmla="*/ 11 h 13"/>
                    <a:gd name="T24" fmla="*/ 29 w 29"/>
                    <a:gd name="T25" fmla="*/ 11 h 13"/>
                    <a:gd name="T26" fmla="*/ 26 w 29"/>
                    <a:gd name="T27" fmla="*/ 6 h 13"/>
                    <a:gd name="T28" fmla="*/ 20 w 29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13">
                      <a:moveTo>
                        <a:pt x="20" y="0"/>
                      </a:moveTo>
                      <a:lnTo>
                        <a:pt x="14" y="0"/>
                      </a:ln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7" y="8"/>
                      </a:lnTo>
                      <a:lnTo>
                        <a:pt x="11" y="9"/>
                      </a:lnTo>
                      <a:lnTo>
                        <a:pt x="14" y="13"/>
                      </a:lnTo>
                      <a:lnTo>
                        <a:pt x="18" y="13"/>
                      </a:lnTo>
                      <a:lnTo>
                        <a:pt x="22" y="11"/>
                      </a:lnTo>
                      <a:lnTo>
                        <a:pt x="27" y="11"/>
                      </a:lnTo>
                      <a:lnTo>
                        <a:pt x="29" y="11"/>
                      </a:lnTo>
                      <a:lnTo>
                        <a:pt x="26" y="6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2" name="Freeform 3036"/>
                <p:cNvSpPr>
                  <a:spLocks/>
                </p:cNvSpPr>
                <p:nvPr/>
              </p:nvSpPr>
              <p:spPr bwMode="auto">
                <a:xfrm>
                  <a:off x="3924" y="1024"/>
                  <a:ext cx="29" cy="13"/>
                </a:xfrm>
                <a:custGeom>
                  <a:avLst/>
                  <a:gdLst>
                    <a:gd name="T0" fmla="*/ 20 w 29"/>
                    <a:gd name="T1" fmla="*/ 0 h 13"/>
                    <a:gd name="T2" fmla="*/ 14 w 29"/>
                    <a:gd name="T3" fmla="*/ 0 h 13"/>
                    <a:gd name="T4" fmla="*/ 9 w 29"/>
                    <a:gd name="T5" fmla="*/ 0 h 13"/>
                    <a:gd name="T6" fmla="*/ 3 w 29"/>
                    <a:gd name="T7" fmla="*/ 0 h 13"/>
                    <a:gd name="T8" fmla="*/ 0 w 29"/>
                    <a:gd name="T9" fmla="*/ 0 h 13"/>
                    <a:gd name="T10" fmla="*/ 2 w 29"/>
                    <a:gd name="T11" fmla="*/ 2 h 13"/>
                    <a:gd name="T12" fmla="*/ 7 w 29"/>
                    <a:gd name="T13" fmla="*/ 8 h 13"/>
                    <a:gd name="T14" fmla="*/ 11 w 29"/>
                    <a:gd name="T15" fmla="*/ 9 h 13"/>
                    <a:gd name="T16" fmla="*/ 14 w 29"/>
                    <a:gd name="T17" fmla="*/ 13 h 13"/>
                    <a:gd name="T18" fmla="*/ 18 w 29"/>
                    <a:gd name="T19" fmla="*/ 13 h 13"/>
                    <a:gd name="T20" fmla="*/ 22 w 29"/>
                    <a:gd name="T21" fmla="*/ 11 h 13"/>
                    <a:gd name="T22" fmla="*/ 27 w 29"/>
                    <a:gd name="T23" fmla="*/ 11 h 13"/>
                    <a:gd name="T24" fmla="*/ 29 w 29"/>
                    <a:gd name="T25" fmla="*/ 11 h 13"/>
                    <a:gd name="T26" fmla="*/ 26 w 29"/>
                    <a:gd name="T27" fmla="*/ 6 h 13"/>
                    <a:gd name="T28" fmla="*/ 20 w 29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13">
                      <a:moveTo>
                        <a:pt x="20" y="0"/>
                      </a:moveTo>
                      <a:lnTo>
                        <a:pt x="14" y="0"/>
                      </a:ln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7" y="8"/>
                      </a:lnTo>
                      <a:lnTo>
                        <a:pt x="11" y="9"/>
                      </a:lnTo>
                      <a:lnTo>
                        <a:pt x="14" y="13"/>
                      </a:lnTo>
                      <a:lnTo>
                        <a:pt x="18" y="13"/>
                      </a:lnTo>
                      <a:lnTo>
                        <a:pt x="22" y="11"/>
                      </a:lnTo>
                      <a:lnTo>
                        <a:pt x="27" y="11"/>
                      </a:lnTo>
                      <a:lnTo>
                        <a:pt x="29" y="11"/>
                      </a:lnTo>
                      <a:lnTo>
                        <a:pt x="26" y="6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3" name="Rectangle 3037"/>
                <p:cNvSpPr>
                  <a:spLocks noChangeArrowheads="1"/>
                </p:cNvSpPr>
                <p:nvPr/>
              </p:nvSpPr>
              <p:spPr bwMode="auto">
                <a:xfrm>
                  <a:off x="3938" y="1039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4" name="Rectangle 3038"/>
                <p:cNvSpPr>
                  <a:spLocks noChangeArrowheads="1"/>
                </p:cNvSpPr>
                <p:nvPr/>
              </p:nvSpPr>
              <p:spPr bwMode="auto">
                <a:xfrm>
                  <a:off x="3938" y="1039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5" name="Freeform 3039"/>
                <p:cNvSpPr>
                  <a:spLocks noEditPoints="1"/>
                </p:cNvSpPr>
                <p:nvPr/>
              </p:nvSpPr>
              <p:spPr bwMode="auto">
                <a:xfrm>
                  <a:off x="3920" y="1022"/>
                  <a:ext cx="37" cy="17"/>
                </a:xfrm>
                <a:custGeom>
                  <a:avLst/>
                  <a:gdLst>
                    <a:gd name="T0" fmla="*/ 4 w 37"/>
                    <a:gd name="T1" fmla="*/ 2 h 17"/>
                    <a:gd name="T2" fmla="*/ 4 w 37"/>
                    <a:gd name="T3" fmla="*/ 2 h 17"/>
                    <a:gd name="T4" fmla="*/ 7 w 37"/>
                    <a:gd name="T5" fmla="*/ 2 h 17"/>
                    <a:gd name="T6" fmla="*/ 13 w 37"/>
                    <a:gd name="T7" fmla="*/ 2 h 17"/>
                    <a:gd name="T8" fmla="*/ 18 w 37"/>
                    <a:gd name="T9" fmla="*/ 2 h 17"/>
                    <a:gd name="T10" fmla="*/ 24 w 37"/>
                    <a:gd name="T11" fmla="*/ 2 h 17"/>
                    <a:gd name="T12" fmla="*/ 30 w 37"/>
                    <a:gd name="T13" fmla="*/ 8 h 17"/>
                    <a:gd name="T14" fmla="*/ 33 w 37"/>
                    <a:gd name="T15" fmla="*/ 13 h 17"/>
                    <a:gd name="T16" fmla="*/ 31 w 37"/>
                    <a:gd name="T17" fmla="*/ 13 h 17"/>
                    <a:gd name="T18" fmla="*/ 26 w 37"/>
                    <a:gd name="T19" fmla="*/ 13 h 17"/>
                    <a:gd name="T20" fmla="*/ 22 w 37"/>
                    <a:gd name="T21" fmla="*/ 15 h 17"/>
                    <a:gd name="T22" fmla="*/ 18 w 37"/>
                    <a:gd name="T23" fmla="*/ 15 h 17"/>
                    <a:gd name="T24" fmla="*/ 15 w 37"/>
                    <a:gd name="T25" fmla="*/ 11 h 17"/>
                    <a:gd name="T26" fmla="*/ 11 w 37"/>
                    <a:gd name="T27" fmla="*/ 10 h 17"/>
                    <a:gd name="T28" fmla="*/ 6 w 37"/>
                    <a:gd name="T29" fmla="*/ 4 h 17"/>
                    <a:gd name="T30" fmla="*/ 4 w 37"/>
                    <a:gd name="T31" fmla="*/ 2 h 17"/>
                    <a:gd name="T32" fmla="*/ 24 w 37"/>
                    <a:gd name="T33" fmla="*/ 0 h 17"/>
                    <a:gd name="T34" fmla="*/ 18 w 37"/>
                    <a:gd name="T35" fmla="*/ 0 h 17"/>
                    <a:gd name="T36" fmla="*/ 13 w 37"/>
                    <a:gd name="T37" fmla="*/ 0 h 17"/>
                    <a:gd name="T38" fmla="*/ 7 w 37"/>
                    <a:gd name="T39" fmla="*/ 0 h 17"/>
                    <a:gd name="T40" fmla="*/ 2 w 37"/>
                    <a:gd name="T41" fmla="*/ 0 h 17"/>
                    <a:gd name="T42" fmla="*/ 0 w 37"/>
                    <a:gd name="T43" fmla="*/ 0 h 17"/>
                    <a:gd name="T44" fmla="*/ 6 w 37"/>
                    <a:gd name="T45" fmla="*/ 6 h 17"/>
                    <a:gd name="T46" fmla="*/ 9 w 37"/>
                    <a:gd name="T47" fmla="*/ 10 h 17"/>
                    <a:gd name="T48" fmla="*/ 13 w 37"/>
                    <a:gd name="T49" fmla="*/ 13 h 17"/>
                    <a:gd name="T50" fmla="*/ 18 w 37"/>
                    <a:gd name="T51" fmla="*/ 17 h 17"/>
                    <a:gd name="T52" fmla="*/ 18 w 37"/>
                    <a:gd name="T53" fmla="*/ 17 h 17"/>
                    <a:gd name="T54" fmla="*/ 18 w 37"/>
                    <a:gd name="T55" fmla="*/ 17 h 17"/>
                    <a:gd name="T56" fmla="*/ 22 w 37"/>
                    <a:gd name="T57" fmla="*/ 15 h 17"/>
                    <a:gd name="T58" fmla="*/ 26 w 37"/>
                    <a:gd name="T59" fmla="*/ 15 h 17"/>
                    <a:gd name="T60" fmla="*/ 31 w 37"/>
                    <a:gd name="T61" fmla="*/ 15 h 17"/>
                    <a:gd name="T62" fmla="*/ 35 w 37"/>
                    <a:gd name="T63" fmla="*/ 13 h 17"/>
                    <a:gd name="T64" fmla="*/ 37 w 37"/>
                    <a:gd name="T65" fmla="*/ 13 h 17"/>
                    <a:gd name="T66" fmla="*/ 30 w 37"/>
                    <a:gd name="T67" fmla="*/ 8 h 17"/>
                    <a:gd name="T68" fmla="*/ 24 w 37"/>
                    <a:gd name="T6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7" h="17"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7" y="2"/>
                      </a:lnTo>
                      <a:lnTo>
                        <a:pt x="13" y="2"/>
                      </a:lnTo>
                      <a:lnTo>
                        <a:pt x="18" y="2"/>
                      </a:lnTo>
                      <a:lnTo>
                        <a:pt x="24" y="2"/>
                      </a:lnTo>
                      <a:lnTo>
                        <a:pt x="30" y="8"/>
                      </a:lnTo>
                      <a:lnTo>
                        <a:pt x="33" y="13"/>
                      </a:lnTo>
                      <a:lnTo>
                        <a:pt x="31" y="13"/>
                      </a:lnTo>
                      <a:lnTo>
                        <a:pt x="26" y="13"/>
                      </a:lnTo>
                      <a:lnTo>
                        <a:pt x="22" y="15"/>
                      </a:lnTo>
                      <a:lnTo>
                        <a:pt x="18" y="15"/>
                      </a:lnTo>
                      <a:lnTo>
                        <a:pt x="15" y="11"/>
                      </a:lnTo>
                      <a:lnTo>
                        <a:pt x="11" y="10"/>
                      </a:lnTo>
                      <a:lnTo>
                        <a:pt x="6" y="4"/>
                      </a:lnTo>
                      <a:lnTo>
                        <a:pt x="4" y="2"/>
                      </a:lnTo>
                      <a:close/>
                      <a:moveTo>
                        <a:pt x="24" y="0"/>
                      </a:move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7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9" y="10"/>
                      </a:lnTo>
                      <a:lnTo>
                        <a:pt x="13" y="13"/>
                      </a:lnTo>
                      <a:lnTo>
                        <a:pt x="18" y="17"/>
                      </a:lnTo>
                      <a:lnTo>
                        <a:pt x="18" y="17"/>
                      </a:lnTo>
                      <a:lnTo>
                        <a:pt x="18" y="17"/>
                      </a:lnTo>
                      <a:lnTo>
                        <a:pt x="22" y="15"/>
                      </a:lnTo>
                      <a:lnTo>
                        <a:pt x="26" y="15"/>
                      </a:lnTo>
                      <a:lnTo>
                        <a:pt x="31" y="15"/>
                      </a:lnTo>
                      <a:lnTo>
                        <a:pt x="35" y="13"/>
                      </a:lnTo>
                      <a:lnTo>
                        <a:pt x="37" y="13"/>
                      </a:lnTo>
                      <a:lnTo>
                        <a:pt x="30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6" name="Freeform 3040"/>
                <p:cNvSpPr>
                  <a:spLocks/>
                </p:cNvSpPr>
                <p:nvPr/>
              </p:nvSpPr>
              <p:spPr bwMode="auto">
                <a:xfrm>
                  <a:off x="3924" y="1024"/>
                  <a:ext cx="29" cy="13"/>
                </a:xfrm>
                <a:custGeom>
                  <a:avLst/>
                  <a:gdLst>
                    <a:gd name="T0" fmla="*/ 0 w 29"/>
                    <a:gd name="T1" fmla="*/ 0 h 13"/>
                    <a:gd name="T2" fmla="*/ 0 w 29"/>
                    <a:gd name="T3" fmla="*/ 0 h 13"/>
                    <a:gd name="T4" fmla="*/ 3 w 29"/>
                    <a:gd name="T5" fmla="*/ 0 h 13"/>
                    <a:gd name="T6" fmla="*/ 9 w 29"/>
                    <a:gd name="T7" fmla="*/ 0 h 13"/>
                    <a:gd name="T8" fmla="*/ 14 w 29"/>
                    <a:gd name="T9" fmla="*/ 0 h 13"/>
                    <a:gd name="T10" fmla="*/ 20 w 29"/>
                    <a:gd name="T11" fmla="*/ 0 h 13"/>
                    <a:gd name="T12" fmla="*/ 26 w 29"/>
                    <a:gd name="T13" fmla="*/ 6 h 13"/>
                    <a:gd name="T14" fmla="*/ 29 w 29"/>
                    <a:gd name="T15" fmla="*/ 11 h 13"/>
                    <a:gd name="T16" fmla="*/ 27 w 29"/>
                    <a:gd name="T17" fmla="*/ 11 h 13"/>
                    <a:gd name="T18" fmla="*/ 22 w 29"/>
                    <a:gd name="T19" fmla="*/ 11 h 13"/>
                    <a:gd name="T20" fmla="*/ 18 w 29"/>
                    <a:gd name="T21" fmla="*/ 13 h 13"/>
                    <a:gd name="T22" fmla="*/ 14 w 29"/>
                    <a:gd name="T23" fmla="*/ 13 h 13"/>
                    <a:gd name="T24" fmla="*/ 11 w 29"/>
                    <a:gd name="T25" fmla="*/ 9 h 13"/>
                    <a:gd name="T26" fmla="*/ 7 w 29"/>
                    <a:gd name="T27" fmla="*/ 8 h 13"/>
                    <a:gd name="T28" fmla="*/ 2 w 29"/>
                    <a:gd name="T29" fmla="*/ 2 h 13"/>
                    <a:gd name="T30" fmla="*/ 0 w 29"/>
                    <a:gd name="T3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9" h="1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9" y="0"/>
                      </a:lnTo>
                      <a:lnTo>
                        <a:pt x="14" y="0"/>
                      </a:lnTo>
                      <a:lnTo>
                        <a:pt x="20" y="0"/>
                      </a:lnTo>
                      <a:lnTo>
                        <a:pt x="26" y="6"/>
                      </a:lnTo>
                      <a:lnTo>
                        <a:pt x="29" y="11"/>
                      </a:lnTo>
                      <a:lnTo>
                        <a:pt x="27" y="11"/>
                      </a:lnTo>
                      <a:lnTo>
                        <a:pt x="22" y="11"/>
                      </a:lnTo>
                      <a:lnTo>
                        <a:pt x="18" y="13"/>
                      </a:lnTo>
                      <a:lnTo>
                        <a:pt x="14" y="13"/>
                      </a:ln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7" name="Freeform 3041"/>
                <p:cNvSpPr>
                  <a:spLocks/>
                </p:cNvSpPr>
                <p:nvPr/>
              </p:nvSpPr>
              <p:spPr bwMode="auto">
                <a:xfrm>
                  <a:off x="3920" y="1022"/>
                  <a:ext cx="37" cy="17"/>
                </a:xfrm>
                <a:custGeom>
                  <a:avLst/>
                  <a:gdLst>
                    <a:gd name="T0" fmla="*/ 24 w 37"/>
                    <a:gd name="T1" fmla="*/ 0 h 17"/>
                    <a:gd name="T2" fmla="*/ 18 w 37"/>
                    <a:gd name="T3" fmla="*/ 0 h 17"/>
                    <a:gd name="T4" fmla="*/ 13 w 37"/>
                    <a:gd name="T5" fmla="*/ 0 h 17"/>
                    <a:gd name="T6" fmla="*/ 7 w 37"/>
                    <a:gd name="T7" fmla="*/ 0 h 17"/>
                    <a:gd name="T8" fmla="*/ 2 w 37"/>
                    <a:gd name="T9" fmla="*/ 0 h 17"/>
                    <a:gd name="T10" fmla="*/ 0 w 37"/>
                    <a:gd name="T11" fmla="*/ 0 h 17"/>
                    <a:gd name="T12" fmla="*/ 6 w 37"/>
                    <a:gd name="T13" fmla="*/ 6 h 17"/>
                    <a:gd name="T14" fmla="*/ 9 w 37"/>
                    <a:gd name="T15" fmla="*/ 10 h 17"/>
                    <a:gd name="T16" fmla="*/ 13 w 37"/>
                    <a:gd name="T17" fmla="*/ 13 h 17"/>
                    <a:gd name="T18" fmla="*/ 18 w 37"/>
                    <a:gd name="T19" fmla="*/ 17 h 17"/>
                    <a:gd name="T20" fmla="*/ 18 w 37"/>
                    <a:gd name="T21" fmla="*/ 17 h 17"/>
                    <a:gd name="T22" fmla="*/ 18 w 37"/>
                    <a:gd name="T23" fmla="*/ 17 h 17"/>
                    <a:gd name="T24" fmla="*/ 22 w 37"/>
                    <a:gd name="T25" fmla="*/ 15 h 17"/>
                    <a:gd name="T26" fmla="*/ 26 w 37"/>
                    <a:gd name="T27" fmla="*/ 15 h 17"/>
                    <a:gd name="T28" fmla="*/ 31 w 37"/>
                    <a:gd name="T29" fmla="*/ 15 h 17"/>
                    <a:gd name="T30" fmla="*/ 35 w 37"/>
                    <a:gd name="T31" fmla="*/ 13 h 17"/>
                    <a:gd name="T32" fmla="*/ 37 w 37"/>
                    <a:gd name="T33" fmla="*/ 13 h 17"/>
                    <a:gd name="T34" fmla="*/ 30 w 37"/>
                    <a:gd name="T35" fmla="*/ 8 h 17"/>
                    <a:gd name="T36" fmla="*/ 24 w 37"/>
                    <a:gd name="T3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" h="17">
                      <a:moveTo>
                        <a:pt x="24" y="0"/>
                      </a:move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7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9" y="10"/>
                      </a:lnTo>
                      <a:lnTo>
                        <a:pt x="13" y="13"/>
                      </a:lnTo>
                      <a:lnTo>
                        <a:pt x="18" y="17"/>
                      </a:lnTo>
                      <a:lnTo>
                        <a:pt x="18" y="17"/>
                      </a:lnTo>
                      <a:lnTo>
                        <a:pt x="18" y="17"/>
                      </a:lnTo>
                      <a:lnTo>
                        <a:pt x="22" y="15"/>
                      </a:lnTo>
                      <a:lnTo>
                        <a:pt x="26" y="15"/>
                      </a:lnTo>
                      <a:lnTo>
                        <a:pt x="31" y="15"/>
                      </a:lnTo>
                      <a:lnTo>
                        <a:pt x="35" y="13"/>
                      </a:lnTo>
                      <a:lnTo>
                        <a:pt x="37" y="13"/>
                      </a:lnTo>
                      <a:lnTo>
                        <a:pt x="30" y="8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8" name="Freeform 3042"/>
                <p:cNvSpPr>
                  <a:spLocks/>
                </p:cNvSpPr>
                <p:nvPr/>
              </p:nvSpPr>
              <p:spPr bwMode="auto">
                <a:xfrm>
                  <a:off x="4020" y="960"/>
                  <a:ext cx="20" cy="22"/>
                </a:xfrm>
                <a:custGeom>
                  <a:avLst/>
                  <a:gdLst>
                    <a:gd name="T0" fmla="*/ 11 w 20"/>
                    <a:gd name="T1" fmla="*/ 0 h 22"/>
                    <a:gd name="T2" fmla="*/ 7 w 20"/>
                    <a:gd name="T3" fmla="*/ 0 h 22"/>
                    <a:gd name="T4" fmla="*/ 5 w 20"/>
                    <a:gd name="T5" fmla="*/ 0 h 22"/>
                    <a:gd name="T6" fmla="*/ 2 w 20"/>
                    <a:gd name="T7" fmla="*/ 0 h 22"/>
                    <a:gd name="T8" fmla="*/ 0 w 20"/>
                    <a:gd name="T9" fmla="*/ 0 h 22"/>
                    <a:gd name="T10" fmla="*/ 0 w 20"/>
                    <a:gd name="T11" fmla="*/ 5 h 22"/>
                    <a:gd name="T12" fmla="*/ 0 w 20"/>
                    <a:gd name="T13" fmla="*/ 11 h 22"/>
                    <a:gd name="T14" fmla="*/ 2 w 20"/>
                    <a:gd name="T15" fmla="*/ 18 h 22"/>
                    <a:gd name="T16" fmla="*/ 2 w 20"/>
                    <a:gd name="T17" fmla="*/ 22 h 22"/>
                    <a:gd name="T18" fmla="*/ 5 w 20"/>
                    <a:gd name="T19" fmla="*/ 22 h 22"/>
                    <a:gd name="T20" fmla="*/ 9 w 20"/>
                    <a:gd name="T21" fmla="*/ 22 h 22"/>
                    <a:gd name="T22" fmla="*/ 13 w 20"/>
                    <a:gd name="T23" fmla="*/ 22 h 22"/>
                    <a:gd name="T24" fmla="*/ 16 w 20"/>
                    <a:gd name="T25" fmla="*/ 22 h 22"/>
                    <a:gd name="T26" fmla="*/ 16 w 20"/>
                    <a:gd name="T27" fmla="*/ 20 h 22"/>
                    <a:gd name="T28" fmla="*/ 18 w 20"/>
                    <a:gd name="T29" fmla="*/ 16 h 22"/>
                    <a:gd name="T30" fmla="*/ 18 w 20"/>
                    <a:gd name="T31" fmla="*/ 14 h 22"/>
                    <a:gd name="T32" fmla="*/ 18 w 20"/>
                    <a:gd name="T33" fmla="*/ 14 h 22"/>
                    <a:gd name="T34" fmla="*/ 20 w 20"/>
                    <a:gd name="T35" fmla="*/ 11 h 22"/>
                    <a:gd name="T36" fmla="*/ 18 w 20"/>
                    <a:gd name="T37" fmla="*/ 9 h 22"/>
                    <a:gd name="T38" fmla="*/ 14 w 20"/>
                    <a:gd name="T39" fmla="*/ 5 h 22"/>
                    <a:gd name="T40" fmla="*/ 13 w 20"/>
                    <a:gd name="T41" fmla="*/ 2 h 22"/>
                    <a:gd name="T42" fmla="*/ 11 w 20"/>
                    <a:gd name="T4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22">
                      <a:moveTo>
                        <a:pt x="11" y="0"/>
                      </a:move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11"/>
                      </a:lnTo>
                      <a:lnTo>
                        <a:pt x="2" y="18"/>
                      </a:lnTo>
                      <a:lnTo>
                        <a:pt x="2" y="22"/>
                      </a:lnTo>
                      <a:lnTo>
                        <a:pt x="5" y="22"/>
                      </a:lnTo>
                      <a:lnTo>
                        <a:pt x="9" y="22"/>
                      </a:lnTo>
                      <a:lnTo>
                        <a:pt x="13" y="22"/>
                      </a:lnTo>
                      <a:lnTo>
                        <a:pt x="16" y="22"/>
                      </a:lnTo>
                      <a:lnTo>
                        <a:pt x="16" y="20"/>
                      </a:lnTo>
                      <a:lnTo>
                        <a:pt x="18" y="16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20" y="11"/>
                      </a:lnTo>
                      <a:lnTo>
                        <a:pt x="18" y="9"/>
                      </a:lnTo>
                      <a:lnTo>
                        <a:pt x="14" y="5"/>
                      </a:lnTo>
                      <a:lnTo>
                        <a:pt x="13" y="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29" name="Freeform 3043"/>
                <p:cNvSpPr>
                  <a:spLocks/>
                </p:cNvSpPr>
                <p:nvPr/>
              </p:nvSpPr>
              <p:spPr bwMode="auto">
                <a:xfrm>
                  <a:off x="4020" y="960"/>
                  <a:ext cx="20" cy="22"/>
                </a:xfrm>
                <a:custGeom>
                  <a:avLst/>
                  <a:gdLst>
                    <a:gd name="T0" fmla="*/ 11 w 20"/>
                    <a:gd name="T1" fmla="*/ 0 h 22"/>
                    <a:gd name="T2" fmla="*/ 7 w 20"/>
                    <a:gd name="T3" fmla="*/ 0 h 22"/>
                    <a:gd name="T4" fmla="*/ 5 w 20"/>
                    <a:gd name="T5" fmla="*/ 0 h 22"/>
                    <a:gd name="T6" fmla="*/ 2 w 20"/>
                    <a:gd name="T7" fmla="*/ 0 h 22"/>
                    <a:gd name="T8" fmla="*/ 0 w 20"/>
                    <a:gd name="T9" fmla="*/ 0 h 22"/>
                    <a:gd name="T10" fmla="*/ 0 w 20"/>
                    <a:gd name="T11" fmla="*/ 5 h 22"/>
                    <a:gd name="T12" fmla="*/ 0 w 20"/>
                    <a:gd name="T13" fmla="*/ 11 h 22"/>
                    <a:gd name="T14" fmla="*/ 2 w 20"/>
                    <a:gd name="T15" fmla="*/ 18 h 22"/>
                    <a:gd name="T16" fmla="*/ 2 w 20"/>
                    <a:gd name="T17" fmla="*/ 22 h 22"/>
                    <a:gd name="T18" fmla="*/ 5 w 20"/>
                    <a:gd name="T19" fmla="*/ 22 h 22"/>
                    <a:gd name="T20" fmla="*/ 9 w 20"/>
                    <a:gd name="T21" fmla="*/ 22 h 22"/>
                    <a:gd name="T22" fmla="*/ 13 w 20"/>
                    <a:gd name="T23" fmla="*/ 22 h 22"/>
                    <a:gd name="T24" fmla="*/ 16 w 20"/>
                    <a:gd name="T25" fmla="*/ 22 h 22"/>
                    <a:gd name="T26" fmla="*/ 16 w 20"/>
                    <a:gd name="T27" fmla="*/ 20 h 22"/>
                    <a:gd name="T28" fmla="*/ 18 w 20"/>
                    <a:gd name="T29" fmla="*/ 16 h 22"/>
                    <a:gd name="T30" fmla="*/ 18 w 20"/>
                    <a:gd name="T31" fmla="*/ 14 h 22"/>
                    <a:gd name="T32" fmla="*/ 18 w 20"/>
                    <a:gd name="T33" fmla="*/ 14 h 22"/>
                    <a:gd name="T34" fmla="*/ 20 w 20"/>
                    <a:gd name="T35" fmla="*/ 11 h 22"/>
                    <a:gd name="T36" fmla="*/ 18 w 20"/>
                    <a:gd name="T37" fmla="*/ 9 h 22"/>
                    <a:gd name="T38" fmla="*/ 14 w 20"/>
                    <a:gd name="T39" fmla="*/ 5 h 22"/>
                    <a:gd name="T40" fmla="*/ 13 w 20"/>
                    <a:gd name="T41" fmla="*/ 2 h 22"/>
                    <a:gd name="T42" fmla="*/ 11 w 20"/>
                    <a:gd name="T4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22">
                      <a:moveTo>
                        <a:pt x="11" y="0"/>
                      </a:move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11"/>
                      </a:lnTo>
                      <a:lnTo>
                        <a:pt x="2" y="18"/>
                      </a:lnTo>
                      <a:lnTo>
                        <a:pt x="2" y="22"/>
                      </a:lnTo>
                      <a:lnTo>
                        <a:pt x="5" y="22"/>
                      </a:lnTo>
                      <a:lnTo>
                        <a:pt x="9" y="22"/>
                      </a:lnTo>
                      <a:lnTo>
                        <a:pt x="13" y="22"/>
                      </a:lnTo>
                      <a:lnTo>
                        <a:pt x="16" y="22"/>
                      </a:lnTo>
                      <a:lnTo>
                        <a:pt x="16" y="20"/>
                      </a:lnTo>
                      <a:lnTo>
                        <a:pt x="18" y="16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20" y="11"/>
                      </a:lnTo>
                      <a:lnTo>
                        <a:pt x="18" y="9"/>
                      </a:lnTo>
                      <a:lnTo>
                        <a:pt x="14" y="5"/>
                      </a:lnTo>
                      <a:lnTo>
                        <a:pt x="13" y="2"/>
                      </a:lnTo>
                      <a:lnTo>
                        <a:pt x="1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0" name="Rectangle 3044"/>
                <p:cNvSpPr>
                  <a:spLocks noChangeArrowheads="1"/>
                </p:cNvSpPr>
                <p:nvPr/>
              </p:nvSpPr>
              <p:spPr bwMode="auto">
                <a:xfrm>
                  <a:off x="4020" y="98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1" name="Rectangle 3045"/>
                <p:cNvSpPr>
                  <a:spLocks noChangeArrowheads="1"/>
                </p:cNvSpPr>
                <p:nvPr/>
              </p:nvSpPr>
              <p:spPr bwMode="auto">
                <a:xfrm>
                  <a:off x="4020" y="98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2" name="Freeform 3046"/>
                <p:cNvSpPr>
                  <a:spLocks noEditPoints="1"/>
                </p:cNvSpPr>
                <p:nvPr/>
              </p:nvSpPr>
              <p:spPr bwMode="auto">
                <a:xfrm>
                  <a:off x="4018" y="958"/>
                  <a:ext cx="24" cy="26"/>
                </a:xfrm>
                <a:custGeom>
                  <a:avLst/>
                  <a:gdLst>
                    <a:gd name="T0" fmla="*/ 2 w 24"/>
                    <a:gd name="T1" fmla="*/ 2 h 26"/>
                    <a:gd name="T2" fmla="*/ 2 w 24"/>
                    <a:gd name="T3" fmla="*/ 2 h 26"/>
                    <a:gd name="T4" fmla="*/ 4 w 24"/>
                    <a:gd name="T5" fmla="*/ 2 h 26"/>
                    <a:gd name="T6" fmla="*/ 7 w 24"/>
                    <a:gd name="T7" fmla="*/ 2 h 26"/>
                    <a:gd name="T8" fmla="*/ 9 w 24"/>
                    <a:gd name="T9" fmla="*/ 2 h 26"/>
                    <a:gd name="T10" fmla="*/ 13 w 24"/>
                    <a:gd name="T11" fmla="*/ 2 h 26"/>
                    <a:gd name="T12" fmla="*/ 15 w 24"/>
                    <a:gd name="T13" fmla="*/ 4 h 26"/>
                    <a:gd name="T14" fmla="*/ 16 w 24"/>
                    <a:gd name="T15" fmla="*/ 7 h 26"/>
                    <a:gd name="T16" fmla="*/ 20 w 24"/>
                    <a:gd name="T17" fmla="*/ 11 h 26"/>
                    <a:gd name="T18" fmla="*/ 22 w 24"/>
                    <a:gd name="T19" fmla="*/ 13 h 26"/>
                    <a:gd name="T20" fmla="*/ 20 w 24"/>
                    <a:gd name="T21" fmla="*/ 16 h 26"/>
                    <a:gd name="T22" fmla="*/ 20 w 24"/>
                    <a:gd name="T23" fmla="*/ 16 h 26"/>
                    <a:gd name="T24" fmla="*/ 20 w 24"/>
                    <a:gd name="T25" fmla="*/ 18 h 26"/>
                    <a:gd name="T26" fmla="*/ 18 w 24"/>
                    <a:gd name="T27" fmla="*/ 22 h 26"/>
                    <a:gd name="T28" fmla="*/ 18 w 24"/>
                    <a:gd name="T29" fmla="*/ 24 h 26"/>
                    <a:gd name="T30" fmla="*/ 15 w 24"/>
                    <a:gd name="T31" fmla="*/ 24 h 26"/>
                    <a:gd name="T32" fmla="*/ 11 w 24"/>
                    <a:gd name="T33" fmla="*/ 24 h 26"/>
                    <a:gd name="T34" fmla="*/ 7 w 24"/>
                    <a:gd name="T35" fmla="*/ 24 h 26"/>
                    <a:gd name="T36" fmla="*/ 4 w 24"/>
                    <a:gd name="T37" fmla="*/ 24 h 26"/>
                    <a:gd name="T38" fmla="*/ 4 w 24"/>
                    <a:gd name="T39" fmla="*/ 20 h 26"/>
                    <a:gd name="T40" fmla="*/ 2 w 24"/>
                    <a:gd name="T41" fmla="*/ 13 h 26"/>
                    <a:gd name="T42" fmla="*/ 2 w 24"/>
                    <a:gd name="T43" fmla="*/ 7 h 26"/>
                    <a:gd name="T44" fmla="*/ 2 w 24"/>
                    <a:gd name="T45" fmla="*/ 2 h 26"/>
                    <a:gd name="T46" fmla="*/ 13 w 24"/>
                    <a:gd name="T47" fmla="*/ 0 h 26"/>
                    <a:gd name="T48" fmla="*/ 9 w 24"/>
                    <a:gd name="T49" fmla="*/ 0 h 26"/>
                    <a:gd name="T50" fmla="*/ 7 w 24"/>
                    <a:gd name="T51" fmla="*/ 0 h 26"/>
                    <a:gd name="T52" fmla="*/ 4 w 24"/>
                    <a:gd name="T53" fmla="*/ 0 h 26"/>
                    <a:gd name="T54" fmla="*/ 2 w 24"/>
                    <a:gd name="T55" fmla="*/ 2 h 26"/>
                    <a:gd name="T56" fmla="*/ 0 w 24"/>
                    <a:gd name="T57" fmla="*/ 2 h 26"/>
                    <a:gd name="T58" fmla="*/ 0 w 24"/>
                    <a:gd name="T59" fmla="*/ 7 h 26"/>
                    <a:gd name="T60" fmla="*/ 2 w 24"/>
                    <a:gd name="T61" fmla="*/ 13 h 26"/>
                    <a:gd name="T62" fmla="*/ 2 w 24"/>
                    <a:gd name="T63" fmla="*/ 20 h 26"/>
                    <a:gd name="T64" fmla="*/ 2 w 24"/>
                    <a:gd name="T65" fmla="*/ 26 h 26"/>
                    <a:gd name="T66" fmla="*/ 2 w 24"/>
                    <a:gd name="T67" fmla="*/ 26 h 26"/>
                    <a:gd name="T68" fmla="*/ 2 w 24"/>
                    <a:gd name="T69" fmla="*/ 26 h 26"/>
                    <a:gd name="T70" fmla="*/ 7 w 24"/>
                    <a:gd name="T71" fmla="*/ 26 h 26"/>
                    <a:gd name="T72" fmla="*/ 11 w 24"/>
                    <a:gd name="T73" fmla="*/ 26 h 26"/>
                    <a:gd name="T74" fmla="*/ 15 w 24"/>
                    <a:gd name="T75" fmla="*/ 26 h 26"/>
                    <a:gd name="T76" fmla="*/ 18 w 24"/>
                    <a:gd name="T77" fmla="*/ 26 h 26"/>
                    <a:gd name="T78" fmla="*/ 18 w 24"/>
                    <a:gd name="T79" fmla="*/ 26 h 26"/>
                    <a:gd name="T80" fmla="*/ 20 w 24"/>
                    <a:gd name="T81" fmla="*/ 22 h 26"/>
                    <a:gd name="T82" fmla="*/ 20 w 24"/>
                    <a:gd name="T83" fmla="*/ 22 h 26"/>
                    <a:gd name="T84" fmla="*/ 22 w 24"/>
                    <a:gd name="T85" fmla="*/ 18 h 26"/>
                    <a:gd name="T86" fmla="*/ 22 w 24"/>
                    <a:gd name="T87" fmla="*/ 16 h 26"/>
                    <a:gd name="T88" fmla="*/ 24 w 24"/>
                    <a:gd name="T89" fmla="*/ 13 h 26"/>
                    <a:gd name="T90" fmla="*/ 24 w 24"/>
                    <a:gd name="T91" fmla="*/ 13 h 26"/>
                    <a:gd name="T92" fmla="*/ 20 w 24"/>
                    <a:gd name="T93" fmla="*/ 9 h 26"/>
                    <a:gd name="T94" fmla="*/ 18 w 24"/>
                    <a:gd name="T95" fmla="*/ 5 h 26"/>
                    <a:gd name="T96" fmla="*/ 16 w 24"/>
                    <a:gd name="T97" fmla="*/ 4 h 26"/>
                    <a:gd name="T98" fmla="*/ 16 w 24"/>
                    <a:gd name="T99" fmla="*/ 4 h 26"/>
                    <a:gd name="T100" fmla="*/ 13 w 24"/>
                    <a:gd name="T101" fmla="*/ 0 h 26"/>
                    <a:gd name="T102" fmla="*/ 13 w 24"/>
                    <a:gd name="T103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" h="26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7" y="2"/>
                      </a:ln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5" y="4"/>
                      </a:lnTo>
                      <a:lnTo>
                        <a:pt x="16" y="7"/>
                      </a:lnTo>
                      <a:lnTo>
                        <a:pt x="20" y="11"/>
                      </a:lnTo>
                      <a:lnTo>
                        <a:pt x="22" y="13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8"/>
                      </a:lnTo>
                      <a:lnTo>
                        <a:pt x="18" y="22"/>
                      </a:lnTo>
                      <a:lnTo>
                        <a:pt x="18" y="24"/>
                      </a:lnTo>
                      <a:lnTo>
                        <a:pt x="15" y="24"/>
                      </a:lnTo>
                      <a:lnTo>
                        <a:pt x="11" y="24"/>
                      </a:lnTo>
                      <a:lnTo>
                        <a:pt x="7" y="24"/>
                      </a:lnTo>
                      <a:lnTo>
                        <a:pt x="4" y="24"/>
                      </a:lnTo>
                      <a:lnTo>
                        <a:pt x="4" y="20"/>
                      </a:lnTo>
                      <a:lnTo>
                        <a:pt x="2" y="13"/>
                      </a:lnTo>
                      <a:lnTo>
                        <a:pt x="2" y="7"/>
                      </a:lnTo>
                      <a:lnTo>
                        <a:pt x="2" y="2"/>
                      </a:lnTo>
                      <a:close/>
                      <a:moveTo>
                        <a:pt x="13" y="0"/>
                      </a:move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13"/>
                      </a:lnTo>
                      <a:lnTo>
                        <a:pt x="2" y="20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7" y="26"/>
                      </a:lnTo>
                      <a:lnTo>
                        <a:pt x="11" y="26"/>
                      </a:lnTo>
                      <a:lnTo>
                        <a:pt x="15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2" y="18"/>
                      </a:lnTo>
                      <a:lnTo>
                        <a:pt x="22" y="16"/>
                      </a:lnTo>
                      <a:lnTo>
                        <a:pt x="24" y="13"/>
                      </a:lnTo>
                      <a:lnTo>
                        <a:pt x="24" y="13"/>
                      </a:lnTo>
                      <a:lnTo>
                        <a:pt x="20" y="9"/>
                      </a:lnTo>
                      <a:lnTo>
                        <a:pt x="18" y="5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3" name="Freeform 3047"/>
                <p:cNvSpPr>
                  <a:spLocks/>
                </p:cNvSpPr>
                <p:nvPr/>
              </p:nvSpPr>
              <p:spPr bwMode="auto">
                <a:xfrm>
                  <a:off x="4020" y="960"/>
                  <a:ext cx="20" cy="22"/>
                </a:xfrm>
                <a:custGeom>
                  <a:avLst/>
                  <a:gdLst>
                    <a:gd name="T0" fmla="*/ 0 w 20"/>
                    <a:gd name="T1" fmla="*/ 0 h 22"/>
                    <a:gd name="T2" fmla="*/ 0 w 20"/>
                    <a:gd name="T3" fmla="*/ 0 h 22"/>
                    <a:gd name="T4" fmla="*/ 2 w 20"/>
                    <a:gd name="T5" fmla="*/ 0 h 22"/>
                    <a:gd name="T6" fmla="*/ 5 w 20"/>
                    <a:gd name="T7" fmla="*/ 0 h 22"/>
                    <a:gd name="T8" fmla="*/ 7 w 20"/>
                    <a:gd name="T9" fmla="*/ 0 h 22"/>
                    <a:gd name="T10" fmla="*/ 11 w 20"/>
                    <a:gd name="T11" fmla="*/ 0 h 22"/>
                    <a:gd name="T12" fmla="*/ 13 w 20"/>
                    <a:gd name="T13" fmla="*/ 2 h 22"/>
                    <a:gd name="T14" fmla="*/ 14 w 20"/>
                    <a:gd name="T15" fmla="*/ 5 h 22"/>
                    <a:gd name="T16" fmla="*/ 18 w 20"/>
                    <a:gd name="T17" fmla="*/ 9 h 22"/>
                    <a:gd name="T18" fmla="*/ 20 w 20"/>
                    <a:gd name="T19" fmla="*/ 11 h 22"/>
                    <a:gd name="T20" fmla="*/ 18 w 20"/>
                    <a:gd name="T21" fmla="*/ 14 h 22"/>
                    <a:gd name="T22" fmla="*/ 18 w 20"/>
                    <a:gd name="T23" fmla="*/ 14 h 22"/>
                    <a:gd name="T24" fmla="*/ 18 w 20"/>
                    <a:gd name="T25" fmla="*/ 16 h 22"/>
                    <a:gd name="T26" fmla="*/ 16 w 20"/>
                    <a:gd name="T27" fmla="*/ 20 h 22"/>
                    <a:gd name="T28" fmla="*/ 16 w 20"/>
                    <a:gd name="T29" fmla="*/ 22 h 22"/>
                    <a:gd name="T30" fmla="*/ 13 w 20"/>
                    <a:gd name="T31" fmla="*/ 22 h 22"/>
                    <a:gd name="T32" fmla="*/ 9 w 20"/>
                    <a:gd name="T33" fmla="*/ 22 h 22"/>
                    <a:gd name="T34" fmla="*/ 5 w 20"/>
                    <a:gd name="T35" fmla="*/ 22 h 22"/>
                    <a:gd name="T36" fmla="*/ 2 w 20"/>
                    <a:gd name="T37" fmla="*/ 22 h 22"/>
                    <a:gd name="T38" fmla="*/ 2 w 20"/>
                    <a:gd name="T39" fmla="*/ 18 h 22"/>
                    <a:gd name="T40" fmla="*/ 0 w 20"/>
                    <a:gd name="T41" fmla="*/ 11 h 22"/>
                    <a:gd name="T42" fmla="*/ 0 w 20"/>
                    <a:gd name="T43" fmla="*/ 5 h 22"/>
                    <a:gd name="T44" fmla="*/ 0 w 20"/>
                    <a:gd name="T4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" h="2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11" y="0"/>
                      </a:lnTo>
                      <a:lnTo>
                        <a:pt x="13" y="2"/>
                      </a:lnTo>
                      <a:lnTo>
                        <a:pt x="14" y="5"/>
                      </a:lnTo>
                      <a:lnTo>
                        <a:pt x="18" y="9"/>
                      </a:lnTo>
                      <a:lnTo>
                        <a:pt x="20" y="11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6" y="20"/>
                      </a:lnTo>
                      <a:lnTo>
                        <a:pt x="16" y="22"/>
                      </a:lnTo>
                      <a:lnTo>
                        <a:pt x="13" y="22"/>
                      </a:lnTo>
                      <a:lnTo>
                        <a:pt x="9" y="22"/>
                      </a:lnTo>
                      <a:lnTo>
                        <a:pt x="5" y="22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0" y="11"/>
                      </a:lnTo>
                      <a:lnTo>
                        <a:pt x="0" y="5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4" name="Freeform 3048"/>
                <p:cNvSpPr>
                  <a:spLocks/>
                </p:cNvSpPr>
                <p:nvPr/>
              </p:nvSpPr>
              <p:spPr bwMode="auto">
                <a:xfrm>
                  <a:off x="4018" y="958"/>
                  <a:ext cx="24" cy="26"/>
                </a:xfrm>
                <a:custGeom>
                  <a:avLst/>
                  <a:gdLst>
                    <a:gd name="T0" fmla="*/ 13 w 24"/>
                    <a:gd name="T1" fmla="*/ 0 h 26"/>
                    <a:gd name="T2" fmla="*/ 9 w 24"/>
                    <a:gd name="T3" fmla="*/ 0 h 26"/>
                    <a:gd name="T4" fmla="*/ 7 w 24"/>
                    <a:gd name="T5" fmla="*/ 0 h 26"/>
                    <a:gd name="T6" fmla="*/ 4 w 24"/>
                    <a:gd name="T7" fmla="*/ 0 h 26"/>
                    <a:gd name="T8" fmla="*/ 2 w 24"/>
                    <a:gd name="T9" fmla="*/ 2 h 26"/>
                    <a:gd name="T10" fmla="*/ 0 w 24"/>
                    <a:gd name="T11" fmla="*/ 2 h 26"/>
                    <a:gd name="T12" fmla="*/ 0 w 24"/>
                    <a:gd name="T13" fmla="*/ 7 h 26"/>
                    <a:gd name="T14" fmla="*/ 2 w 24"/>
                    <a:gd name="T15" fmla="*/ 13 h 26"/>
                    <a:gd name="T16" fmla="*/ 2 w 24"/>
                    <a:gd name="T17" fmla="*/ 20 h 26"/>
                    <a:gd name="T18" fmla="*/ 2 w 24"/>
                    <a:gd name="T19" fmla="*/ 26 h 26"/>
                    <a:gd name="T20" fmla="*/ 2 w 24"/>
                    <a:gd name="T21" fmla="*/ 26 h 26"/>
                    <a:gd name="T22" fmla="*/ 2 w 24"/>
                    <a:gd name="T23" fmla="*/ 26 h 26"/>
                    <a:gd name="T24" fmla="*/ 7 w 24"/>
                    <a:gd name="T25" fmla="*/ 26 h 26"/>
                    <a:gd name="T26" fmla="*/ 11 w 24"/>
                    <a:gd name="T27" fmla="*/ 26 h 26"/>
                    <a:gd name="T28" fmla="*/ 15 w 24"/>
                    <a:gd name="T29" fmla="*/ 26 h 26"/>
                    <a:gd name="T30" fmla="*/ 18 w 24"/>
                    <a:gd name="T31" fmla="*/ 26 h 26"/>
                    <a:gd name="T32" fmla="*/ 18 w 24"/>
                    <a:gd name="T33" fmla="*/ 26 h 26"/>
                    <a:gd name="T34" fmla="*/ 20 w 24"/>
                    <a:gd name="T35" fmla="*/ 22 h 26"/>
                    <a:gd name="T36" fmla="*/ 20 w 24"/>
                    <a:gd name="T37" fmla="*/ 22 h 26"/>
                    <a:gd name="T38" fmla="*/ 22 w 24"/>
                    <a:gd name="T39" fmla="*/ 18 h 26"/>
                    <a:gd name="T40" fmla="*/ 22 w 24"/>
                    <a:gd name="T41" fmla="*/ 16 h 26"/>
                    <a:gd name="T42" fmla="*/ 24 w 24"/>
                    <a:gd name="T43" fmla="*/ 13 h 26"/>
                    <a:gd name="T44" fmla="*/ 24 w 24"/>
                    <a:gd name="T45" fmla="*/ 13 h 26"/>
                    <a:gd name="T46" fmla="*/ 20 w 24"/>
                    <a:gd name="T47" fmla="*/ 9 h 26"/>
                    <a:gd name="T48" fmla="*/ 18 w 24"/>
                    <a:gd name="T49" fmla="*/ 5 h 26"/>
                    <a:gd name="T50" fmla="*/ 16 w 24"/>
                    <a:gd name="T51" fmla="*/ 4 h 26"/>
                    <a:gd name="T52" fmla="*/ 16 w 24"/>
                    <a:gd name="T53" fmla="*/ 4 h 26"/>
                    <a:gd name="T54" fmla="*/ 13 w 24"/>
                    <a:gd name="T55" fmla="*/ 0 h 26"/>
                    <a:gd name="T56" fmla="*/ 13 w 24"/>
                    <a:gd name="T5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4" h="26">
                      <a:moveTo>
                        <a:pt x="13" y="0"/>
                      </a:move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13"/>
                      </a:lnTo>
                      <a:lnTo>
                        <a:pt x="2" y="20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7" y="26"/>
                      </a:lnTo>
                      <a:lnTo>
                        <a:pt x="11" y="26"/>
                      </a:lnTo>
                      <a:lnTo>
                        <a:pt x="15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2" y="18"/>
                      </a:lnTo>
                      <a:lnTo>
                        <a:pt x="22" y="16"/>
                      </a:lnTo>
                      <a:lnTo>
                        <a:pt x="24" y="13"/>
                      </a:lnTo>
                      <a:lnTo>
                        <a:pt x="24" y="13"/>
                      </a:lnTo>
                      <a:lnTo>
                        <a:pt x="20" y="9"/>
                      </a:lnTo>
                      <a:lnTo>
                        <a:pt x="18" y="5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3" y="0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5" name="Freeform 3049"/>
                <p:cNvSpPr>
                  <a:spLocks/>
                </p:cNvSpPr>
                <p:nvPr/>
              </p:nvSpPr>
              <p:spPr bwMode="auto">
                <a:xfrm>
                  <a:off x="3892" y="819"/>
                  <a:ext cx="155" cy="128"/>
                </a:xfrm>
                <a:custGeom>
                  <a:avLst/>
                  <a:gdLst>
                    <a:gd name="T0" fmla="*/ 128 w 155"/>
                    <a:gd name="T1" fmla="*/ 0 h 128"/>
                    <a:gd name="T2" fmla="*/ 94 w 155"/>
                    <a:gd name="T3" fmla="*/ 6 h 128"/>
                    <a:gd name="T4" fmla="*/ 58 w 155"/>
                    <a:gd name="T5" fmla="*/ 12 h 128"/>
                    <a:gd name="T6" fmla="*/ 61 w 155"/>
                    <a:gd name="T7" fmla="*/ 26 h 128"/>
                    <a:gd name="T8" fmla="*/ 70 w 155"/>
                    <a:gd name="T9" fmla="*/ 34 h 128"/>
                    <a:gd name="T10" fmla="*/ 78 w 155"/>
                    <a:gd name="T11" fmla="*/ 43 h 128"/>
                    <a:gd name="T12" fmla="*/ 67 w 155"/>
                    <a:gd name="T13" fmla="*/ 43 h 128"/>
                    <a:gd name="T14" fmla="*/ 56 w 155"/>
                    <a:gd name="T15" fmla="*/ 41 h 128"/>
                    <a:gd name="T16" fmla="*/ 26 w 155"/>
                    <a:gd name="T17" fmla="*/ 34 h 128"/>
                    <a:gd name="T18" fmla="*/ 8 w 155"/>
                    <a:gd name="T19" fmla="*/ 35 h 128"/>
                    <a:gd name="T20" fmla="*/ 4 w 155"/>
                    <a:gd name="T21" fmla="*/ 52 h 128"/>
                    <a:gd name="T22" fmla="*/ 6 w 155"/>
                    <a:gd name="T23" fmla="*/ 69 h 128"/>
                    <a:gd name="T24" fmla="*/ 13 w 155"/>
                    <a:gd name="T25" fmla="*/ 71 h 128"/>
                    <a:gd name="T26" fmla="*/ 13 w 155"/>
                    <a:gd name="T27" fmla="*/ 76 h 128"/>
                    <a:gd name="T28" fmla="*/ 13 w 155"/>
                    <a:gd name="T29" fmla="*/ 76 h 128"/>
                    <a:gd name="T30" fmla="*/ 10 w 155"/>
                    <a:gd name="T31" fmla="*/ 78 h 128"/>
                    <a:gd name="T32" fmla="*/ 2 w 155"/>
                    <a:gd name="T33" fmla="*/ 78 h 128"/>
                    <a:gd name="T34" fmla="*/ 4 w 155"/>
                    <a:gd name="T35" fmla="*/ 82 h 128"/>
                    <a:gd name="T36" fmla="*/ 8 w 155"/>
                    <a:gd name="T37" fmla="*/ 85 h 128"/>
                    <a:gd name="T38" fmla="*/ 15 w 155"/>
                    <a:gd name="T39" fmla="*/ 93 h 128"/>
                    <a:gd name="T40" fmla="*/ 22 w 155"/>
                    <a:gd name="T41" fmla="*/ 104 h 128"/>
                    <a:gd name="T42" fmla="*/ 19 w 155"/>
                    <a:gd name="T43" fmla="*/ 111 h 128"/>
                    <a:gd name="T44" fmla="*/ 32 w 155"/>
                    <a:gd name="T45" fmla="*/ 122 h 128"/>
                    <a:gd name="T46" fmla="*/ 43 w 155"/>
                    <a:gd name="T47" fmla="*/ 126 h 128"/>
                    <a:gd name="T48" fmla="*/ 63 w 155"/>
                    <a:gd name="T49" fmla="*/ 128 h 128"/>
                    <a:gd name="T50" fmla="*/ 83 w 155"/>
                    <a:gd name="T51" fmla="*/ 120 h 128"/>
                    <a:gd name="T52" fmla="*/ 83 w 155"/>
                    <a:gd name="T53" fmla="*/ 100 h 128"/>
                    <a:gd name="T54" fmla="*/ 93 w 155"/>
                    <a:gd name="T55" fmla="*/ 109 h 128"/>
                    <a:gd name="T56" fmla="*/ 113 w 155"/>
                    <a:gd name="T57" fmla="*/ 82 h 128"/>
                    <a:gd name="T58" fmla="*/ 126 w 155"/>
                    <a:gd name="T59" fmla="*/ 71 h 128"/>
                    <a:gd name="T60" fmla="*/ 135 w 155"/>
                    <a:gd name="T61" fmla="*/ 69 h 128"/>
                    <a:gd name="T62" fmla="*/ 141 w 155"/>
                    <a:gd name="T63" fmla="*/ 65 h 128"/>
                    <a:gd name="T64" fmla="*/ 144 w 155"/>
                    <a:gd name="T65" fmla="*/ 61 h 128"/>
                    <a:gd name="T66" fmla="*/ 144 w 155"/>
                    <a:gd name="T67" fmla="*/ 56 h 128"/>
                    <a:gd name="T68" fmla="*/ 146 w 155"/>
                    <a:gd name="T69" fmla="*/ 52 h 128"/>
                    <a:gd name="T70" fmla="*/ 137 w 155"/>
                    <a:gd name="T71" fmla="*/ 54 h 128"/>
                    <a:gd name="T72" fmla="*/ 117 w 155"/>
                    <a:gd name="T73" fmla="*/ 54 h 128"/>
                    <a:gd name="T74" fmla="*/ 113 w 155"/>
                    <a:gd name="T75" fmla="*/ 50 h 128"/>
                    <a:gd name="T76" fmla="*/ 111 w 155"/>
                    <a:gd name="T77" fmla="*/ 48 h 128"/>
                    <a:gd name="T78" fmla="*/ 106 w 155"/>
                    <a:gd name="T79" fmla="*/ 43 h 128"/>
                    <a:gd name="T80" fmla="*/ 104 w 155"/>
                    <a:gd name="T81" fmla="*/ 41 h 128"/>
                    <a:gd name="T82" fmla="*/ 94 w 155"/>
                    <a:gd name="T83" fmla="*/ 39 h 128"/>
                    <a:gd name="T84" fmla="*/ 93 w 155"/>
                    <a:gd name="T85" fmla="*/ 35 h 128"/>
                    <a:gd name="T86" fmla="*/ 91 w 155"/>
                    <a:gd name="T87" fmla="*/ 30 h 128"/>
                    <a:gd name="T88" fmla="*/ 91 w 155"/>
                    <a:gd name="T89" fmla="*/ 24 h 128"/>
                    <a:gd name="T90" fmla="*/ 93 w 155"/>
                    <a:gd name="T91" fmla="*/ 21 h 128"/>
                    <a:gd name="T92" fmla="*/ 98 w 155"/>
                    <a:gd name="T93" fmla="*/ 19 h 128"/>
                    <a:gd name="T94" fmla="*/ 111 w 155"/>
                    <a:gd name="T95" fmla="*/ 21 h 128"/>
                    <a:gd name="T96" fmla="*/ 107 w 155"/>
                    <a:gd name="T97" fmla="*/ 28 h 128"/>
                    <a:gd name="T98" fmla="*/ 107 w 155"/>
                    <a:gd name="T99" fmla="*/ 37 h 128"/>
                    <a:gd name="T100" fmla="*/ 111 w 155"/>
                    <a:gd name="T101" fmla="*/ 41 h 128"/>
                    <a:gd name="T102" fmla="*/ 115 w 155"/>
                    <a:gd name="T103" fmla="*/ 43 h 128"/>
                    <a:gd name="T104" fmla="*/ 117 w 155"/>
                    <a:gd name="T105" fmla="*/ 47 h 128"/>
                    <a:gd name="T106" fmla="*/ 126 w 155"/>
                    <a:gd name="T107" fmla="*/ 48 h 128"/>
                    <a:gd name="T108" fmla="*/ 142 w 155"/>
                    <a:gd name="T109" fmla="*/ 48 h 128"/>
                    <a:gd name="T110" fmla="*/ 144 w 155"/>
                    <a:gd name="T111" fmla="*/ 47 h 128"/>
                    <a:gd name="T112" fmla="*/ 146 w 155"/>
                    <a:gd name="T113" fmla="*/ 45 h 128"/>
                    <a:gd name="T114" fmla="*/ 155 w 155"/>
                    <a:gd name="T115" fmla="*/ 39 h 128"/>
                    <a:gd name="T116" fmla="*/ 155 w 155"/>
                    <a:gd name="T117" fmla="*/ 24 h 128"/>
                    <a:gd name="T118" fmla="*/ 154 w 155"/>
                    <a:gd name="T119" fmla="*/ 10 h 128"/>
                    <a:gd name="T120" fmla="*/ 152 w 155"/>
                    <a:gd name="T121" fmla="*/ 6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5" h="128">
                      <a:moveTo>
                        <a:pt x="154" y="0"/>
                      </a:moveTo>
                      <a:lnTo>
                        <a:pt x="141" y="0"/>
                      </a:lnTo>
                      <a:lnTo>
                        <a:pt x="128" y="0"/>
                      </a:lnTo>
                      <a:lnTo>
                        <a:pt x="117" y="2"/>
                      </a:lnTo>
                      <a:lnTo>
                        <a:pt x="106" y="2"/>
                      </a:lnTo>
                      <a:lnTo>
                        <a:pt x="94" y="6"/>
                      </a:lnTo>
                      <a:lnTo>
                        <a:pt x="82" y="8"/>
                      </a:lnTo>
                      <a:lnTo>
                        <a:pt x="70" y="10"/>
                      </a:lnTo>
                      <a:lnTo>
                        <a:pt x="58" y="12"/>
                      </a:lnTo>
                      <a:lnTo>
                        <a:pt x="59" y="17"/>
                      </a:lnTo>
                      <a:lnTo>
                        <a:pt x="61" y="23"/>
                      </a:lnTo>
                      <a:lnTo>
                        <a:pt x="61" y="26"/>
                      </a:lnTo>
                      <a:lnTo>
                        <a:pt x="63" y="28"/>
                      </a:lnTo>
                      <a:lnTo>
                        <a:pt x="67" y="32"/>
                      </a:lnTo>
                      <a:lnTo>
                        <a:pt x="70" y="34"/>
                      </a:lnTo>
                      <a:lnTo>
                        <a:pt x="74" y="37"/>
                      </a:lnTo>
                      <a:lnTo>
                        <a:pt x="82" y="43"/>
                      </a:lnTo>
                      <a:lnTo>
                        <a:pt x="78" y="43"/>
                      </a:lnTo>
                      <a:lnTo>
                        <a:pt x="72" y="43"/>
                      </a:lnTo>
                      <a:lnTo>
                        <a:pt x="67" y="43"/>
                      </a:lnTo>
                      <a:lnTo>
                        <a:pt x="67" y="43"/>
                      </a:lnTo>
                      <a:lnTo>
                        <a:pt x="61" y="43"/>
                      </a:lnTo>
                      <a:lnTo>
                        <a:pt x="61" y="43"/>
                      </a:lnTo>
                      <a:lnTo>
                        <a:pt x="56" y="41"/>
                      </a:lnTo>
                      <a:lnTo>
                        <a:pt x="48" y="39"/>
                      </a:lnTo>
                      <a:lnTo>
                        <a:pt x="39" y="37"/>
                      </a:lnTo>
                      <a:lnTo>
                        <a:pt x="26" y="34"/>
                      </a:lnTo>
                      <a:lnTo>
                        <a:pt x="11" y="30"/>
                      </a:lnTo>
                      <a:lnTo>
                        <a:pt x="10" y="34"/>
                      </a:lnTo>
                      <a:lnTo>
                        <a:pt x="8" y="35"/>
                      </a:lnTo>
                      <a:lnTo>
                        <a:pt x="6" y="39"/>
                      </a:lnTo>
                      <a:lnTo>
                        <a:pt x="6" y="41"/>
                      </a:lnTo>
                      <a:lnTo>
                        <a:pt x="4" y="52"/>
                      </a:lnTo>
                      <a:lnTo>
                        <a:pt x="0" y="67"/>
                      </a:lnTo>
                      <a:lnTo>
                        <a:pt x="4" y="69"/>
                      </a:lnTo>
                      <a:lnTo>
                        <a:pt x="6" y="69"/>
                      </a:lnTo>
                      <a:lnTo>
                        <a:pt x="6" y="69"/>
                      </a:lnTo>
                      <a:lnTo>
                        <a:pt x="10" y="71"/>
                      </a:lnTo>
                      <a:lnTo>
                        <a:pt x="13" y="71"/>
                      </a:lnTo>
                      <a:lnTo>
                        <a:pt x="13" y="72"/>
                      </a:lnTo>
                      <a:lnTo>
                        <a:pt x="13" y="74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1" y="78"/>
                      </a:lnTo>
                      <a:lnTo>
                        <a:pt x="10" y="78"/>
                      </a:lnTo>
                      <a:lnTo>
                        <a:pt x="10" y="78"/>
                      </a:lnTo>
                      <a:lnTo>
                        <a:pt x="8" y="78"/>
                      </a:lnTo>
                      <a:lnTo>
                        <a:pt x="6" y="78"/>
                      </a:lnTo>
                      <a:lnTo>
                        <a:pt x="2" y="78"/>
                      </a:lnTo>
                      <a:lnTo>
                        <a:pt x="2" y="78"/>
                      </a:lnTo>
                      <a:lnTo>
                        <a:pt x="2" y="80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8" y="85"/>
                      </a:lnTo>
                      <a:lnTo>
                        <a:pt x="8" y="85"/>
                      </a:lnTo>
                      <a:lnTo>
                        <a:pt x="11" y="89"/>
                      </a:lnTo>
                      <a:lnTo>
                        <a:pt x="15" y="93"/>
                      </a:lnTo>
                      <a:lnTo>
                        <a:pt x="15" y="93"/>
                      </a:lnTo>
                      <a:lnTo>
                        <a:pt x="19" y="98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4" y="111"/>
                      </a:lnTo>
                      <a:lnTo>
                        <a:pt x="24" y="111"/>
                      </a:lnTo>
                      <a:lnTo>
                        <a:pt x="19" y="111"/>
                      </a:lnTo>
                      <a:lnTo>
                        <a:pt x="15" y="113"/>
                      </a:lnTo>
                      <a:lnTo>
                        <a:pt x="22" y="119"/>
                      </a:lnTo>
                      <a:lnTo>
                        <a:pt x="32" y="122"/>
                      </a:lnTo>
                      <a:lnTo>
                        <a:pt x="35" y="124"/>
                      </a:lnTo>
                      <a:lnTo>
                        <a:pt x="39" y="124"/>
                      </a:lnTo>
                      <a:lnTo>
                        <a:pt x="43" y="126"/>
                      </a:lnTo>
                      <a:lnTo>
                        <a:pt x="46" y="126"/>
                      </a:lnTo>
                      <a:lnTo>
                        <a:pt x="56" y="128"/>
                      </a:lnTo>
                      <a:lnTo>
                        <a:pt x="63" y="128"/>
                      </a:lnTo>
                      <a:lnTo>
                        <a:pt x="74" y="128"/>
                      </a:lnTo>
                      <a:lnTo>
                        <a:pt x="85" y="128"/>
                      </a:lnTo>
                      <a:lnTo>
                        <a:pt x="83" y="120"/>
                      </a:lnTo>
                      <a:lnTo>
                        <a:pt x="83" y="115"/>
                      </a:lnTo>
                      <a:lnTo>
                        <a:pt x="83" y="107"/>
                      </a:lnTo>
                      <a:lnTo>
                        <a:pt x="83" y="100"/>
                      </a:lnTo>
                      <a:lnTo>
                        <a:pt x="85" y="102"/>
                      </a:lnTo>
                      <a:lnTo>
                        <a:pt x="89" y="106"/>
                      </a:lnTo>
                      <a:lnTo>
                        <a:pt x="93" y="109"/>
                      </a:lnTo>
                      <a:lnTo>
                        <a:pt x="98" y="100"/>
                      </a:lnTo>
                      <a:lnTo>
                        <a:pt x="106" y="91"/>
                      </a:lnTo>
                      <a:lnTo>
                        <a:pt x="113" y="82"/>
                      </a:lnTo>
                      <a:lnTo>
                        <a:pt x="120" y="72"/>
                      </a:lnTo>
                      <a:lnTo>
                        <a:pt x="120" y="72"/>
                      </a:lnTo>
                      <a:lnTo>
                        <a:pt x="126" y="71"/>
                      </a:lnTo>
                      <a:lnTo>
                        <a:pt x="131" y="71"/>
                      </a:lnTo>
                      <a:lnTo>
                        <a:pt x="133" y="69"/>
                      </a:lnTo>
                      <a:lnTo>
                        <a:pt x="135" y="69"/>
                      </a:lnTo>
                      <a:lnTo>
                        <a:pt x="137" y="69"/>
                      </a:lnTo>
                      <a:lnTo>
                        <a:pt x="139" y="67"/>
                      </a:lnTo>
                      <a:lnTo>
                        <a:pt x="141" y="65"/>
                      </a:lnTo>
                      <a:lnTo>
                        <a:pt x="141" y="65"/>
                      </a:lnTo>
                      <a:lnTo>
                        <a:pt x="142" y="63"/>
                      </a:lnTo>
                      <a:lnTo>
                        <a:pt x="144" y="61"/>
                      </a:lnTo>
                      <a:lnTo>
                        <a:pt x="144" y="58"/>
                      </a:lnTo>
                      <a:lnTo>
                        <a:pt x="144" y="58"/>
                      </a:lnTo>
                      <a:lnTo>
                        <a:pt x="144" y="56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4" y="54"/>
                      </a:lnTo>
                      <a:lnTo>
                        <a:pt x="144" y="54"/>
                      </a:lnTo>
                      <a:lnTo>
                        <a:pt x="137" y="54"/>
                      </a:lnTo>
                      <a:lnTo>
                        <a:pt x="130" y="54"/>
                      </a:lnTo>
                      <a:lnTo>
                        <a:pt x="124" y="54"/>
                      </a:lnTo>
                      <a:lnTo>
                        <a:pt x="117" y="54"/>
                      </a:lnTo>
                      <a:lnTo>
                        <a:pt x="117" y="52"/>
                      </a:lnTo>
                      <a:lnTo>
                        <a:pt x="115" y="52"/>
                      </a:lnTo>
                      <a:lnTo>
                        <a:pt x="113" y="50"/>
                      </a:lnTo>
                      <a:lnTo>
                        <a:pt x="113" y="48"/>
                      </a:lnTo>
                      <a:lnTo>
                        <a:pt x="111" y="48"/>
                      </a:lnTo>
                      <a:lnTo>
                        <a:pt x="111" y="48"/>
                      </a:lnTo>
                      <a:lnTo>
                        <a:pt x="109" y="47"/>
                      </a:lnTo>
                      <a:lnTo>
                        <a:pt x="107" y="45"/>
                      </a:lnTo>
                      <a:lnTo>
                        <a:pt x="106" y="43"/>
                      </a:lnTo>
                      <a:lnTo>
                        <a:pt x="106" y="43"/>
                      </a:lnTo>
                      <a:lnTo>
                        <a:pt x="106" y="41"/>
                      </a:lnTo>
                      <a:lnTo>
                        <a:pt x="104" y="41"/>
                      </a:lnTo>
                      <a:lnTo>
                        <a:pt x="104" y="39"/>
                      </a:lnTo>
                      <a:lnTo>
                        <a:pt x="98" y="39"/>
                      </a:lnTo>
                      <a:lnTo>
                        <a:pt x="94" y="39"/>
                      </a:lnTo>
                      <a:lnTo>
                        <a:pt x="94" y="39"/>
                      </a:lnTo>
                      <a:lnTo>
                        <a:pt x="93" y="35"/>
                      </a:lnTo>
                      <a:lnTo>
                        <a:pt x="93" y="35"/>
                      </a:lnTo>
                      <a:lnTo>
                        <a:pt x="93" y="32"/>
                      </a:lnTo>
                      <a:lnTo>
                        <a:pt x="91" y="30"/>
                      </a:lnTo>
                      <a:lnTo>
                        <a:pt x="91" y="30"/>
                      </a:lnTo>
                      <a:lnTo>
                        <a:pt x="91" y="28"/>
                      </a:lnTo>
                      <a:lnTo>
                        <a:pt x="91" y="24"/>
                      </a:lnTo>
                      <a:lnTo>
                        <a:pt x="91" y="24"/>
                      </a:lnTo>
                      <a:lnTo>
                        <a:pt x="93" y="24"/>
                      </a:lnTo>
                      <a:lnTo>
                        <a:pt x="93" y="21"/>
                      </a:lnTo>
                      <a:lnTo>
                        <a:pt x="93" y="21"/>
                      </a:lnTo>
                      <a:lnTo>
                        <a:pt x="94" y="19"/>
                      </a:lnTo>
                      <a:lnTo>
                        <a:pt x="94" y="19"/>
                      </a:lnTo>
                      <a:lnTo>
                        <a:pt x="98" y="19"/>
                      </a:lnTo>
                      <a:lnTo>
                        <a:pt x="102" y="19"/>
                      </a:lnTo>
                      <a:lnTo>
                        <a:pt x="106" y="21"/>
                      </a:lnTo>
                      <a:lnTo>
                        <a:pt x="111" y="21"/>
                      </a:lnTo>
                      <a:lnTo>
                        <a:pt x="109" y="21"/>
                      </a:lnTo>
                      <a:lnTo>
                        <a:pt x="109" y="24"/>
                      </a:lnTo>
                      <a:lnTo>
                        <a:pt x="107" y="28"/>
                      </a:lnTo>
                      <a:lnTo>
                        <a:pt x="107" y="32"/>
                      </a:lnTo>
                      <a:lnTo>
                        <a:pt x="107" y="35"/>
                      </a:lnTo>
                      <a:lnTo>
                        <a:pt x="107" y="37"/>
                      </a:lnTo>
                      <a:lnTo>
                        <a:pt x="109" y="37"/>
                      </a:lnTo>
                      <a:lnTo>
                        <a:pt x="109" y="39"/>
                      </a:lnTo>
                      <a:lnTo>
                        <a:pt x="111" y="41"/>
                      </a:lnTo>
                      <a:lnTo>
                        <a:pt x="113" y="43"/>
                      </a:lnTo>
                      <a:lnTo>
                        <a:pt x="113" y="43"/>
                      </a:lnTo>
                      <a:lnTo>
                        <a:pt x="115" y="43"/>
                      </a:lnTo>
                      <a:lnTo>
                        <a:pt x="115" y="43"/>
                      </a:lnTo>
                      <a:lnTo>
                        <a:pt x="117" y="45"/>
                      </a:lnTo>
                      <a:lnTo>
                        <a:pt x="117" y="47"/>
                      </a:lnTo>
                      <a:lnTo>
                        <a:pt x="118" y="48"/>
                      </a:lnTo>
                      <a:lnTo>
                        <a:pt x="120" y="48"/>
                      </a:lnTo>
                      <a:lnTo>
                        <a:pt x="126" y="48"/>
                      </a:lnTo>
                      <a:lnTo>
                        <a:pt x="131" y="48"/>
                      </a:lnTo>
                      <a:lnTo>
                        <a:pt x="137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6" y="45"/>
                      </a:lnTo>
                      <a:lnTo>
                        <a:pt x="150" y="43"/>
                      </a:lnTo>
                      <a:lnTo>
                        <a:pt x="154" y="41"/>
                      </a:lnTo>
                      <a:lnTo>
                        <a:pt x="155" y="39"/>
                      </a:lnTo>
                      <a:lnTo>
                        <a:pt x="155" y="34"/>
                      </a:lnTo>
                      <a:lnTo>
                        <a:pt x="155" y="28"/>
                      </a:lnTo>
                      <a:lnTo>
                        <a:pt x="155" y="24"/>
                      </a:lnTo>
                      <a:lnTo>
                        <a:pt x="155" y="19"/>
                      </a:lnTo>
                      <a:lnTo>
                        <a:pt x="154" y="15"/>
                      </a:lnTo>
                      <a:lnTo>
                        <a:pt x="154" y="10"/>
                      </a:lnTo>
                      <a:lnTo>
                        <a:pt x="154" y="10"/>
                      </a:lnTo>
                      <a:lnTo>
                        <a:pt x="152" y="6"/>
                      </a:lnTo>
                      <a:lnTo>
                        <a:pt x="152" y="6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6" name="Freeform 3050"/>
                <p:cNvSpPr>
                  <a:spLocks/>
                </p:cNvSpPr>
                <p:nvPr/>
              </p:nvSpPr>
              <p:spPr bwMode="auto">
                <a:xfrm>
                  <a:off x="3892" y="819"/>
                  <a:ext cx="155" cy="128"/>
                </a:xfrm>
                <a:custGeom>
                  <a:avLst/>
                  <a:gdLst>
                    <a:gd name="T0" fmla="*/ 128 w 155"/>
                    <a:gd name="T1" fmla="*/ 0 h 128"/>
                    <a:gd name="T2" fmla="*/ 94 w 155"/>
                    <a:gd name="T3" fmla="*/ 6 h 128"/>
                    <a:gd name="T4" fmla="*/ 58 w 155"/>
                    <a:gd name="T5" fmla="*/ 12 h 128"/>
                    <a:gd name="T6" fmla="*/ 61 w 155"/>
                    <a:gd name="T7" fmla="*/ 26 h 128"/>
                    <a:gd name="T8" fmla="*/ 70 w 155"/>
                    <a:gd name="T9" fmla="*/ 34 h 128"/>
                    <a:gd name="T10" fmla="*/ 78 w 155"/>
                    <a:gd name="T11" fmla="*/ 43 h 128"/>
                    <a:gd name="T12" fmla="*/ 67 w 155"/>
                    <a:gd name="T13" fmla="*/ 43 h 128"/>
                    <a:gd name="T14" fmla="*/ 56 w 155"/>
                    <a:gd name="T15" fmla="*/ 41 h 128"/>
                    <a:gd name="T16" fmla="*/ 26 w 155"/>
                    <a:gd name="T17" fmla="*/ 34 h 128"/>
                    <a:gd name="T18" fmla="*/ 8 w 155"/>
                    <a:gd name="T19" fmla="*/ 35 h 128"/>
                    <a:gd name="T20" fmla="*/ 4 w 155"/>
                    <a:gd name="T21" fmla="*/ 52 h 128"/>
                    <a:gd name="T22" fmla="*/ 6 w 155"/>
                    <a:gd name="T23" fmla="*/ 69 h 128"/>
                    <a:gd name="T24" fmla="*/ 13 w 155"/>
                    <a:gd name="T25" fmla="*/ 71 h 128"/>
                    <a:gd name="T26" fmla="*/ 13 w 155"/>
                    <a:gd name="T27" fmla="*/ 76 h 128"/>
                    <a:gd name="T28" fmla="*/ 13 w 155"/>
                    <a:gd name="T29" fmla="*/ 76 h 128"/>
                    <a:gd name="T30" fmla="*/ 10 w 155"/>
                    <a:gd name="T31" fmla="*/ 78 h 128"/>
                    <a:gd name="T32" fmla="*/ 2 w 155"/>
                    <a:gd name="T33" fmla="*/ 78 h 128"/>
                    <a:gd name="T34" fmla="*/ 4 w 155"/>
                    <a:gd name="T35" fmla="*/ 82 h 128"/>
                    <a:gd name="T36" fmla="*/ 8 w 155"/>
                    <a:gd name="T37" fmla="*/ 85 h 128"/>
                    <a:gd name="T38" fmla="*/ 15 w 155"/>
                    <a:gd name="T39" fmla="*/ 93 h 128"/>
                    <a:gd name="T40" fmla="*/ 22 w 155"/>
                    <a:gd name="T41" fmla="*/ 104 h 128"/>
                    <a:gd name="T42" fmla="*/ 19 w 155"/>
                    <a:gd name="T43" fmla="*/ 111 h 128"/>
                    <a:gd name="T44" fmla="*/ 32 w 155"/>
                    <a:gd name="T45" fmla="*/ 122 h 128"/>
                    <a:gd name="T46" fmla="*/ 43 w 155"/>
                    <a:gd name="T47" fmla="*/ 126 h 128"/>
                    <a:gd name="T48" fmla="*/ 63 w 155"/>
                    <a:gd name="T49" fmla="*/ 128 h 128"/>
                    <a:gd name="T50" fmla="*/ 83 w 155"/>
                    <a:gd name="T51" fmla="*/ 120 h 128"/>
                    <a:gd name="T52" fmla="*/ 83 w 155"/>
                    <a:gd name="T53" fmla="*/ 100 h 128"/>
                    <a:gd name="T54" fmla="*/ 93 w 155"/>
                    <a:gd name="T55" fmla="*/ 109 h 128"/>
                    <a:gd name="T56" fmla="*/ 113 w 155"/>
                    <a:gd name="T57" fmla="*/ 82 h 128"/>
                    <a:gd name="T58" fmla="*/ 126 w 155"/>
                    <a:gd name="T59" fmla="*/ 71 h 128"/>
                    <a:gd name="T60" fmla="*/ 135 w 155"/>
                    <a:gd name="T61" fmla="*/ 69 h 128"/>
                    <a:gd name="T62" fmla="*/ 141 w 155"/>
                    <a:gd name="T63" fmla="*/ 65 h 128"/>
                    <a:gd name="T64" fmla="*/ 144 w 155"/>
                    <a:gd name="T65" fmla="*/ 61 h 128"/>
                    <a:gd name="T66" fmla="*/ 144 w 155"/>
                    <a:gd name="T67" fmla="*/ 56 h 128"/>
                    <a:gd name="T68" fmla="*/ 146 w 155"/>
                    <a:gd name="T69" fmla="*/ 52 h 128"/>
                    <a:gd name="T70" fmla="*/ 137 w 155"/>
                    <a:gd name="T71" fmla="*/ 54 h 128"/>
                    <a:gd name="T72" fmla="*/ 117 w 155"/>
                    <a:gd name="T73" fmla="*/ 54 h 128"/>
                    <a:gd name="T74" fmla="*/ 113 w 155"/>
                    <a:gd name="T75" fmla="*/ 50 h 128"/>
                    <a:gd name="T76" fmla="*/ 111 w 155"/>
                    <a:gd name="T77" fmla="*/ 48 h 128"/>
                    <a:gd name="T78" fmla="*/ 106 w 155"/>
                    <a:gd name="T79" fmla="*/ 43 h 128"/>
                    <a:gd name="T80" fmla="*/ 104 w 155"/>
                    <a:gd name="T81" fmla="*/ 41 h 128"/>
                    <a:gd name="T82" fmla="*/ 94 w 155"/>
                    <a:gd name="T83" fmla="*/ 39 h 128"/>
                    <a:gd name="T84" fmla="*/ 93 w 155"/>
                    <a:gd name="T85" fmla="*/ 35 h 128"/>
                    <a:gd name="T86" fmla="*/ 91 w 155"/>
                    <a:gd name="T87" fmla="*/ 30 h 128"/>
                    <a:gd name="T88" fmla="*/ 91 w 155"/>
                    <a:gd name="T89" fmla="*/ 24 h 128"/>
                    <a:gd name="T90" fmla="*/ 93 w 155"/>
                    <a:gd name="T91" fmla="*/ 21 h 128"/>
                    <a:gd name="T92" fmla="*/ 98 w 155"/>
                    <a:gd name="T93" fmla="*/ 19 h 128"/>
                    <a:gd name="T94" fmla="*/ 111 w 155"/>
                    <a:gd name="T95" fmla="*/ 21 h 128"/>
                    <a:gd name="T96" fmla="*/ 107 w 155"/>
                    <a:gd name="T97" fmla="*/ 28 h 128"/>
                    <a:gd name="T98" fmla="*/ 107 w 155"/>
                    <a:gd name="T99" fmla="*/ 37 h 128"/>
                    <a:gd name="T100" fmla="*/ 111 w 155"/>
                    <a:gd name="T101" fmla="*/ 41 h 128"/>
                    <a:gd name="T102" fmla="*/ 115 w 155"/>
                    <a:gd name="T103" fmla="*/ 43 h 128"/>
                    <a:gd name="T104" fmla="*/ 117 w 155"/>
                    <a:gd name="T105" fmla="*/ 47 h 128"/>
                    <a:gd name="T106" fmla="*/ 126 w 155"/>
                    <a:gd name="T107" fmla="*/ 48 h 128"/>
                    <a:gd name="T108" fmla="*/ 142 w 155"/>
                    <a:gd name="T109" fmla="*/ 48 h 128"/>
                    <a:gd name="T110" fmla="*/ 144 w 155"/>
                    <a:gd name="T111" fmla="*/ 47 h 128"/>
                    <a:gd name="T112" fmla="*/ 146 w 155"/>
                    <a:gd name="T113" fmla="*/ 45 h 128"/>
                    <a:gd name="T114" fmla="*/ 155 w 155"/>
                    <a:gd name="T115" fmla="*/ 39 h 128"/>
                    <a:gd name="T116" fmla="*/ 155 w 155"/>
                    <a:gd name="T117" fmla="*/ 24 h 128"/>
                    <a:gd name="T118" fmla="*/ 154 w 155"/>
                    <a:gd name="T119" fmla="*/ 10 h 128"/>
                    <a:gd name="T120" fmla="*/ 152 w 155"/>
                    <a:gd name="T121" fmla="*/ 6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5" h="128">
                      <a:moveTo>
                        <a:pt x="154" y="0"/>
                      </a:moveTo>
                      <a:lnTo>
                        <a:pt x="141" y="0"/>
                      </a:lnTo>
                      <a:lnTo>
                        <a:pt x="128" y="0"/>
                      </a:lnTo>
                      <a:lnTo>
                        <a:pt x="117" y="2"/>
                      </a:lnTo>
                      <a:lnTo>
                        <a:pt x="106" y="2"/>
                      </a:lnTo>
                      <a:lnTo>
                        <a:pt x="94" y="6"/>
                      </a:lnTo>
                      <a:lnTo>
                        <a:pt x="82" y="8"/>
                      </a:lnTo>
                      <a:lnTo>
                        <a:pt x="70" y="10"/>
                      </a:lnTo>
                      <a:lnTo>
                        <a:pt x="58" y="12"/>
                      </a:lnTo>
                      <a:lnTo>
                        <a:pt x="59" y="17"/>
                      </a:lnTo>
                      <a:lnTo>
                        <a:pt x="61" y="23"/>
                      </a:lnTo>
                      <a:lnTo>
                        <a:pt x="61" y="26"/>
                      </a:lnTo>
                      <a:lnTo>
                        <a:pt x="63" y="28"/>
                      </a:lnTo>
                      <a:lnTo>
                        <a:pt x="67" y="32"/>
                      </a:lnTo>
                      <a:lnTo>
                        <a:pt x="70" y="34"/>
                      </a:lnTo>
                      <a:lnTo>
                        <a:pt x="74" y="37"/>
                      </a:lnTo>
                      <a:lnTo>
                        <a:pt x="82" y="43"/>
                      </a:lnTo>
                      <a:lnTo>
                        <a:pt x="78" y="43"/>
                      </a:lnTo>
                      <a:lnTo>
                        <a:pt x="72" y="43"/>
                      </a:lnTo>
                      <a:lnTo>
                        <a:pt x="67" y="43"/>
                      </a:lnTo>
                      <a:lnTo>
                        <a:pt x="67" y="43"/>
                      </a:lnTo>
                      <a:lnTo>
                        <a:pt x="61" y="43"/>
                      </a:lnTo>
                      <a:lnTo>
                        <a:pt x="61" y="43"/>
                      </a:lnTo>
                      <a:lnTo>
                        <a:pt x="56" y="41"/>
                      </a:lnTo>
                      <a:lnTo>
                        <a:pt x="48" y="39"/>
                      </a:lnTo>
                      <a:lnTo>
                        <a:pt x="39" y="37"/>
                      </a:lnTo>
                      <a:lnTo>
                        <a:pt x="26" y="34"/>
                      </a:lnTo>
                      <a:lnTo>
                        <a:pt x="11" y="30"/>
                      </a:lnTo>
                      <a:lnTo>
                        <a:pt x="10" y="34"/>
                      </a:lnTo>
                      <a:lnTo>
                        <a:pt x="8" y="35"/>
                      </a:lnTo>
                      <a:lnTo>
                        <a:pt x="6" y="39"/>
                      </a:lnTo>
                      <a:lnTo>
                        <a:pt x="6" y="41"/>
                      </a:lnTo>
                      <a:lnTo>
                        <a:pt x="4" y="52"/>
                      </a:lnTo>
                      <a:lnTo>
                        <a:pt x="0" y="67"/>
                      </a:lnTo>
                      <a:lnTo>
                        <a:pt x="4" y="69"/>
                      </a:lnTo>
                      <a:lnTo>
                        <a:pt x="6" y="69"/>
                      </a:lnTo>
                      <a:lnTo>
                        <a:pt x="6" y="69"/>
                      </a:lnTo>
                      <a:lnTo>
                        <a:pt x="10" y="71"/>
                      </a:lnTo>
                      <a:lnTo>
                        <a:pt x="13" y="71"/>
                      </a:lnTo>
                      <a:lnTo>
                        <a:pt x="13" y="72"/>
                      </a:lnTo>
                      <a:lnTo>
                        <a:pt x="13" y="74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1" y="78"/>
                      </a:lnTo>
                      <a:lnTo>
                        <a:pt x="10" y="78"/>
                      </a:lnTo>
                      <a:lnTo>
                        <a:pt x="10" y="78"/>
                      </a:lnTo>
                      <a:lnTo>
                        <a:pt x="8" y="78"/>
                      </a:lnTo>
                      <a:lnTo>
                        <a:pt x="6" y="78"/>
                      </a:lnTo>
                      <a:lnTo>
                        <a:pt x="2" y="78"/>
                      </a:lnTo>
                      <a:lnTo>
                        <a:pt x="2" y="78"/>
                      </a:lnTo>
                      <a:lnTo>
                        <a:pt x="2" y="80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8" y="85"/>
                      </a:lnTo>
                      <a:lnTo>
                        <a:pt x="8" y="85"/>
                      </a:lnTo>
                      <a:lnTo>
                        <a:pt x="11" y="89"/>
                      </a:lnTo>
                      <a:lnTo>
                        <a:pt x="15" y="93"/>
                      </a:lnTo>
                      <a:lnTo>
                        <a:pt x="15" y="93"/>
                      </a:lnTo>
                      <a:lnTo>
                        <a:pt x="19" y="98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4" y="111"/>
                      </a:lnTo>
                      <a:lnTo>
                        <a:pt x="24" y="111"/>
                      </a:lnTo>
                      <a:lnTo>
                        <a:pt x="19" y="111"/>
                      </a:lnTo>
                      <a:lnTo>
                        <a:pt x="15" y="113"/>
                      </a:lnTo>
                      <a:lnTo>
                        <a:pt x="22" y="119"/>
                      </a:lnTo>
                      <a:lnTo>
                        <a:pt x="32" y="122"/>
                      </a:lnTo>
                      <a:lnTo>
                        <a:pt x="35" y="124"/>
                      </a:lnTo>
                      <a:lnTo>
                        <a:pt x="39" y="124"/>
                      </a:lnTo>
                      <a:lnTo>
                        <a:pt x="43" y="126"/>
                      </a:lnTo>
                      <a:lnTo>
                        <a:pt x="46" y="126"/>
                      </a:lnTo>
                      <a:lnTo>
                        <a:pt x="56" y="128"/>
                      </a:lnTo>
                      <a:lnTo>
                        <a:pt x="63" y="128"/>
                      </a:lnTo>
                      <a:lnTo>
                        <a:pt x="74" y="128"/>
                      </a:lnTo>
                      <a:lnTo>
                        <a:pt x="85" y="128"/>
                      </a:lnTo>
                      <a:lnTo>
                        <a:pt x="83" y="120"/>
                      </a:lnTo>
                      <a:lnTo>
                        <a:pt x="83" y="115"/>
                      </a:lnTo>
                      <a:lnTo>
                        <a:pt x="83" y="107"/>
                      </a:lnTo>
                      <a:lnTo>
                        <a:pt x="83" y="100"/>
                      </a:lnTo>
                      <a:lnTo>
                        <a:pt x="85" y="102"/>
                      </a:lnTo>
                      <a:lnTo>
                        <a:pt x="89" y="106"/>
                      </a:lnTo>
                      <a:lnTo>
                        <a:pt x="93" y="109"/>
                      </a:lnTo>
                      <a:lnTo>
                        <a:pt x="98" y="100"/>
                      </a:lnTo>
                      <a:lnTo>
                        <a:pt x="106" y="91"/>
                      </a:lnTo>
                      <a:lnTo>
                        <a:pt x="113" y="82"/>
                      </a:lnTo>
                      <a:lnTo>
                        <a:pt x="120" y="72"/>
                      </a:lnTo>
                      <a:lnTo>
                        <a:pt x="120" y="72"/>
                      </a:lnTo>
                      <a:lnTo>
                        <a:pt x="126" y="71"/>
                      </a:lnTo>
                      <a:lnTo>
                        <a:pt x="131" y="71"/>
                      </a:lnTo>
                      <a:lnTo>
                        <a:pt x="133" y="69"/>
                      </a:lnTo>
                      <a:lnTo>
                        <a:pt x="135" y="69"/>
                      </a:lnTo>
                      <a:lnTo>
                        <a:pt x="137" y="69"/>
                      </a:lnTo>
                      <a:lnTo>
                        <a:pt x="139" y="67"/>
                      </a:lnTo>
                      <a:lnTo>
                        <a:pt x="141" y="65"/>
                      </a:lnTo>
                      <a:lnTo>
                        <a:pt x="141" y="65"/>
                      </a:lnTo>
                      <a:lnTo>
                        <a:pt x="142" y="63"/>
                      </a:lnTo>
                      <a:lnTo>
                        <a:pt x="144" y="61"/>
                      </a:lnTo>
                      <a:lnTo>
                        <a:pt x="144" y="58"/>
                      </a:lnTo>
                      <a:lnTo>
                        <a:pt x="144" y="58"/>
                      </a:lnTo>
                      <a:lnTo>
                        <a:pt x="144" y="56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4" y="54"/>
                      </a:lnTo>
                      <a:lnTo>
                        <a:pt x="144" y="54"/>
                      </a:lnTo>
                      <a:lnTo>
                        <a:pt x="137" y="54"/>
                      </a:lnTo>
                      <a:lnTo>
                        <a:pt x="130" y="54"/>
                      </a:lnTo>
                      <a:lnTo>
                        <a:pt x="124" y="54"/>
                      </a:lnTo>
                      <a:lnTo>
                        <a:pt x="117" y="54"/>
                      </a:lnTo>
                      <a:lnTo>
                        <a:pt x="117" y="52"/>
                      </a:lnTo>
                      <a:lnTo>
                        <a:pt x="115" y="52"/>
                      </a:lnTo>
                      <a:lnTo>
                        <a:pt x="113" y="50"/>
                      </a:lnTo>
                      <a:lnTo>
                        <a:pt x="113" y="48"/>
                      </a:lnTo>
                      <a:lnTo>
                        <a:pt x="111" y="48"/>
                      </a:lnTo>
                      <a:lnTo>
                        <a:pt x="111" y="48"/>
                      </a:lnTo>
                      <a:lnTo>
                        <a:pt x="109" y="47"/>
                      </a:lnTo>
                      <a:lnTo>
                        <a:pt x="107" y="45"/>
                      </a:lnTo>
                      <a:lnTo>
                        <a:pt x="106" y="43"/>
                      </a:lnTo>
                      <a:lnTo>
                        <a:pt x="106" y="43"/>
                      </a:lnTo>
                      <a:lnTo>
                        <a:pt x="106" y="41"/>
                      </a:lnTo>
                      <a:lnTo>
                        <a:pt x="104" y="41"/>
                      </a:lnTo>
                      <a:lnTo>
                        <a:pt x="104" y="39"/>
                      </a:lnTo>
                      <a:lnTo>
                        <a:pt x="98" y="39"/>
                      </a:lnTo>
                      <a:lnTo>
                        <a:pt x="94" y="39"/>
                      </a:lnTo>
                      <a:lnTo>
                        <a:pt x="94" y="39"/>
                      </a:lnTo>
                      <a:lnTo>
                        <a:pt x="93" y="35"/>
                      </a:lnTo>
                      <a:lnTo>
                        <a:pt x="93" y="35"/>
                      </a:lnTo>
                      <a:lnTo>
                        <a:pt x="93" y="32"/>
                      </a:lnTo>
                      <a:lnTo>
                        <a:pt x="91" y="30"/>
                      </a:lnTo>
                      <a:lnTo>
                        <a:pt x="91" y="30"/>
                      </a:lnTo>
                      <a:lnTo>
                        <a:pt x="91" y="28"/>
                      </a:lnTo>
                      <a:lnTo>
                        <a:pt x="91" y="24"/>
                      </a:lnTo>
                      <a:lnTo>
                        <a:pt x="91" y="24"/>
                      </a:lnTo>
                      <a:lnTo>
                        <a:pt x="93" y="24"/>
                      </a:lnTo>
                      <a:lnTo>
                        <a:pt x="93" y="21"/>
                      </a:lnTo>
                      <a:lnTo>
                        <a:pt x="93" y="21"/>
                      </a:lnTo>
                      <a:lnTo>
                        <a:pt x="94" y="19"/>
                      </a:lnTo>
                      <a:lnTo>
                        <a:pt x="94" y="19"/>
                      </a:lnTo>
                      <a:lnTo>
                        <a:pt x="98" y="19"/>
                      </a:lnTo>
                      <a:lnTo>
                        <a:pt x="102" y="19"/>
                      </a:lnTo>
                      <a:lnTo>
                        <a:pt x="106" y="21"/>
                      </a:lnTo>
                      <a:lnTo>
                        <a:pt x="111" y="21"/>
                      </a:lnTo>
                      <a:lnTo>
                        <a:pt x="109" y="21"/>
                      </a:lnTo>
                      <a:lnTo>
                        <a:pt x="109" y="24"/>
                      </a:lnTo>
                      <a:lnTo>
                        <a:pt x="107" y="28"/>
                      </a:lnTo>
                      <a:lnTo>
                        <a:pt x="107" y="32"/>
                      </a:lnTo>
                      <a:lnTo>
                        <a:pt x="107" y="35"/>
                      </a:lnTo>
                      <a:lnTo>
                        <a:pt x="107" y="37"/>
                      </a:lnTo>
                      <a:lnTo>
                        <a:pt x="109" y="37"/>
                      </a:lnTo>
                      <a:lnTo>
                        <a:pt x="109" y="39"/>
                      </a:lnTo>
                      <a:lnTo>
                        <a:pt x="111" y="41"/>
                      </a:lnTo>
                      <a:lnTo>
                        <a:pt x="113" y="43"/>
                      </a:lnTo>
                      <a:lnTo>
                        <a:pt x="113" y="43"/>
                      </a:lnTo>
                      <a:lnTo>
                        <a:pt x="115" y="43"/>
                      </a:lnTo>
                      <a:lnTo>
                        <a:pt x="115" y="43"/>
                      </a:lnTo>
                      <a:lnTo>
                        <a:pt x="117" y="45"/>
                      </a:lnTo>
                      <a:lnTo>
                        <a:pt x="117" y="47"/>
                      </a:lnTo>
                      <a:lnTo>
                        <a:pt x="118" y="48"/>
                      </a:lnTo>
                      <a:lnTo>
                        <a:pt x="120" y="48"/>
                      </a:lnTo>
                      <a:lnTo>
                        <a:pt x="126" y="48"/>
                      </a:lnTo>
                      <a:lnTo>
                        <a:pt x="131" y="48"/>
                      </a:lnTo>
                      <a:lnTo>
                        <a:pt x="137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6" y="45"/>
                      </a:lnTo>
                      <a:lnTo>
                        <a:pt x="150" y="43"/>
                      </a:lnTo>
                      <a:lnTo>
                        <a:pt x="154" y="41"/>
                      </a:lnTo>
                      <a:lnTo>
                        <a:pt x="155" y="39"/>
                      </a:lnTo>
                      <a:lnTo>
                        <a:pt x="155" y="34"/>
                      </a:lnTo>
                      <a:lnTo>
                        <a:pt x="155" y="28"/>
                      </a:lnTo>
                      <a:lnTo>
                        <a:pt x="155" y="24"/>
                      </a:lnTo>
                      <a:lnTo>
                        <a:pt x="155" y="19"/>
                      </a:lnTo>
                      <a:lnTo>
                        <a:pt x="154" y="15"/>
                      </a:lnTo>
                      <a:lnTo>
                        <a:pt x="154" y="10"/>
                      </a:lnTo>
                      <a:lnTo>
                        <a:pt x="154" y="10"/>
                      </a:lnTo>
                      <a:lnTo>
                        <a:pt x="152" y="6"/>
                      </a:lnTo>
                      <a:lnTo>
                        <a:pt x="152" y="6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7" name="Freeform 3051"/>
                <p:cNvSpPr>
                  <a:spLocks/>
                </p:cNvSpPr>
                <p:nvPr/>
              </p:nvSpPr>
              <p:spPr bwMode="auto">
                <a:xfrm>
                  <a:off x="3999" y="853"/>
                  <a:ext cx="48" cy="14"/>
                </a:xfrm>
                <a:custGeom>
                  <a:avLst/>
                  <a:gdLst>
                    <a:gd name="T0" fmla="*/ 48 w 48"/>
                    <a:gd name="T1" fmla="*/ 0 h 14"/>
                    <a:gd name="T2" fmla="*/ 48 w 48"/>
                    <a:gd name="T3" fmla="*/ 5 h 14"/>
                    <a:gd name="T4" fmla="*/ 47 w 48"/>
                    <a:gd name="T5" fmla="*/ 7 h 14"/>
                    <a:gd name="T6" fmla="*/ 43 w 48"/>
                    <a:gd name="T7" fmla="*/ 9 h 14"/>
                    <a:gd name="T8" fmla="*/ 39 w 48"/>
                    <a:gd name="T9" fmla="*/ 11 h 14"/>
                    <a:gd name="T10" fmla="*/ 37 w 48"/>
                    <a:gd name="T11" fmla="*/ 13 h 14"/>
                    <a:gd name="T12" fmla="*/ 37 w 48"/>
                    <a:gd name="T13" fmla="*/ 13 h 14"/>
                    <a:gd name="T14" fmla="*/ 37 w 48"/>
                    <a:gd name="T15" fmla="*/ 13 h 14"/>
                    <a:gd name="T16" fmla="*/ 35 w 48"/>
                    <a:gd name="T17" fmla="*/ 14 h 14"/>
                    <a:gd name="T18" fmla="*/ 35 w 48"/>
                    <a:gd name="T19" fmla="*/ 14 h 14"/>
                    <a:gd name="T20" fmla="*/ 35 w 48"/>
                    <a:gd name="T21" fmla="*/ 14 h 14"/>
                    <a:gd name="T22" fmla="*/ 30 w 48"/>
                    <a:gd name="T23" fmla="*/ 14 h 14"/>
                    <a:gd name="T24" fmla="*/ 24 w 48"/>
                    <a:gd name="T25" fmla="*/ 14 h 14"/>
                    <a:gd name="T26" fmla="*/ 19 w 48"/>
                    <a:gd name="T27" fmla="*/ 14 h 14"/>
                    <a:gd name="T28" fmla="*/ 13 w 48"/>
                    <a:gd name="T29" fmla="*/ 14 h 14"/>
                    <a:gd name="T30" fmla="*/ 11 w 48"/>
                    <a:gd name="T31" fmla="*/ 14 h 14"/>
                    <a:gd name="T32" fmla="*/ 10 w 48"/>
                    <a:gd name="T33" fmla="*/ 13 h 14"/>
                    <a:gd name="T34" fmla="*/ 10 w 48"/>
                    <a:gd name="T35" fmla="*/ 11 h 14"/>
                    <a:gd name="T36" fmla="*/ 8 w 48"/>
                    <a:gd name="T37" fmla="*/ 9 h 14"/>
                    <a:gd name="T38" fmla="*/ 8 w 48"/>
                    <a:gd name="T39" fmla="*/ 9 h 14"/>
                    <a:gd name="T40" fmla="*/ 6 w 48"/>
                    <a:gd name="T41" fmla="*/ 9 h 14"/>
                    <a:gd name="T42" fmla="*/ 6 w 48"/>
                    <a:gd name="T43" fmla="*/ 9 h 14"/>
                    <a:gd name="T44" fmla="*/ 4 w 48"/>
                    <a:gd name="T45" fmla="*/ 7 h 14"/>
                    <a:gd name="T46" fmla="*/ 2 w 48"/>
                    <a:gd name="T47" fmla="*/ 5 h 14"/>
                    <a:gd name="T48" fmla="*/ 2 w 48"/>
                    <a:gd name="T49" fmla="*/ 3 h 14"/>
                    <a:gd name="T50" fmla="*/ 0 w 48"/>
                    <a:gd name="T51" fmla="*/ 3 h 14"/>
                    <a:gd name="T52" fmla="*/ 0 w 48"/>
                    <a:gd name="T53" fmla="*/ 1 h 14"/>
                    <a:gd name="T54" fmla="*/ 0 w 48"/>
                    <a:gd name="T55" fmla="*/ 3 h 14"/>
                    <a:gd name="T56" fmla="*/ 2 w 48"/>
                    <a:gd name="T57" fmla="*/ 3 h 14"/>
                    <a:gd name="T58" fmla="*/ 2 w 48"/>
                    <a:gd name="T59" fmla="*/ 5 h 14"/>
                    <a:gd name="T60" fmla="*/ 4 w 48"/>
                    <a:gd name="T61" fmla="*/ 7 h 14"/>
                    <a:gd name="T62" fmla="*/ 6 w 48"/>
                    <a:gd name="T63" fmla="*/ 9 h 14"/>
                    <a:gd name="T64" fmla="*/ 6 w 48"/>
                    <a:gd name="T65" fmla="*/ 9 h 14"/>
                    <a:gd name="T66" fmla="*/ 8 w 48"/>
                    <a:gd name="T67" fmla="*/ 9 h 14"/>
                    <a:gd name="T68" fmla="*/ 8 w 48"/>
                    <a:gd name="T69" fmla="*/ 9 h 14"/>
                    <a:gd name="T70" fmla="*/ 10 w 48"/>
                    <a:gd name="T71" fmla="*/ 11 h 14"/>
                    <a:gd name="T72" fmla="*/ 10 w 48"/>
                    <a:gd name="T73" fmla="*/ 13 h 14"/>
                    <a:gd name="T74" fmla="*/ 11 w 48"/>
                    <a:gd name="T75" fmla="*/ 14 h 14"/>
                    <a:gd name="T76" fmla="*/ 13 w 48"/>
                    <a:gd name="T77" fmla="*/ 14 h 14"/>
                    <a:gd name="T78" fmla="*/ 19 w 48"/>
                    <a:gd name="T79" fmla="*/ 14 h 14"/>
                    <a:gd name="T80" fmla="*/ 24 w 48"/>
                    <a:gd name="T81" fmla="*/ 14 h 14"/>
                    <a:gd name="T82" fmla="*/ 30 w 48"/>
                    <a:gd name="T83" fmla="*/ 14 h 14"/>
                    <a:gd name="T84" fmla="*/ 35 w 48"/>
                    <a:gd name="T85" fmla="*/ 14 h 14"/>
                    <a:gd name="T86" fmla="*/ 35 w 48"/>
                    <a:gd name="T87" fmla="*/ 14 h 14"/>
                    <a:gd name="T88" fmla="*/ 35 w 48"/>
                    <a:gd name="T89" fmla="*/ 14 h 14"/>
                    <a:gd name="T90" fmla="*/ 37 w 48"/>
                    <a:gd name="T91" fmla="*/ 13 h 14"/>
                    <a:gd name="T92" fmla="*/ 37 w 48"/>
                    <a:gd name="T93" fmla="*/ 13 h 14"/>
                    <a:gd name="T94" fmla="*/ 37 w 48"/>
                    <a:gd name="T95" fmla="*/ 13 h 14"/>
                    <a:gd name="T96" fmla="*/ 39 w 48"/>
                    <a:gd name="T97" fmla="*/ 11 h 14"/>
                    <a:gd name="T98" fmla="*/ 43 w 48"/>
                    <a:gd name="T99" fmla="*/ 9 h 14"/>
                    <a:gd name="T100" fmla="*/ 47 w 48"/>
                    <a:gd name="T101" fmla="*/ 7 h 14"/>
                    <a:gd name="T102" fmla="*/ 48 w 48"/>
                    <a:gd name="T103" fmla="*/ 5 h 14"/>
                    <a:gd name="T104" fmla="*/ 48 w 48"/>
                    <a:gd name="T105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8" h="14">
                      <a:moveTo>
                        <a:pt x="48" y="0"/>
                      </a:moveTo>
                      <a:lnTo>
                        <a:pt x="48" y="5"/>
                      </a:lnTo>
                      <a:lnTo>
                        <a:pt x="47" y="7"/>
                      </a:lnTo>
                      <a:lnTo>
                        <a:pt x="43" y="9"/>
                      </a:lnTo>
                      <a:lnTo>
                        <a:pt x="39" y="11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0" y="14"/>
                      </a:lnTo>
                      <a:lnTo>
                        <a:pt x="24" y="14"/>
                      </a:lnTo>
                      <a:lnTo>
                        <a:pt x="19" y="14"/>
                      </a:lnTo>
                      <a:lnTo>
                        <a:pt x="13" y="14"/>
                      </a:lnTo>
                      <a:lnTo>
                        <a:pt x="11" y="14"/>
                      </a:lnTo>
                      <a:lnTo>
                        <a:pt x="10" y="13"/>
                      </a:lnTo>
                      <a:lnTo>
                        <a:pt x="10" y="11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4" y="7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4" y="7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10" y="11"/>
                      </a:lnTo>
                      <a:lnTo>
                        <a:pt x="10" y="13"/>
                      </a:lnTo>
                      <a:lnTo>
                        <a:pt x="11" y="14"/>
                      </a:lnTo>
                      <a:lnTo>
                        <a:pt x="13" y="14"/>
                      </a:lnTo>
                      <a:lnTo>
                        <a:pt x="19" y="14"/>
                      </a:lnTo>
                      <a:lnTo>
                        <a:pt x="24" y="14"/>
                      </a:lnTo>
                      <a:lnTo>
                        <a:pt x="30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9" y="11"/>
                      </a:lnTo>
                      <a:lnTo>
                        <a:pt x="43" y="9"/>
                      </a:lnTo>
                      <a:lnTo>
                        <a:pt x="47" y="7"/>
                      </a:lnTo>
                      <a:lnTo>
                        <a:pt x="48" y="5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8" name="Freeform 3052"/>
                <p:cNvSpPr>
                  <a:spLocks/>
                </p:cNvSpPr>
                <p:nvPr/>
              </p:nvSpPr>
              <p:spPr bwMode="auto">
                <a:xfrm>
                  <a:off x="3999" y="853"/>
                  <a:ext cx="48" cy="14"/>
                </a:xfrm>
                <a:custGeom>
                  <a:avLst/>
                  <a:gdLst>
                    <a:gd name="T0" fmla="*/ 48 w 48"/>
                    <a:gd name="T1" fmla="*/ 0 h 14"/>
                    <a:gd name="T2" fmla="*/ 48 w 48"/>
                    <a:gd name="T3" fmla="*/ 5 h 14"/>
                    <a:gd name="T4" fmla="*/ 47 w 48"/>
                    <a:gd name="T5" fmla="*/ 7 h 14"/>
                    <a:gd name="T6" fmla="*/ 43 w 48"/>
                    <a:gd name="T7" fmla="*/ 9 h 14"/>
                    <a:gd name="T8" fmla="*/ 39 w 48"/>
                    <a:gd name="T9" fmla="*/ 11 h 14"/>
                    <a:gd name="T10" fmla="*/ 37 w 48"/>
                    <a:gd name="T11" fmla="*/ 13 h 14"/>
                    <a:gd name="T12" fmla="*/ 37 w 48"/>
                    <a:gd name="T13" fmla="*/ 13 h 14"/>
                    <a:gd name="T14" fmla="*/ 37 w 48"/>
                    <a:gd name="T15" fmla="*/ 13 h 14"/>
                    <a:gd name="T16" fmla="*/ 35 w 48"/>
                    <a:gd name="T17" fmla="*/ 14 h 14"/>
                    <a:gd name="T18" fmla="*/ 35 w 48"/>
                    <a:gd name="T19" fmla="*/ 14 h 14"/>
                    <a:gd name="T20" fmla="*/ 35 w 48"/>
                    <a:gd name="T21" fmla="*/ 14 h 14"/>
                    <a:gd name="T22" fmla="*/ 30 w 48"/>
                    <a:gd name="T23" fmla="*/ 14 h 14"/>
                    <a:gd name="T24" fmla="*/ 24 w 48"/>
                    <a:gd name="T25" fmla="*/ 14 h 14"/>
                    <a:gd name="T26" fmla="*/ 19 w 48"/>
                    <a:gd name="T27" fmla="*/ 14 h 14"/>
                    <a:gd name="T28" fmla="*/ 13 w 48"/>
                    <a:gd name="T29" fmla="*/ 14 h 14"/>
                    <a:gd name="T30" fmla="*/ 11 w 48"/>
                    <a:gd name="T31" fmla="*/ 14 h 14"/>
                    <a:gd name="T32" fmla="*/ 10 w 48"/>
                    <a:gd name="T33" fmla="*/ 13 h 14"/>
                    <a:gd name="T34" fmla="*/ 10 w 48"/>
                    <a:gd name="T35" fmla="*/ 11 h 14"/>
                    <a:gd name="T36" fmla="*/ 8 w 48"/>
                    <a:gd name="T37" fmla="*/ 9 h 14"/>
                    <a:gd name="T38" fmla="*/ 8 w 48"/>
                    <a:gd name="T39" fmla="*/ 9 h 14"/>
                    <a:gd name="T40" fmla="*/ 6 w 48"/>
                    <a:gd name="T41" fmla="*/ 9 h 14"/>
                    <a:gd name="T42" fmla="*/ 6 w 48"/>
                    <a:gd name="T43" fmla="*/ 9 h 14"/>
                    <a:gd name="T44" fmla="*/ 4 w 48"/>
                    <a:gd name="T45" fmla="*/ 7 h 14"/>
                    <a:gd name="T46" fmla="*/ 2 w 48"/>
                    <a:gd name="T47" fmla="*/ 5 h 14"/>
                    <a:gd name="T48" fmla="*/ 2 w 48"/>
                    <a:gd name="T49" fmla="*/ 3 h 14"/>
                    <a:gd name="T50" fmla="*/ 0 w 48"/>
                    <a:gd name="T51" fmla="*/ 3 h 14"/>
                    <a:gd name="T52" fmla="*/ 0 w 48"/>
                    <a:gd name="T53" fmla="*/ 1 h 14"/>
                    <a:gd name="T54" fmla="*/ 0 w 48"/>
                    <a:gd name="T55" fmla="*/ 3 h 14"/>
                    <a:gd name="T56" fmla="*/ 2 w 48"/>
                    <a:gd name="T57" fmla="*/ 3 h 14"/>
                    <a:gd name="T58" fmla="*/ 2 w 48"/>
                    <a:gd name="T59" fmla="*/ 5 h 14"/>
                    <a:gd name="T60" fmla="*/ 4 w 48"/>
                    <a:gd name="T61" fmla="*/ 7 h 14"/>
                    <a:gd name="T62" fmla="*/ 6 w 48"/>
                    <a:gd name="T63" fmla="*/ 9 h 14"/>
                    <a:gd name="T64" fmla="*/ 6 w 48"/>
                    <a:gd name="T65" fmla="*/ 9 h 14"/>
                    <a:gd name="T66" fmla="*/ 8 w 48"/>
                    <a:gd name="T67" fmla="*/ 9 h 14"/>
                    <a:gd name="T68" fmla="*/ 8 w 48"/>
                    <a:gd name="T69" fmla="*/ 9 h 14"/>
                    <a:gd name="T70" fmla="*/ 10 w 48"/>
                    <a:gd name="T71" fmla="*/ 11 h 14"/>
                    <a:gd name="T72" fmla="*/ 10 w 48"/>
                    <a:gd name="T73" fmla="*/ 13 h 14"/>
                    <a:gd name="T74" fmla="*/ 11 w 48"/>
                    <a:gd name="T75" fmla="*/ 14 h 14"/>
                    <a:gd name="T76" fmla="*/ 13 w 48"/>
                    <a:gd name="T77" fmla="*/ 14 h 14"/>
                    <a:gd name="T78" fmla="*/ 19 w 48"/>
                    <a:gd name="T79" fmla="*/ 14 h 14"/>
                    <a:gd name="T80" fmla="*/ 24 w 48"/>
                    <a:gd name="T81" fmla="*/ 14 h 14"/>
                    <a:gd name="T82" fmla="*/ 30 w 48"/>
                    <a:gd name="T83" fmla="*/ 14 h 14"/>
                    <a:gd name="T84" fmla="*/ 35 w 48"/>
                    <a:gd name="T85" fmla="*/ 14 h 14"/>
                    <a:gd name="T86" fmla="*/ 35 w 48"/>
                    <a:gd name="T87" fmla="*/ 14 h 14"/>
                    <a:gd name="T88" fmla="*/ 35 w 48"/>
                    <a:gd name="T89" fmla="*/ 14 h 14"/>
                    <a:gd name="T90" fmla="*/ 37 w 48"/>
                    <a:gd name="T91" fmla="*/ 13 h 14"/>
                    <a:gd name="T92" fmla="*/ 37 w 48"/>
                    <a:gd name="T93" fmla="*/ 13 h 14"/>
                    <a:gd name="T94" fmla="*/ 37 w 48"/>
                    <a:gd name="T95" fmla="*/ 13 h 14"/>
                    <a:gd name="T96" fmla="*/ 39 w 48"/>
                    <a:gd name="T97" fmla="*/ 11 h 14"/>
                    <a:gd name="T98" fmla="*/ 43 w 48"/>
                    <a:gd name="T99" fmla="*/ 9 h 14"/>
                    <a:gd name="T100" fmla="*/ 47 w 48"/>
                    <a:gd name="T101" fmla="*/ 7 h 14"/>
                    <a:gd name="T102" fmla="*/ 48 w 48"/>
                    <a:gd name="T103" fmla="*/ 5 h 14"/>
                    <a:gd name="T104" fmla="*/ 48 w 48"/>
                    <a:gd name="T105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8" h="14">
                      <a:moveTo>
                        <a:pt x="48" y="0"/>
                      </a:moveTo>
                      <a:lnTo>
                        <a:pt x="48" y="5"/>
                      </a:lnTo>
                      <a:lnTo>
                        <a:pt x="47" y="7"/>
                      </a:lnTo>
                      <a:lnTo>
                        <a:pt x="43" y="9"/>
                      </a:lnTo>
                      <a:lnTo>
                        <a:pt x="39" y="11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0" y="14"/>
                      </a:lnTo>
                      <a:lnTo>
                        <a:pt x="24" y="14"/>
                      </a:lnTo>
                      <a:lnTo>
                        <a:pt x="19" y="14"/>
                      </a:lnTo>
                      <a:lnTo>
                        <a:pt x="13" y="14"/>
                      </a:lnTo>
                      <a:lnTo>
                        <a:pt x="11" y="14"/>
                      </a:lnTo>
                      <a:lnTo>
                        <a:pt x="10" y="13"/>
                      </a:lnTo>
                      <a:lnTo>
                        <a:pt x="10" y="11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4" y="7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4" y="7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10" y="11"/>
                      </a:lnTo>
                      <a:lnTo>
                        <a:pt x="10" y="13"/>
                      </a:lnTo>
                      <a:lnTo>
                        <a:pt x="11" y="14"/>
                      </a:lnTo>
                      <a:lnTo>
                        <a:pt x="13" y="14"/>
                      </a:lnTo>
                      <a:lnTo>
                        <a:pt x="19" y="14"/>
                      </a:lnTo>
                      <a:lnTo>
                        <a:pt x="24" y="14"/>
                      </a:lnTo>
                      <a:lnTo>
                        <a:pt x="30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5" y="14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7" y="13"/>
                      </a:lnTo>
                      <a:lnTo>
                        <a:pt x="39" y="11"/>
                      </a:lnTo>
                      <a:lnTo>
                        <a:pt x="43" y="9"/>
                      </a:lnTo>
                      <a:lnTo>
                        <a:pt x="47" y="7"/>
                      </a:lnTo>
                      <a:lnTo>
                        <a:pt x="48" y="5"/>
                      </a:lnTo>
                      <a:lnTo>
                        <a:pt x="4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39" name="Freeform 3053"/>
                <p:cNvSpPr>
                  <a:spLocks noEditPoints="1"/>
                </p:cNvSpPr>
                <p:nvPr/>
              </p:nvSpPr>
              <p:spPr bwMode="auto">
                <a:xfrm>
                  <a:off x="3892" y="818"/>
                  <a:ext cx="157" cy="131"/>
                </a:xfrm>
                <a:custGeom>
                  <a:avLst/>
                  <a:gdLst>
                    <a:gd name="T0" fmla="*/ 154 w 157"/>
                    <a:gd name="T1" fmla="*/ 11 h 131"/>
                    <a:gd name="T2" fmla="*/ 155 w 157"/>
                    <a:gd name="T3" fmla="*/ 40 h 131"/>
                    <a:gd name="T4" fmla="*/ 144 w 157"/>
                    <a:gd name="T5" fmla="*/ 48 h 131"/>
                    <a:gd name="T6" fmla="*/ 126 w 157"/>
                    <a:gd name="T7" fmla="*/ 49 h 131"/>
                    <a:gd name="T8" fmla="*/ 115 w 157"/>
                    <a:gd name="T9" fmla="*/ 44 h 131"/>
                    <a:gd name="T10" fmla="*/ 107 w 157"/>
                    <a:gd name="T11" fmla="*/ 38 h 131"/>
                    <a:gd name="T12" fmla="*/ 111 w 157"/>
                    <a:gd name="T13" fmla="*/ 22 h 131"/>
                    <a:gd name="T14" fmla="*/ 93 w 157"/>
                    <a:gd name="T15" fmla="*/ 22 h 131"/>
                    <a:gd name="T16" fmla="*/ 91 w 157"/>
                    <a:gd name="T17" fmla="*/ 31 h 131"/>
                    <a:gd name="T18" fmla="*/ 94 w 157"/>
                    <a:gd name="T19" fmla="*/ 40 h 131"/>
                    <a:gd name="T20" fmla="*/ 106 w 157"/>
                    <a:gd name="T21" fmla="*/ 44 h 131"/>
                    <a:gd name="T22" fmla="*/ 113 w 157"/>
                    <a:gd name="T23" fmla="*/ 51 h 131"/>
                    <a:gd name="T24" fmla="*/ 137 w 157"/>
                    <a:gd name="T25" fmla="*/ 55 h 131"/>
                    <a:gd name="T26" fmla="*/ 144 w 157"/>
                    <a:gd name="T27" fmla="*/ 57 h 131"/>
                    <a:gd name="T28" fmla="*/ 141 w 157"/>
                    <a:gd name="T29" fmla="*/ 66 h 131"/>
                    <a:gd name="T30" fmla="*/ 126 w 157"/>
                    <a:gd name="T31" fmla="*/ 72 h 131"/>
                    <a:gd name="T32" fmla="*/ 93 w 157"/>
                    <a:gd name="T33" fmla="*/ 110 h 131"/>
                    <a:gd name="T34" fmla="*/ 83 w 157"/>
                    <a:gd name="T35" fmla="*/ 121 h 131"/>
                    <a:gd name="T36" fmla="*/ 43 w 157"/>
                    <a:gd name="T37" fmla="*/ 127 h 131"/>
                    <a:gd name="T38" fmla="*/ 19 w 157"/>
                    <a:gd name="T39" fmla="*/ 112 h 131"/>
                    <a:gd name="T40" fmla="*/ 15 w 157"/>
                    <a:gd name="T41" fmla="*/ 94 h 131"/>
                    <a:gd name="T42" fmla="*/ 4 w 157"/>
                    <a:gd name="T43" fmla="*/ 83 h 131"/>
                    <a:gd name="T44" fmla="*/ 10 w 157"/>
                    <a:gd name="T45" fmla="*/ 79 h 131"/>
                    <a:gd name="T46" fmla="*/ 13 w 157"/>
                    <a:gd name="T47" fmla="*/ 77 h 131"/>
                    <a:gd name="T48" fmla="*/ 6 w 157"/>
                    <a:gd name="T49" fmla="*/ 70 h 131"/>
                    <a:gd name="T50" fmla="*/ 8 w 157"/>
                    <a:gd name="T51" fmla="*/ 36 h 131"/>
                    <a:gd name="T52" fmla="*/ 56 w 157"/>
                    <a:gd name="T53" fmla="*/ 42 h 131"/>
                    <a:gd name="T54" fmla="*/ 78 w 157"/>
                    <a:gd name="T55" fmla="*/ 44 h 131"/>
                    <a:gd name="T56" fmla="*/ 61 w 157"/>
                    <a:gd name="T57" fmla="*/ 27 h 131"/>
                    <a:gd name="T58" fmla="*/ 94 w 157"/>
                    <a:gd name="T59" fmla="*/ 7 h 131"/>
                    <a:gd name="T60" fmla="*/ 154 w 157"/>
                    <a:gd name="T61" fmla="*/ 0 h 131"/>
                    <a:gd name="T62" fmla="*/ 82 w 157"/>
                    <a:gd name="T63" fmla="*/ 7 h 131"/>
                    <a:gd name="T64" fmla="*/ 61 w 157"/>
                    <a:gd name="T65" fmla="*/ 27 h 131"/>
                    <a:gd name="T66" fmla="*/ 69 w 157"/>
                    <a:gd name="T67" fmla="*/ 36 h 131"/>
                    <a:gd name="T68" fmla="*/ 56 w 157"/>
                    <a:gd name="T69" fmla="*/ 40 h 131"/>
                    <a:gd name="T70" fmla="*/ 8 w 157"/>
                    <a:gd name="T71" fmla="*/ 33 h 131"/>
                    <a:gd name="T72" fmla="*/ 2 w 157"/>
                    <a:gd name="T73" fmla="*/ 51 h 131"/>
                    <a:gd name="T74" fmla="*/ 11 w 157"/>
                    <a:gd name="T75" fmla="*/ 73 h 131"/>
                    <a:gd name="T76" fmla="*/ 8 w 157"/>
                    <a:gd name="T77" fmla="*/ 77 h 131"/>
                    <a:gd name="T78" fmla="*/ 2 w 157"/>
                    <a:gd name="T79" fmla="*/ 81 h 131"/>
                    <a:gd name="T80" fmla="*/ 10 w 157"/>
                    <a:gd name="T81" fmla="*/ 92 h 131"/>
                    <a:gd name="T82" fmla="*/ 13 w 157"/>
                    <a:gd name="T83" fmla="*/ 112 h 131"/>
                    <a:gd name="T84" fmla="*/ 43 w 157"/>
                    <a:gd name="T85" fmla="*/ 129 h 131"/>
                    <a:gd name="T86" fmla="*/ 74 w 157"/>
                    <a:gd name="T87" fmla="*/ 131 h 131"/>
                    <a:gd name="T88" fmla="*/ 87 w 157"/>
                    <a:gd name="T89" fmla="*/ 107 h 131"/>
                    <a:gd name="T90" fmla="*/ 120 w 157"/>
                    <a:gd name="T91" fmla="*/ 73 h 131"/>
                    <a:gd name="T92" fmla="*/ 137 w 157"/>
                    <a:gd name="T93" fmla="*/ 70 h 131"/>
                    <a:gd name="T94" fmla="*/ 144 w 157"/>
                    <a:gd name="T95" fmla="*/ 64 h 131"/>
                    <a:gd name="T96" fmla="*/ 148 w 157"/>
                    <a:gd name="T97" fmla="*/ 55 h 131"/>
                    <a:gd name="T98" fmla="*/ 137 w 157"/>
                    <a:gd name="T99" fmla="*/ 53 h 131"/>
                    <a:gd name="T100" fmla="*/ 113 w 157"/>
                    <a:gd name="T101" fmla="*/ 49 h 131"/>
                    <a:gd name="T102" fmla="*/ 107 w 157"/>
                    <a:gd name="T103" fmla="*/ 42 h 131"/>
                    <a:gd name="T104" fmla="*/ 94 w 157"/>
                    <a:gd name="T105" fmla="*/ 36 h 131"/>
                    <a:gd name="T106" fmla="*/ 93 w 157"/>
                    <a:gd name="T107" fmla="*/ 25 h 131"/>
                    <a:gd name="T108" fmla="*/ 109 w 157"/>
                    <a:gd name="T109" fmla="*/ 24 h 131"/>
                    <a:gd name="T110" fmla="*/ 106 w 157"/>
                    <a:gd name="T111" fmla="*/ 38 h 131"/>
                    <a:gd name="T112" fmla="*/ 111 w 157"/>
                    <a:gd name="T113" fmla="*/ 44 h 131"/>
                    <a:gd name="T114" fmla="*/ 117 w 157"/>
                    <a:gd name="T115" fmla="*/ 49 h 131"/>
                    <a:gd name="T116" fmla="*/ 142 w 157"/>
                    <a:gd name="T117" fmla="*/ 51 h 131"/>
                    <a:gd name="T118" fmla="*/ 154 w 157"/>
                    <a:gd name="T119" fmla="*/ 44 h 131"/>
                    <a:gd name="T120" fmla="*/ 157 w 157"/>
                    <a:gd name="T121" fmla="*/ 25 h 131"/>
                    <a:gd name="T122" fmla="*/ 154 w 157"/>
                    <a:gd name="T123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7" h="131">
                      <a:moveTo>
                        <a:pt x="154" y="1"/>
                      </a:moveTo>
                      <a:lnTo>
                        <a:pt x="154" y="1"/>
                      </a:lnTo>
                      <a:lnTo>
                        <a:pt x="152" y="7"/>
                      </a:lnTo>
                      <a:lnTo>
                        <a:pt x="152" y="7"/>
                      </a:lnTo>
                      <a:lnTo>
                        <a:pt x="154" y="11"/>
                      </a:lnTo>
                      <a:lnTo>
                        <a:pt x="154" y="11"/>
                      </a:lnTo>
                      <a:lnTo>
                        <a:pt x="154" y="16"/>
                      </a:lnTo>
                      <a:lnTo>
                        <a:pt x="155" y="20"/>
                      </a:lnTo>
                      <a:lnTo>
                        <a:pt x="155" y="25"/>
                      </a:lnTo>
                      <a:lnTo>
                        <a:pt x="155" y="29"/>
                      </a:lnTo>
                      <a:lnTo>
                        <a:pt x="155" y="35"/>
                      </a:lnTo>
                      <a:lnTo>
                        <a:pt x="155" y="40"/>
                      </a:lnTo>
                      <a:lnTo>
                        <a:pt x="154" y="42"/>
                      </a:lnTo>
                      <a:lnTo>
                        <a:pt x="150" y="44"/>
                      </a:lnTo>
                      <a:lnTo>
                        <a:pt x="146" y="46"/>
                      </a:lnTo>
                      <a:lnTo>
                        <a:pt x="144" y="48"/>
                      </a:lnTo>
                      <a:lnTo>
                        <a:pt x="144" y="48"/>
                      </a:lnTo>
                      <a:lnTo>
                        <a:pt x="144" y="48"/>
                      </a:lnTo>
                      <a:lnTo>
                        <a:pt x="142" y="49"/>
                      </a:lnTo>
                      <a:lnTo>
                        <a:pt x="142" y="49"/>
                      </a:lnTo>
                      <a:lnTo>
                        <a:pt x="142" y="49"/>
                      </a:lnTo>
                      <a:lnTo>
                        <a:pt x="137" y="49"/>
                      </a:lnTo>
                      <a:lnTo>
                        <a:pt x="131" y="49"/>
                      </a:lnTo>
                      <a:lnTo>
                        <a:pt x="126" y="49"/>
                      </a:lnTo>
                      <a:lnTo>
                        <a:pt x="120" y="49"/>
                      </a:lnTo>
                      <a:lnTo>
                        <a:pt x="118" y="49"/>
                      </a:lnTo>
                      <a:lnTo>
                        <a:pt x="117" y="48"/>
                      </a:lnTo>
                      <a:lnTo>
                        <a:pt x="117" y="46"/>
                      </a:lnTo>
                      <a:lnTo>
                        <a:pt x="115" y="44"/>
                      </a:lnTo>
                      <a:lnTo>
                        <a:pt x="115" y="44"/>
                      </a:lnTo>
                      <a:lnTo>
                        <a:pt x="113" y="44"/>
                      </a:lnTo>
                      <a:lnTo>
                        <a:pt x="113" y="44"/>
                      </a:lnTo>
                      <a:lnTo>
                        <a:pt x="111" y="42"/>
                      </a:lnTo>
                      <a:lnTo>
                        <a:pt x="109" y="40"/>
                      </a:lnTo>
                      <a:lnTo>
                        <a:pt x="109" y="38"/>
                      </a:lnTo>
                      <a:lnTo>
                        <a:pt x="107" y="38"/>
                      </a:lnTo>
                      <a:lnTo>
                        <a:pt x="107" y="36"/>
                      </a:lnTo>
                      <a:lnTo>
                        <a:pt x="107" y="33"/>
                      </a:lnTo>
                      <a:lnTo>
                        <a:pt x="107" y="29"/>
                      </a:lnTo>
                      <a:lnTo>
                        <a:pt x="109" y="25"/>
                      </a:lnTo>
                      <a:lnTo>
                        <a:pt x="109" y="22"/>
                      </a:lnTo>
                      <a:lnTo>
                        <a:pt x="111" y="22"/>
                      </a:lnTo>
                      <a:lnTo>
                        <a:pt x="106" y="22"/>
                      </a:lnTo>
                      <a:lnTo>
                        <a:pt x="102" y="20"/>
                      </a:lnTo>
                      <a:lnTo>
                        <a:pt x="98" y="20"/>
                      </a:lnTo>
                      <a:lnTo>
                        <a:pt x="94" y="20"/>
                      </a:lnTo>
                      <a:lnTo>
                        <a:pt x="94" y="20"/>
                      </a:lnTo>
                      <a:lnTo>
                        <a:pt x="93" y="22"/>
                      </a:lnTo>
                      <a:lnTo>
                        <a:pt x="93" y="22"/>
                      </a:lnTo>
                      <a:lnTo>
                        <a:pt x="93" y="25"/>
                      </a:lnTo>
                      <a:lnTo>
                        <a:pt x="91" y="25"/>
                      </a:lnTo>
                      <a:lnTo>
                        <a:pt x="91" y="25"/>
                      </a:lnTo>
                      <a:lnTo>
                        <a:pt x="91" y="29"/>
                      </a:lnTo>
                      <a:lnTo>
                        <a:pt x="91" y="31"/>
                      </a:lnTo>
                      <a:lnTo>
                        <a:pt x="91" y="31"/>
                      </a:lnTo>
                      <a:lnTo>
                        <a:pt x="93" y="33"/>
                      </a:lnTo>
                      <a:lnTo>
                        <a:pt x="93" y="36"/>
                      </a:lnTo>
                      <a:lnTo>
                        <a:pt x="93" y="36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8" y="40"/>
                      </a:lnTo>
                      <a:lnTo>
                        <a:pt x="104" y="40"/>
                      </a:lnTo>
                      <a:lnTo>
                        <a:pt x="104" y="42"/>
                      </a:lnTo>
                      <a:lnTo>
                        <a:pt x="106" y="42"/>
                      </a:lnTo>
                      <a:lnTo>
                        <a:pt x="106" y="44"/>
                      </a:lnTo>
                      <a:lnTo>
                        <a:pt x="106" y="44"/>
                      </a:lnTo>
                      <a:lnTo>
                        <a:pt x="107" y="46"/>
                      </a:lnTo>
                      <a:lnTo>
                        <a:pt x="109" y="48"/>
                      </a:lnTo>
                      <a:lnTo>
                        <a:pt x="111" y="49"/>
                      </a:lnTo>
                      <a:lnTo>
                        <a:pt x="111" y="49"/>
                      </a:lnTo>
                      <a:lnTo>
                        <a:pt x="113" y="49"/>
                      </a:lnTo>
                      <a:lnTo>
                        <a:pt x="113" y="51"/>
                      </a:lnTo>
                      <a:lnTo>
                        <a:pt x="115" y="53"/>
                      </a:lnTo>
                      <a:lnTo>
                        <a:pt x="117" y="53"/>
                      </a:lnTo>
                      <a:lnTo>
                        <a:pt x="117" y="55"/>
                      </a:lnTo>
                      <a:lnTo>
                        <a:pt x="124" y="55"/>
                      </a:lnTo>
                      <a:lnTo>
                        <a:pt x="130" y="55"/>
                      </a:lnTo>
                      <a:lnTo>
                        <a:pt x="137" y="55"/>
                      </a:lnTo>
                      <a:lnTo>
                        <a:pt x="144" y="55"/>
                      </a:lnTo>
                      <a:lnTo>
                        <a:pt x="144" y="55"/>
                      </a:lnTo>
                      <a:lnTo>
                        <a:pt x="146" y="53"/>
                      </a:lnTo>
                      <a:lnTo>
                        <a:pt x="146" y="53"/>
                      </a:lnTo>
                      <a:lnTo>
                        <a:pt x="146" y="53"/>
                      </a:lnTo>
                      <a:lnTo>
                        <a:pt x="144" y="57"/>
                      </a:lnTo>
                      <a:lnTo>
                        <a:pt x="144" y="59"/>
                      </a:lnTo>
                      <a:lnTo>
                        <a:pt x="144" y="59"/>
                      </a:lnTo>
                      <a:lnTo>
                        <a:pt x="144" y="62"/>
                      </a:lnTo>
                      <a:lnTo>
                        <a:pt x="142" y="64"/>
                      </a:lnTo>
                      <a:lnTo>
                        <a:pt x="141" y="66"/>
                      </a:lnTo>
                      <a:lnTo>
                        <a:pt x="141" y="66"/>
                      </a:lnTo>
                      <a:lnTo>
                        <a:pt x="139" y="68"/>
                      </a:lnTo>
                      <a:lnTo>
                        <a:pt x="137" y="70"/>
                      </a:lnTo>
                      <a:lnTo>
                        <a:pt x="135" y="70"/>
                      </a:lnTo>
                      <a:lnTo>
                        <a:pt x="133" y="70"/>
                      </a:lnTo>
                      <a:lnTo>
                        <a:pt x="131" y="72"/>
                      </a:lnTo>
                      <a:lnTo>
                        <a:pt x="126" y="72"/>
                      </a:lnTo>
                      <a:lnTo>
                        <a:pt x="120" y="73"/>
                      </a:lnTo>
                      <a:lnTo>
                        <a:pt x="120" y="73"/>
                      </a:lnTo>
                      <a:lnTo>
                        <a:pt x="113" y="83"/>
                      </a:lnTo>
                      <a:lnTo>
                        <a:pt x="106" y="92"/>
                      </a:lnTo>
                      <a:lnTo>
                        <a:pt x="98" y="101"/>
                      </a:lnTo>
                      <a:lnTo>
                        <a:pt x="93" y="110"/>
                      </a:lnTo>
                      <a:lnTo>
                        <a:pt x="89" y="107"/>
                      </a:lnTo>
                      <a:lnTo>
                        <a:pt x="85" y="103"/>
                      </a:lnTo>
                      <a:lnTo>
                        <a:pt x="83" y="101"/>
                      </a:lnTo>
                      <a:lnTo>
                        <a:pt x="83" y="108"/>
                      </a:lnTo>
                      <a:lnTo>
                        <a:pt x="83" y="116"/>
                      </a:lnTo>
                      <a:lnTo>
                        <a:pt x="83" y="121"/>
                      </a:lnTo>
                      <a:lnTo>
                        <a:pt x="85" y="129"/>
                      </a:lnTo>
                      <a:lnTo>
                        <a:pt x="74" y="129"/>
                      </a:lnTo>
                      <a:lnTo>
                        <a:pt x="63" y="129"/>
                      </a:lnTo>
                      <a:lnTo>
                        <a:pt x="56" y="129"/>
                      </a:lnTo>
                      <a:lnTo>
                        <a:pt x="46" y="127"/>
                      </a:lnTo>
                      <a:lnTo>
                        <a:pt x="43" y="127"/>
                      </a:lnTo>
                      <a:lnTo>
                        <a:pt x="39" y="125"/>
                      </a:lnTo>
                      <a:lnTo>
                        <a:pt x="35" y="125"/>
                      </a:lnTo>
                      <a:lnTo>
                        <a:pt x="32" y="123"/>
                      </a:lnTo>
                      <a:lnTo>
                        <a:pt x="22" y="120"/>
                      </a:lnTo>
                      <a:lnTo>
                        <a:pt x="15" y="114"/>
                      </a:lnTo>
                      <a:lnTo>
                        <a:pt x="19" y="112"/>
                      </a:lnTo>
                      <a:lnTo>
                        <a:pt x="24" y="112"/>
                      </a:lnTo>
                      <a:lnTo>
                        <a:pt x="24" y="112"/>
                      </a:lnTo>
                      <a:lnTo>
                        <a:pt x="22" y="105"/>
                      </a:lnTo>
                      <a:lnTo>
                        <a:pt x="22" y="105"/>
                      </a:lnTo>
                      <a:lnTo>
                        <a:pt x="19" y="99"/>
                      </a:lnTo>
                      <a:lnTo>
                        <a:pt x="15" y="94"/>
                      </a:lnTo>
                      <a:lnTo>
                        <a:pt x="15" y="94"/>
                      </a:lnTo>
                      <a:lnTo>
                        <a:pt x="11" y="90"/>
                      </a:lnTo>
                      <a:lnTo>
                        <a:pt x="8" y="86"/>
                      </a:lnTo>
                      <a:lnTo>
                        <a:pt x="8" y="86"/>
                      </a:lnTo>
                      <a:lnTo>
                        <a:pt x="4" y="83"/>
                      </a:lnTo>
                      <a:lnTo>
                        <a:pt x="4" y="83"/>
                      </a:lnTo>
                      <a:lnTo>
                        <a:pt x="2" y="81"/>
                      </a:lnTo>
                      <a:lnTo>
                        <a:pt x="2" y="79"/>
                      </a:lnTo>
                      <a:lnTo>
                        <a:pt x="2" y="79"/>
                      </a:lnTo>
                      <a:lnTo>
                        <a:pt x="6" y="79"/>
                      </a:lnTo>
                      <a:lnTo>
                        <a:pt x="8" y="79"/>
                      </a:lnTo>
                      <a:lnTo>
                        <a:pt x="10" y="79"/>
                      </a:lnTo>
                      <a:lnTo>
                        <a:pt x="10" y="79"/>
                      </a:lnTo>
                      <a:lnTo>
                        <a:pt x="11" y="79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3" y="75"/>
                      </a:lnTo>
                      <a:lnTo>
                        <a:pt x="13" y="73"/>
                      </a:lnTo>
                      <a:lnTo>
                        <a:pt x="13" y="72"/>
                      </a:lnTo>
                      <a:lnTo>
                        <a:pt x="10" y="72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4" y="70"/>
                      </a:lnTo>
                      <a:lnTo>
                        <a:pt x="0" y="68"/>
                      </a:lnTo>
                      <a:lnTo>
                        <a:pt x="4" y="53"/>
                      </a:lnTo>
                      <a:lnTo>
                        <a:pt x="6" y="42"/>
                      </a:lnTo>
                      <a:lnTo>
                        <a:pt x="6" y="40"/>
                      </a:lnTo>
                      <a:lnTo>
                        <a:pt x="8" y="36"/>
                      </a:lnTo>
                      <a:lnTo>
                        <a:pt x="10" y="35"/>
                      </a:lnTo>
                      <a:lnTo>
                        <a:pt x="11" y="31"/>
                      </a:lnTo>
                      <a:lnTo>
                        <a:pt x="26" y="35"/>
                      </a:lnTo>
                      <a:lnTo>
                        <a:pt x="39" y="38"/>
                      </a:lnTo>
                      <a:lnTo>
                        <a:pt x="48" y="40"/>
                      </a:lnTo>
                      <a:lnTo>
                        <a:pt x="56" y="42"/>
                      </a:lnTo>
                      <a:lnTo>
                        <a:pt x="61" y="44"/>
                      </a:lnTo>
                      <a:lnTo>
                        <a:pt x="61" y="44"/>
                      </a:lnTo>
                      <a:lnTo>
                        <a:pt x="67" y="44"/>
                      </a:lnTo>
                      <a:lnTo>
                        <a:pt x="67" y="44"/>
                      </a:lnTo>
                      <a:lnTo>
                        <a:pt x="72" y="44"/>
                      </a:lnTo>
                      <a:lnTo>
                        <a:pt x="78" y="44"/>
                      </a:lnTo>
                      <a:lnTo>
                        <a:pt x="82" y="44"/>
                      </a:lnTo>
                      <a:lnTo>
                        <a:pt x="74" y="38"/>
                      </a:lnTo>
                      <a:lnTo>
                        <a:pt x="70" y="35"/>
                      </a:lnTo>
                      <a:lnTo>
                        <a:pt x="67" y="33"/>
                      </a:lnTo>
                      <a:lnTo>
                        <a:pt x="63" y="29"/>
                      </a:lnTo>
                      <a:lnTo>
                        <a:pt x="61" y="27"/>
                      </a:lnTo>
                      <a:lnTo>
                        <a:pt x="61" y="24"/>
                      </a:lnTo>
                      <a:lnTo>
                        <a:pt x="59" y="18"/>
                      </a:lnTo>
                      <a:lnTo>
                        <a:pt x="58" y="13"/>
                      </a:lnTo>
                      <a:lnTo>
                        <a:pt x="70" y="11"/>
                      </a:lnTo>
                      <a:lnTo>
                        <a:pt x="82" y="9"/>
                      </a:lnTo>
                      <a:lnTo>
                        <a:pt x="94" y="7"/>
                      </a:lnTo>
                      <a:lnTo>
                        <a:pt x="106" y="3"/>
                      </a:lnTo>
                      <a:lnTo>
                        <a:pt x="117" y="3"/>
                      </a:lnTo>
                      <a:lnTo>
                        <a:pt x="128" y="1"/>
                      </a:lnTo>
                      <a:lnTo>
                        <a:pt x="141" y="1"/>
                      </a:lnTo>
                      <a:lnTo>
                        <a:pt x="154" y="1"/>
                      </a:lnTo>
                      <a:close/>
                      <a:moveTo>
                        <a:pt x="154" y="0"/>
                      </a:moveTo>
                      <a:lnTo>
                        <a:pt x="141" y="0"/>
                      </a:lnTo>
                      <a:lnTo>
                        <a:pt x="128" y="0"/>
                      </a:lnTo>
                      <a:lnTo>
                        <a:pt x="117" y="1"/>
                      </a:lnTo>
                      <a:lnTo>
                        <a:pt x="106" y="3"/>
                      </a:lnTo>
                      <a:lnTo>
                        <a:pt x="93" y="5"/>
                      </a:lnTo>
                      <a:lnTo>
                        <a:pt x="82" y="7"/>
                      </a:lnTo>
                      <a:lnTo>
                        <a:pt x="70" y="9"/>
                      </a:lnTo>
                      <a:lnTo>
                        <a:pt x="56" y="13"/>
                      </a:lnTo>
                      <a:lnTo>
                        <a:pt x="58" y="20"/>
                      </a:lnTo>
                      <a:lnTo>
                        <a:pt x="58" y="20"/>
                      </a:lnTo>
                      <a:lnTo>
                        <a:pt x="59" y="24"/>
                      </a:lnTo>
                      <a:lnTo>
                        <a:pt x="61" y="27"/>
                      </a:lnTo>
                      <a:lnTo>
                        <a:pt x="61" y="27"/>
                      </a:lnTo>
                      <a:lnTo>
                        <a:pt x="63" y="31"/>
                      </a:lnTo>
                      <a:lnTo>
                        <a:pt x="63" y="31"/>
                      </a:lnTo>
                      <a:lnTo>
                        <a:pt x="65" y="33"/>
                      </a:lnTo>
                      <a:lnTo>
                        <a:pt x="69" y="36"/>
                      </a:lnTo>
                      <a:lnTo>
                        <a:pt x="69" y="36"/>
                      </a:lnTo>
                      <a:lnTo>
                        <a:pt x="72" y="40"/>
                      </a:lnTo>
                      <a:lnTo>
                        <a:pt x="76" y="42"/>
                      </a:lnTo>
                      <a:lnTo>
                        <a:pt x="72" y="42"/>
                      </a:lnTo>
                      <a:lnTo>
                        <a:pt x="67" y="42"/>
                      </a:lnTo>
                      <a:lnTo>
                        <a:pt x="61" y="42"/>
                      </a:lnTo>
                      <a:lnTo>
                        <a:pt x="56" y="40"/>
                      </a:lnTo>
                      <a:lnTo>
                        <a:pt x="48" y="38"/>
                      </a:lnTo>
                      <a:lnTo>
                        <a:pt x="39" y="36"/>
                      </a:lnTo>
                      <a:lnTo>
                        <a:pt x="26" y="33"/>
                      </a:lnTo>
                      <a:lnTo>
                        <a:pt x="11" y="29"/>
                      </a:lnTo>
                      <a:lnTo>
                        <a:pt x="8" y="33"/>
                      </a:lnTo>
                      <a:lnTo>
                        <a:pt x="8" y="33"/>
                      </a:lnTo>
                      <a:lnTo>
                        <a:pt x="6" y="36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2" y="51"/>
                      </a:lnTo>
                      <a:lnTo>
                        <a:pt x="0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6" y="72"/>
                      </a:lnTo>
                      <a:lnTo>
                        <a:pt x="10" y="72"/>
                      </a:lnTo>
                      <a:lnTo>
                        <a:pt x="11" y="73"/>
                      </a:lnTo>
                      <a:lnTo>
                        <a:pt x="11" y="75"/>
                      </a:lnTo>
                      <a:lnTo>
                        <a:pt x="11" y="75"/>
                      </a:lnTo>
                      <a:lnTo>
                        <a:pt x="11" y="77"/>
                      </a:lnTo>
                      <a:lnTo>
                        <a:pt x="11" y="77"/>
                      </a:lnTo>
                      <a:lnTo>
                        <a:pt x="10" y="77"/>
                      </a:lnTo>
                      <a:lnTo>
                        <a:pt x="8" y="77"/>
                      </a:lnTo>
                      <a:lnTo>
                        <a:pt x="6" y="77"/>
                      </a:lnTo>
                      <a:lnTo>
                        <a:pt x="2" y="77"/>
                      </a:lnTo>
                      <a:lnTo>
                        <a:pt x="0" y="77"/>
                      </a:lnTo>
                      <a:lnTo>
                        <a:pt x="2" y="79"/>
                      </a:lnTo>
                      <a:lnTo>
                        <a:pt x="2" y="79"/>
                      </a:lnTo>
                      <a:lnTo>
                        <a:pt x="2" y="81"/>
                      </a:lnTo>
                      <a:lnTo>
                        <a:pt x="2" y="81"/>
                      </a:lnTo>
                      <a:lnTo>
                        <a:pt x="2" y="83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8" y="88"/>
                      </a:lnTo>
                      <a:lnTo>
                        <a:pt x="10" y="92"/>
                      </a:lnTo>
                      <a:lnTo>
                        <a:pt x="13" y="96"/>
                      </a:lnTo>
                      <a:lnTo>
                        <a:pt x="17" y="101"/>
                      </a:lnTo>
                      <a:lnTo>
                        <a:pt x="21" y="105"/>
                      </a:lnTo>
                      <a:lnTo>
                        <a:pt x="22" y="110"/>
                      </a:lnTo>
                      <a:lnTo>
                        <a:pt x="19" y="112"/>
                      </a:lnTo>
                      <a:lnTo>
                        <a:pt x="13" y="112"/>
                      </a:lnTo>
                      <a:lnTo>
                        <a:pt x="11" y="114"/>
                      </a:lnTo>
                      <a:lnTo>
                        <a:pt x="22" y="120"/>
                      </a:lnTo>
                      <a:lnTo>
                        <a:pt x="32" y="125"/>
                      </a:lnTo>
                      <a:lnTo>
                        <a:pt x="35" y="125"/>
                      </a:lnTo>
                      <a:lnTo>
                        <a:pt x="39" y="127"/>
                      </a:lnTo>
                      <a:lnTo>
                        <a:pt x="43" y="129"/>
                      </a:lnTo>
                      <a:lnTo>
                        <a:pt x="43" y="129"/>
                      </a:lnTo>
                      <a:lnTo>
                        <a:pt x="46" y="129"/>
                      </a:lnTo>
                      <a:lnTo>
                        <a:pt x="46" y="129"/>
                      </a:lnTo>
                      <a:lnTo>
                        <a:pt x="56" y="129"/>
                      </a:lnTo>
                      <a:lnTo>
                        <a:pt x="63" y="131"/>
                      </a:lnTo>
                      <a:lnTo>
                        <a:pt x="74" y="131"/>
                      </a:lnTo>
                      <a:lnTo>
                        <a:pt x="85" y="129"/>
                      </a:lnTo>
                      <a:lnTo>
                        <a:pt x="85" y="121"/>
                      </a:lnTo>
                      <a:lnTo>
                        <a:pt x="85" y="116"/>
                      </a:lnTo>
                      <a:lnTo>
                        <a:pt x="85" y="108"/>
                      </a:lnTo>
                      <a:lnTo>
                        <a:pt x="85" y="105"/>
                      </a:lnTo>
                      <a:lnTo>
                        <a:pt x="87" y="107"/>
                      </a:lnTo>
                      <a:lnTo>
                        <a:pt x="93" y="110"/>
                      </a:lnTo>
                      <a:lnTo>
                        <a:pt x="93" y="112"/>
                      </a:lnTo>
                      <a:lnTo>
                        <a:pt x="100" y="101"/>
                      </a:lnTo>
                      <a:lnTo>
                        <a:pt x="107" y="92"/>
                      </a:lnTo>
                      <a:lnTo>
                        <a:pt x="115" y="83"/>
                      </a:lnTo>
                      <a:lnTo>
                        <a:pt x="120" y="73"/>
                      </a:lnTo>
                      <a:lnTo>
                        <a:pt x="126" y="73"/>
                      </a:lnTo>
                      <a:lnTo>
                        <a:pt x="131" y="72"/>
                      </a:lnTo>
                      <a:lnTo>
                        <a:pt x="131" y="72"/>
                      </a:lnTo>
                      <a:lnTo>
                        <a:pt x="133" y="72"/>
                      </a:lnTo>
                      <a:lnTo>
                        <a:pt x="135" y="72"/>
                      </a:lnTo>
                      <a:lnTo>
                        <a:pt x="137" y="70"/>
                      </a:lnTo>
                      <a:lnTo>
                        <a:pt x="137" y="70"/>
                      </a:lnTo>
                      <a:lnTo>
                        <a:pt x="139" y="70"/>
                      </a:lnTo>
                      <a:lnTo>
                        <a:pt x="141" y="68"/>
                      </a:lnTo>
                      <a:lnTo>
                        <a:pt x="142" y="66"/>
                      </a:lnTo>
                      <a:lnTo>
                        <a:pt x="142" y="66"/>
                      </a:lnTo>
                      <a:lnTo>
                        <a:pt x="144" y="64"/>
                      </a:lnTo>
                      <a:lnTo>
                        <a:pt x="144" y="62"/>
                      </a:lnTo>
                      <a:lnTo>
                        <a:pt x="144" y="62"/>
                      </a:lnTo>
                      <a:lnTo>
                        <a:pt x="146" y="60"/>
                      </a:lnTo>
                      <a:lnTo>
                        <a:pt x="146" y="57"/>
                      </a:lnTo>
                      <a:lnTo>
                        <a:pt x="148" y="55"/>
                      </a:lnTo>
                      <a:lnTo>
                        <a:pt x="148" y="55"/>
                      </a:lnTo>
                      <a:lnTo>
                        <a:pt x="148" y="51"/>
                      </a:lnTo>
                      <a:lnTo>
                        <a:pt x="148" y="49"/>
                      </a:lnTo>
                      <a:lnTo>
                        <a:pt x="144" y="51"/>
                      </a:lnTo>
                      <a:lnTo>
                        <a:pt x="144" y="51"/>
                      </a:lnTo>
                      <a:lnTo>
                        <a:pt x="144" y="53"/>
                      </a:lnTo>
                      <a:lnTo>
                        <a:pt x="137" y="53"/>
                      </a:lnTo>
                      <a:lnTo>
                        <a:pt x="130" y="53"/>
                      </a:lnTo>
                      <a:lnTo>
                        <a:pt x="124" y="53"/>
                      </a:lnTo>
                      <a:lnTo>
                        <a:pt x="117" y="53"/>
                      </a:lnTo>
                      <a:lnTo>
                        <a:pt x="117" y="51"/>
                      </a:lnTo>
                      <a:lnTo>
                        <a:pt x="115" y="49"/>
                      </a:lnTo>
                      <a:lnTo>
                        <a:pt x="113" y="49"/>
                      </a:lnTo>
                      <a:lnTo>
                        <a:pt x="111" y="48"/>
                      </a:lnTo>
                      <a:lnTo>
                        <a:pt x="109" y="46"/>
                      </a:lnTo>
                      <a:lnTo>
                        <a:pt x="109" y="44"/>
                      </a:lnTo>
                      <a:lnTo>
                        <a:pt x="107" y="44"/>
                      </a:lnTo>
                      <a:lnTo>
                        <a:pt x="107" y="42"/>
                      </a:lnTo>
                      <a:lnTo>
                        <a:pt x="107" y="42"/>
                      </a:lnTo>
                      <a:lnTo>
                        <a:pt x="106" y="40"/>
                      </a:lnTo>
                      <a:lnTo>
                        <a:pt x="104" y="38"/>
                      </a:lnTo>
                      <a:lnTo>
                        <a:pt x="104" y="38"/>
                      </a:lnTo>
                      <a:lnTo>
                        <a:pt x="98" y="38"/>
                      </a:lnTo>
                      <a:lnTo>
                        <a:pt x="94" y="38"/>
                      </a:lnTo>
                      <a:lnTo>
                        <a:pt x="94" y="36"/>
                      </a:lnTo>
                      <a:lnTo>
                        <a:pt x="93" y="33"/>
                      </a:lnTo>
                      <a:lnTo>
                        <a:pt x="93" y="31"/>
                      </a:lnTo>
                      <a:lnTo>
                        <a:pt x="93" y="29"/>
                      </a:lnTo>
                      <a:lnTo>
                        <a:pt x="93" y="27"/>
                      </a:lnTo>
                      <a:lnTo>
                        <a:pt x="93" y="25"/>
                      </a:lnTo>
                      <a:lnTo>
                        <a:pt x="93" y="25"/>
                      </a:lnTo>
                      <a:lnTo>
                        <a:pt x="94" y="24"/>
                      </a:lnTo>
                      <a:lnTo>
                        <a:pt x="94" y="22"/>
                      </a:lnTo>
                      <a:lnTo>
                        <a:pt x="98" y="22"/>
                      </a:lnTo>
                      <a:lnTo>
                        <a:pt x="102" y="22"/>
                      </a:lnTo>
                      <a:lnTo>
                        <a:pt x="106" y="22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7" y="25"/>
                      </a:lnTo>
                      <a:lnTo>
                        <a:pt x="107" y="29"/>
                      </a:lnTo>
                      <a:lnTo>
                        <a:pt x="106" y="33"/>
                      </a:lnTo>
                      <a:lnTo>
                        <a:pt x="106" y="36"/>
                      </a:lnTo>
                      <a:lnTo>
                        <a:pt x="106" y="38"/>
                      </a:lnTo>
                      <a:lnTo>
                        <a:pt x="106" y="38"/>
                      </a:lnTo>
                      <a:lnTo>
                        <a:pt x="106" y="38"/>
                      </a:lnTo>
                      <a:lnTo>
                        <a:pt x="107" y="40"/>
                      </a:lnTo>
                      <a:lnTo>
                        <a:pt x="109" y="42"/>
                      </a:lnTo>
                      <a:lnTo>
                        <a:pt x="111" y="42"/>
                      </a:lnTo>
                      <a:lnTo>
                        <a:pt x="111" y="44"/>
                      </a:lnTo>
                      <a:lnTo>
                        <a:pt x="113" y="44"/>
                      </a:lnTo>
                      <a:lnTo>
                        <a:pt x="113" y="46"/>
                      </a:lnTo>
                      <a:lnTo>
                        <a:pt x="115" y="48"/>
                      </a:lnTo>
                      <a:lnTo>
                        <a:pt x="115" y="48"/>
                      </a:lnTo>
                      <a:lnTo>
                        <a:pt x="117" y="49"/>
                      </a:lnTo>
                      <a:lnTo>
                        <a:pt x="117" y="49"/>
                      </a:lnTo>
                      <a:lnTo>
                        <a:pt x="118" y="51"/>
                      </a:lnTo>
                      <a:lnTo>
                        <a:pt x="118" y="51"/>
                      </a:lnTo>
                      <a:lnTo>
                        <a:pt x="126" y="51"/>
                      </a:lnTo>
                      <a:lnTo>
                        <a:pt x="131" y="51"/>
                      </a:lnTo>
                      <a:lnTo>
                        <a:pt x="137" y="51"/>
                      </a:lnTo>
                      <a:lnTo>
                        <a:pt x="142" y="51"/>
                      </a:lnTo>
                      <a:lnTo>
                        <a:pt x="142" y="51"/>
                      </a:lnTo>
                      <a:lnTo>
                        <a:pt x="144" y="49"/>
                      </a:lnTo>
                      <a:lnTo>
                        <a:pt x="144" y="49"/>
                      </a:lnTo>
                      <a:lnTo>
                        <a:pt x="148" y="48"/>
                      </a:lnTo>
                      <a:lnTo>
                        <a:pt x="150" y="44"/>
                      </a:lnTo>
                      <a:lnTo>
                        <a:pt x="154" y="44"/>
                      </a:lnTo>
                      <a:lnTo>
                        <a:pt x="157" y="42"/>
                      </a:lnTo>
                      <a:lnTo>
                        <a:pt x="157" y="42"/>
                      </a:lnTo>
                      <a:lnTo>
                        <a:pt x="157" y="35"/>
                      </a:lnTo>
                      <a:lnTo>
                        <a:pt x="157" y="35"/>
                      </a:lnTo>
                      <a:lnTo>
                        <a:pt x="157" y="29"/>
                      </a:lnTo>
                      <a:lnTo>
                        <a:pt x="157" y="25"/>
                      </a:lnTo>
                      <a:lnTo>
                        <a:pt x="155" y="20"/>
                      </a:lnTo>
                      <a:lnTo>
                        <a:pt x="155" y="16"/>
                      </a:lnTo>
                      <a:lnTo>
                        <a:pt x="154" y="11"/>
                      </a:lnTo>
                      <a:lnTo>
                        <a:pt x="154" y="7"/>
                      </a:lnTo>
                      <a:lnTo>
                        <a:pt x="154" y="0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0" name="Freeform 3054"/>
                <p:cNvSpPr>
                  <a:spLocks/>
                </p:cNvSpPr>
                <p:nvPr/>
              </p:nvSpPr>
              <p:spPr bwMode="auto">
                <a:xfrm>
                  <a:off x="3892" y="819"/>
                  <a:ext cx="155" cy="128"/>
                </a:xfrm>
                <a:custGeom>
                  <a:avLst/>
                  <a:gdLst>
                    <a:gd name="T0" fmla="*/ 152 w 155"/>
                    <a:gd name="T1" fmla="*/ 6 h 128"/>
                    <a:gd name="T2" fmla="*/ 154 w 155"/>
                    <a:gd name="T3" fmla="*/ 10 h 128"/>
                    <a:gd name="T4" fmla="*/ 155 w 155"/>
                    <a:gd name="T5" fmla="*/ 24 h 128"/>
                    <a:gd name="T6" fmla="*/ 155 w 155"/>
                    <a:gd name="T7" fmla="*/ 39 h 128"/>
                    <a:gd name="T8" fmla="*/ 146 w 155"/>
                    <a:gd name="T9" fmla="*/ 45 h 128"/>
                    <a:gd name="T10" fmla="*/ 144 w 155"/>
                    <a:gd name="T11" fmla="*/ 47 h 128"/>
                    <a:gd name="T12" fmla="*/ 142 w 155"/>
                    <a:gd name="T13" fmla="*/ 48 h 128"/>
                    <a:gd name="T14" fmla="*/ 126 w 155"/>
                    <a:gd name="T15" fmla="*/ 48 h 128"/>
                    <a:gd name="T16" fmla="*/ 117 w 155"/>
                    <a:gd name="T17" fmla="*/ 47 h 128"/>
                    <a:gd name="T18" fmla="*/ 115 w 155"/>
                    <a:gd name="T19" fmla="*/ 43 h 128"/>
                    <a:gd name="T20" fmla="*/ 111 w 155"/>
                    <a:gd name="T21" fmla="*/ 41 h 128"/>
                    <a:gd name="T22" fmla="*/ 107 w 155"/>
                    <a:gd name="T23" fmla="*/ 37 h 128"/>
                    <a:gd name="T24" fmla="*/ 107 w 155"/>
                    <a:gd name="T25" fmla="*/ 28 h 128"/>
                    <a:gd name="T26" fmla="*/ 111 w 155"/>
                    <a:gd name="T27" fmla="*/ 21 h 128"/>
                    <a:gd name="T28" fmla="*/ 98 w 155"/>
                    <a:gd name="T29" fmla="*/ 19 h 128"/>
                    <a:gd name="T30" fmla="*/ 93 w 155"/>
                    <a:gd name="T31" fmla="*/ 21 h 128"/>
                    <a:gd name="T32" fmla="*/ 91 w 155"/>
                    <a:gd name="T33" fmla="*/ 24 h 128"/>
                    <a:gd name="T34" fmla="*/ 91 w 155"/>
                    <a:gd name="T35" fmla="*/ 30 h 128"/>
                    <a:gd name="T36" fmla="*/ 93 w 155"/>
                    <a:gd name="T37" fmla="*/ 35 h 128"/>
                    <a:gd name="T38" fmla="*/ 94 w 155"/>
                    <a:gd name="T39" fmla="*/ 39 h 128"/>
                    <a:gd name="T40" fmla="*/ 104 w 155"/>
                    <a:gd name="T41" fmla="*/ 41 h 128"/>
                    <a:gd name="T42" fmla="*/ 106 w 155"/>
                    <a:gd name="T43" fmla="*/ 43 h 128"/>
                    <a:gd name="T44" fmla="*/ 111 w 155"/>
                    <a:gd name="T45" fmla="*/ 48 h 128"/>
                    <a:gd name="T46" fmla="*/ 113 w 155"/>
                    <a:gd name="T47" fmla="*/ 50 h 128"/>
                    <a:gd name="T48" fmla="*/ 117 w 155"/>
                    <a:gd name="T49" fmla="*/ 54 h 128"/>
                    <a:gd name="T50" fmla="*/ 137 w 155"/>
                    <a:gd name="T51" fmla="*/ 54 h 128"/>
                    <a:gd name="T52" fmla="*/ 146 w 155"/>
                    <a:gd name="T53" fmla="*/ 52 h 128"/>
                    <a:gd name="T54" fmla="*/ 144 w 155"/>
                    <a:gd name="T55" fmla="*/ 56 h 128"/>
                    <a:gd name="T56" fmla="*/ 144 w 155"/>
                    <a:gd name="T57" fmla="*/ 61 h 128"/>
                    <a:gd name="T58" fmla="*/ 141 w 155"/>
                    <a:gd name="T59" fmla="*/ 65 h 128"/>
                    <a:gd name="T60" fmla="*/ 135 w 155"/>
                    <a:gd name="T61" fmla="*/ 69 h 128"/>
                    <a:gd name="T62" fmla="*/ 126 w 155"/>
                    <a:gd name="T63" fmla="*/ 71 h 128"/>
                    <a:gd name="T64" fmla="*/ 113 w 155"/>
                    <a:gd name="T65" fmla="*/ 82 h 128"/>
                    <a:gd name="T66" fmla="*/ 93 w 155"/>
                    <a:gd name="T67" fmla="*/ 109 h 128"/>
                    <a:gd name="T68" fmla="*/ 83 w 155"/>
                    <a:gd name="T69" fmla="*/ 100 h 128"/>
                    <a:gd name="T70" fmla="*/ 83 w 155"/>
                    <a:gd name="T71" fmla="*/ 120 h 128"/>
                    <a:gd name="T72" fmla="*/ 63 w 155"/>
                    <a:gd name="T73" fmla="*/ 128 h 128"/>
                    <a:gd name="T74" fmla="*/ 43 w 155"/>
                    <a:gd name="T75" fmla="*/ 126 h 128"/>
                    <a:gd name="T76" fmla="*/ 32 w 155"/>
                    <a:gd name="T77" fmla="*/ 122 h 128"/>
                    <a:gd name="T78" fmla="*/ 19 w 155"/>
                    <a:gd name="T79" fmla="*/ 111 h 128"/>
                    <a:gd name="T80" fmla="*/ 22 w 155"/>
                    <a:gd name="T81" fmla="*/ 104 h 128"/>
                    <a:gd name="T82" fmla="*/ 15 w 155"/>
                    <a:gd name="T83" fmla="*/ 93 h 128"/>
                    <a:gd name="T84" fmla="*/ 8 w 155"/>
                    <a:gd name="T85" fmla="*/ 85 h 128"/>
                    <a:gd name="T86" fmla="*/ 4 w 155"/>
                    <a:gd name="T87" fmla="*/ 82 h 128"/>
                    <a:gd name="T88" fmla="*/ 2 w 155"/>
                    <a:gd name="T89" fmla="*/ 78 h 128"/>
                    <a:gd name="T90" fmla="*/ 10 w 155"/>
                    <a:gd name="T91" fmla="*/ 78 h 128"/>
                    <a:gd name="T92" fmla="*/ 13 w 155"/>
                    <a:gd name="T93" fmla="*/ 76 h 128"/>
                    <a:gd name="T94" fmla="*/ 13 w 155"/>
                    <a:gd name="T95" fmla="*/ 76 h 128"/>
                    <a:gd name="T96" fmla="*/ 13 w 155"/>
                    <a:gd name="T97" fmla="*/ 71 h 128"/>
                    <a:gd name="T98" fmla="*/ 6 w 155"/>
                    <a:gd name="T99" fmla="*/ 69 h 128"/>
                    <a:gd name="T100" fmla="*/ 4 w 155"/>
                    <a:gd name="T101" fmla="*/ 52 h 128"/>
                    <a:gd name="T102" fmla="*/ 8 w 155"/>
                    <a:gd name="T103" fmla="*/ 35 h 128"/>
                    <a:gd name="T104" fmla="*/ 26 w 155"/>
                    <a:gd name="T105" fmla="*/ 34 h 128"/>
                    <a:gd name="T106" fmla="*/ 56 w 155"/>
                    <a:gd name="T107" fmla="*/ 41 h 128"/>
                    <a:gd name="T108" fmla="*/ 67 w 155"/>
                    <a:gd name="T109" fmla="*/ 43 h 128"/>
                    <a:gd name="T110" fmla="*/ 78 w 155"/>
                    <a:gd name="T111" fmla="*/ 43 h 128"/>
                    <a:gd name="T112" fmla="*/ 70 w 155"/>
                    <a:gd name="T113" fmla="*/ 34 h 128"/>
                    <a:gd name="T114" fmla="*/ 61 w 155"/>
                    <a:gd name="T115" fmla="*/ 26 h 128"/>
                    <a:gd name="T116" fmla="*/ 58 w 155"/>
                    <a:gd name="T117" fmla="*/ 12 h 128"/>
                    <a:gd name="T118" fmla="*/ 94 w 155"/>
                    <a:gd name="T119" fmla="*/ 6 h 128"/>
                    <a:gd name="T120" fmla="*/ 128 w 155"/>
                    <a:gd name="T121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5" h="128"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52" y="6"/>
                      </a:lnTo>
                      <a:lnTo>
                        <a:pt x="152" y="6"/>
                      </a:lnTo>
                      <a:lnTo>
                        <a:pt x="154" y="10"/>
                      </a:lnTo>
                      <a:lnTo>
                        <a:pt x="154" y="10"/>
                      </a:lnTo>
                      <a:lnTo>
                        <a:pt x="154" y="15"/>
                      </a:lnTo>
                      <a:lnTo>
                        <a:pt x="155" y="19"/>
                      </a:lnTo>
                      <a:lnTo>
                        <a:pt x="155" y="24"/>
                      </a:lnTo>
                      <a:lnTo>
                        <a:pt x="155" y="28"/>
                      </a:lnTo>
                      <a:lnTo>
                        <a:pt x="155" y="34"/>
                      </a:lnTo>
                      <a:lnTo>
                        <a:pt x="155" y="39"/>
                      </a:lnTo>
                      <a:lnTo>
                        <a:pt x="154" y="41"/>
                      </a:lnTo>
                      <a:lnTo>
                        <a:pt x="150" y="43"/>
                      </a:lnTo>
                      <a:lnTo>
                        <a:pt x="146" y="45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4" y="47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37" y="48"/>
                      </a:lnTo>
                      <a:lnTo>
                        <a:pt x="131" y="48"/>
                      </a:lnTo>
                      <a:lnTo>
                        <a:pt x="126" y="48"/>
                      </a:lnTo>
                      <a:lnTo>
                        <a:pt x="120" y="48"/>
                      </a:lnTo>
                      <a:lnTo>
                        <a:pt x="118" y="48"/>
                      </a:lnTo>
                      <a:lnTo>
                        <a:pt x="117" y="47"/>
                      </a:lnTo>
                      <a:lnTo>
                        <a:pt x="117" y="45"/>
                      </a:lnTo>
                      <a:lnTo>
                        <a:pt x="115" y="43"/>
                      </a:lnTo>
                      <a:lnTo>
                        <a:pt x="115" y="43"/>
                      </a:lnTo>
                      <a:lnTo>
                        <a:pt x="113" y="43"/>
                      </a:lnTo>
                      <a:lnTo>
                        <a:pt x="113" y="43"/>
                      </a:lnTo>
                      <a:lnTo>
                        <a:pt x="111" y="41"/>
                      </a:lnTo>
                      <a:lnTo>
                        <a:pt x="109" y="39"/>
                      </a:lnTo>
                      <a:lnTo>
                        <a:pt x="109" y="37"/>
                      </a:lnTo>
                      <a:lnTo>
                        <a:pt x="107" y="37"/>
                      </a:lnTo>
                      <a:lnTo>
                        <a:pt x="107" y="35"/>
                      </a:lnTo>
                      <a:lnTo>
                        <a:pt x="107" y="32"/>
                      </a:lnTo>
                      <a:lnTo>
                        <a:pt x="107" y="28"/>
                      </a:lnTo>
                      <a:lnTo>
                        <a:pt x="109" y="24"/>
                      </a:lnTo>
                      <a:lnTo>
                        <a:pt x="109" y="21"/>
                      </a:lnTo>
                      <a:lnTo>
                        <a:pt x="111" y="21"/>
                      </a:lnTo>
                      <a:lnTo>
                        <a:pt x="106" y="21"/>
                      </a:lnTo>
                      <a:lnTo>
                        <a:pt x="102" y="19"/>
                      </a:lnTo>
                      <a:lnTo>
                        <a:pt x="98" y="19"/>
                      </a:lnTo>
                      <a:lnTo>
                        <a:pt x="94" y="19"/>
                      </a:lnTo>
                      <a:lnTo>
                        <a:pt x="94" y="19"/>
                      </a:lnTo>
                      <a:lnTo>
                        <a:pt x="93" y="21"/>
                      </a:lnTo>
                      <a:lnTo>
                        <a:pt x="93" y="21"/>
                      </a:lnTo>
                      <a:lnTo>
                        <a:pt x="93" y="24"/>
                      </a:lnTo>
                      <a:lnTo>
                        <a:pt x="91" y="24"/>
                      </a:lnTo>
                      <a:lnTo>
                        <a:pt x="91" y="24"/>
                      </a:lnTo>
                      <a:lnTo>
                        <a:pt x="91" y="28"/>
                      </a:lnTo>
                      <a:lnTo>
                        <a:pt x="91" y="30"/>
                      </a:lnTo>
                      <a:lnTo>
                        <a:pt x="91" y="30"/>
                      </a:lnTo>
                      <a:lnTo>
                        <a:pt x="93" y="32"/>
                      </a:lnTo>
                      <a:lnTo>
                        <a:pt x="93" y="35"/>
                      </a:lnTo>
                      <a:lnTo>
                        <a:pt x="93" y="35"/>
                      </a:lnTo>
                      <a:lnTo>
                        <a:pt x="94" y="39"/>
                      </a:lnTo>
                      <a:lnTo>
                        <a:pt x="94" y="39"/>
                      </a:lnTo>
                      <a:lnTo>
                        <a:pt x="98" y="39"/>
                      </a:lnTo>
                      <a:lnTo>
                        <a:pt x="104" y="39"/>
                      </a:lnTo>
                      <a:lnTo>
                        <a:pt x="104" y="41"/>
                      </a:lnTo>
                      <a:lnTo>
                        <a:pt x="106" y="41"/>
                      </a:lnTo>
                      <a:lnTo>
                        <a:pt x="106" y="43"/>
                      </a:lnTo>
                      <a:lnTo>
                        <a:pt x="106" y="43"/>
                      </a:lnTo>
                      <a:lnTo>
                        <a:pt x="107" y="45"/>
                      </a:lnTo>
                      <a:lnTo>
                        <a:pt x="109" y="47"/>
                      </a:lnTo>
                      <a:lnTo>
                        <a:pt x="111" y="48"/>
                      </a:lnTo>
                      <a:lnTo>
                        <a:pt x="111" y="48"/>
                      </a:lnTo>
                      <a:lnTo>
                        <a:pt x="113" y="48"/>
                      </a:lnTo>
                      <a:lnTo>
                        <a:pt x="113" y="50"/>
                      </a:lnTo>
                      <a:lnTo>
                        <a:pt x="115" y="52"/>
                      </a:lnTo>
                      <a:lnTo>
                        <a:pt x="117" y="52"/>
                      </a:lnTo>
                      <a:lnTo>
                        <a:pt x="117" y="54"/>
                      </a:lnTo>
                      <a:lnTo>
                        <a:pt x="124" y="54"/>
                      </a:lnTo>
                      <a:lnTo>
                        <a:pt x="130" y="54"/>
                      </a:lnTo>
                      <a:lnTo>
                        <a:pt x="137" y="54"/>
                      </a:lnTo>
                      <a:lnTo>
                        <a:pt x="144" y="54"/>
                      </a:lnTo>
                      <a:lnTo>
                        <a:pt x="144" y="54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6" y="52"/>
                      </a:lnTo>
                      <a:lnTo>
                        <a:pt x="144" y="56"/>
                      </a:lnTo>
                      <a:lnTo>
                        <a:pt x="144" y="58"/>
                      </a:lnTo>
                      <a:lnTo>
                        <a:pt x="144" y="58"/>
                      </a:lnTo>
                      <a:lnTo>
                        <a:pt x="144" y="61"/>
                      </a:lnTo>
                      <a:lnTo>
                        <a:pt x="142" y="63"/>
                      </a:lnTo>
                      <a:lnTo>
                        <a:pt x="141" y="65"/>
                      </a:lnTo>
                      <a:lnTo>
                        <a:pt x="141" y="65"/>
                      </a:lnTo>
                      <a:lnTo>
                        <a:pt x="139" y="67"/>
                      </a:lnTo>
                      <a:lnTo>
                        <a:pt x="137" y="69"/>
                      </a:lnTo>
                      <a:lnTo>
                        <a:pt x="135" y="69"/>
                      </a:lnTo>
                      <a:lnTo>
                        <a:pt x="133" y="69"/>
                      </a:lnTo>
                      <a:lnTo>
                        <a:pt x="131" y="71"/>
                      </a:lnTo>
                      <a:lnTo>
                        <a:pt x="126" y="71"/>
                      </a:lnTo>
                      <a:lnTo>
                        <a:pt x="120" y="72"/>
                      </a:lnTo>
                      <a:lnTo>
                        <a:pt x="120" y="72"/>
                      </a:lnTo>
                      <a:lnTo>
                        <a:pt x="113" y="82"/>
                      </a:lnTo>
                      <a:lnTo>
                        <a:pt x="106" y="91"/>
                      </a:lnTo>
                      <a:lnTo>
                        <a:pt x="98" y="100"/>
                      </a:lnTo>
                      <a:lnTo>
                        <a:pt x="93" y="109"/>
                      </a:lnTo>
                      <a:lnTo>
                        <a:pt x="89" y="106"/>
                      </a:lnTo>
                      <a:lnTo>
                        <a:pt x="85" y="102"/>
                      </a:lnTo>
                      <a:lnTo>
                        <a:pt x="83" y="100"/>
                      </a:lnTo>
                      <a:lnTo>
                        <a:pt x="83" y="107"/>
                      </a:lnTo>
                      <a:lnTo>
                        <a:pt x="83" y="115"/>
                      </a:lnTo>
                      <a:lnTo>
                        <a:pt x="83" y="120"/>
                      </a:lnTo>
                      <a:lnTo>
                        <a:pt x="85" y="128"/>
                      </a:lnTo>
                      <a:lnTo>
                        <a:pt x="74" y="128"/>
                      </a:lnTo>
                      <a:lnTo>
                        <a:pt x="63" y="128"/>
                      </a:lnTo>
                      <a:lnTo>
                        <a:pt x="56" y="128"/>
                      </a:lnTo>
                      <a:lnTo>
                        <a:pt x="46" y="126"/>
                      </a:lnTo>
                      <a:lnTo>
                        <a:pt x="43" y="126"/>
                      </a:lnTo>
                      <a:lnTo>
                        <a:pt x="39" y="124"/>
                      </a:lnTo>
                      <a:lnTo>
                        <a:pt x="35" y="124"/>
                      </a:lnTo>
                      <a:lnTo>
                        <a:pt x="32" y="122"/>
                      </a:lnTo>
                      <a:lnTo>
                        <a:pt x="22" y="119"/>
                      </a:lnTo>
                      <a:lnTo>
                        <a:pt x="15" y="113"/>
                      </a:lnTo>
                      <a:lnTo>
                        <a:pt x="19" y="111"/>
                      </a:lnTo>
                      <a:lnTo>
                        <a:pt x="24" y="111"/>
                      </a:lnTo>
                      <a:lnTo>
                        <a:pt x="24" y="111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19" y="98"/>
                      </a:lnTo>
                      <a:lnTo>
                        <a:pt x="15" y="93"/>
                      </a:lnTo>
                      <a:lnTo>
                        <a:pt x="15" y="93"/>
                      </a:lnTo>
                      <a:lnTo>
                        <a:pt x="11" y="89"/>
                      </a:lnTo>
                      <a:lnTo>
                        <a:pt x="8" y="85"/>
                      </a:lnTo>
                      <a:lnTo>
                        <a:pt x="8" y="85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2" y="80"/>
                      </a:lnTo>
                      <a:lnTo>
                        <a:pt x="2" y="78"/>
                      </a:lnTo>
                      <a:lnTo>
                        <a:pt x="2" y="78"/>
                      </a:lnTo>
                      <a:lnTo>
                        <a:pt x="6" y="78"/>
                      </a:lnTo>
                      <a:lnTo>
                        <a:pt x="8" y="78"/>
                      </a:lnTo>
                      <a:lnTo>
                        <a:pt x="10" y="78"/>
                      </a:lnTo>
                      <a:lnTo>
                        <a:pt x="10" y="78"/>
                      </a:lnTo>
                      <a:lnTo>
                        <a:pt x="11" y="78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6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3" y="71"/>
                      </a:lnTo>
                      <a:lnTo>
                        <a:pt x="10" y="71"/>
                      </a:lnTo>
                      <a:lnTo>
                        <a:pt x="6" y="69"/>
                      </a:lnTo>
                      <a:lnTo>
                        <a:pt x="6" y="69"/>
                      </a:lnTo>
                      <a:lnTo>
                        <a:pt x="4" y="69"/>
                      </a:lnTo>
                      <a:lnTo>
                        <a:pt x="0" y="67"/>
                      </a:lnTo>
                      <a:lnTo>
                        <a:pt x="4" y="52"/>
                      </a:lnTo>
                      <a:lnTo>
                        <a:pt x="6" y="41"/>
                      </a:lnTo>
                      <a:lnTo>
                        <a:pt x="6" y="39"/>
                      </a:lnTo>
                      <a:lnTo>
                        <a:pt x="8" y="35"/>
                      </a:lnTo>
                      <a:lnTo>
                        <a:pt x="10" y="34"/>
                      </a:lnTo>
                      <a:lnTo>
                        <a:pt x="11" y="30"/>
                      </a:lnTo>
                      <a:lnTo>
                        <a:pt x="26" y="34"/>
                      </a:lnTo>
                      <a:lnTo>
                        <a:pt x="39" y="37"/>
                      </a:lnTo>
                      <a:lnTo>
                        <a:pt x="48" y="39"/>
                      </a:lnTo>
                      <a:lnTo>
                        <a:pt x="56" y="41"/>
                      </a:lnTo>
                      <a:lnTo>
                        <a:pt x="61" y="43"/>
                      </a:lnTo>
                      <a:lnTo>
                        <a:pt x="61" y="43"/>
                      </a:lnTo>
                      <a:lnTo>
                        <a:pt x="67" y="43"/>
                      </a:lnTo>
                      <a:lnTo>
                        <a:pt x="67" y="43"/>
                      </a:lnTo>
                      <a:lnTo>
                        <a:pt x="72" y="43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74" y="37"/>
                      </a:lnTo>
                      <a:lnTo>
                        <a:pt x="70" y="34"/>
                      </a:lnTo>
                      <a:lnTo>
                        <a:pt x="67" y="32"/>
                      </a:lnTo>
                      <a:lnTo>
                        <a:pt x="63" y="28"/>
                      </a:lnTo>
                      <a:lnTo>
                        <a:pt x="61" y="26"/>
                      </a:lnTo>
                      <a:lnTo>
                        <a:pt x="61" y="23"/>
                      </a:lnTo>
                      <a:lnTo>
                        <a:pt x="59" y="17"/>
                      </a:lnTo>
                      <a:lnTo>
                        <a:pt x="58" y="12"/>
                      </a:lnTo>
                      <a:lnTo>
                        <a:pt x="70" y="10"/>
                      </a:lnTo>
                      <a:lnTo>
                        <a:pt x="82" y="8"/>
                      </a:lnTo>
                      <a:lnTo>
                        <a:pt x="94" y="6"/>
                      </a:lnTo>
                      <a:lnTo>
                        <a:pt x="106" y="2"/>
                      </a:lnTo>
                      <a:lnTo>
                        <a:pt x="117" y="2"/>
                      </a:lnTo>
                      <a:lnTo>
                        <a:pt x="128" y="0"/>
                      </a:lnTo>
                      <a:lnTo>
                        <a:pt x="141" y="0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1" name="Freeform 3055"/>
                <p:cNvSpPr>
                  <a:spLocks/>
                </p:cNvSpPr>
                <p:nvPr/>
              </p:nvSpPr>
              <p:spPr bwMode="auto">
                <a:xfrm>
                  <a:off x="3892" y="818"/>
                  <a:ext cx="157" cy="131"/>
                </a:xfrm>
                <a:custGeom>
                  <a:avLst/>
                  <a:gdLst>
                    <a:gd name="T0" fmla="*/ 128 w 157"/>
                    <a:gd name="T1" fmla="*/ 0 h 131"/>
                    <a:gd name="T2" fmla="*/ 93 w 157"/>
                    <a:gd name="T3" fmla="*/ 5 h 131"/>
                    <a:gd name="T4" fmla="*/ 56 w 157"/>
                    <a:gd name="T5" fmla="*/ 13 h 131"/>
                    <a:gd name="T6" fmla="*/ 59 w 157"/>
                    <a:gd name="T7" fmla="*/ 24 h 131"/>
                    <a:gd name="T8" fmla="*/ 63 w 157"/>
                    <a:gd name="T9" fmla="*/ 31 h 131"/>
                    <a:gd name="T10" fmla="*/ 69 w 157"/>
                    <a:gd name="T11" fmla="*/ 36 h 131"/>
                    <a:gd name="T12" fmla="*/ 76 w 157"/>
                    <a:gd name="T13" fmla="*/ 42 h 131"/>
                    <a:gd name="T14" fmla="*/ 61 w 157"/>
                    <a:gd name="T15" fmla="*/ 42 h 131"/>
                    <a:gd name="T16" fmla="*/ 39 w 157"/>
                    <a:gd name="T17" fmla="*/ 36 h 131"/>
                    <a:gd name="T18" fmla="*/ 8 w 157"/>
                    <a:gd name="T19" fmla="*/ 33 h 131"/>
                    <a:gd name="T20" fmla="*/ 6 w 157"/>
                    <a:gd name="T21" fmla="*/ 38 h 131"/>
                    <a:gd name="T22" fmla="*/ 4 w 157"/>
                    <a:gd name="T23" fmla="*/ 42 h 131"/>
                    <a:gd name="T24" fmla="*/ 4 w 157"/>
                    <a:gd name="T25" fmla="*/ 70 h 131"/>
                    <a:gd name="T26" fmla="*/ 10 w 157"/>
                    <a:gd name="T27" fmla="*/ 72 h 131"/>
                    <a:gd name="T28" fmla="*/ 11 w 157"/>
                    <a:gd name="T29" fmla="*/ 75 h 131"/>
                    <a:gd name="T30" fmla="*/ 10 w 157"/>
                    <a:gd name="T31" fmla="*/ 77 h 131"/>
                    <a:gd name="T32" fmla="*/ 2 w 157"/>
                    <a:gd name="T33" fmla="*/ 77 h 131"/>
                    <a:gd name="T34" fmla="*/ 2 w 157"/>
                    <a:gd name="T35" fmla="*/ 79 h 131"/>
                    <a:gd name="T36" fmla="*/ 2 w 157"/>
                    <a:gd name="T37" fmla="*/ 83 h 131"/>
                    <a:gd name="T38" fmla="*/ 8 w 157"/>
                    <a:gd name="T39" fmla="*/ 88 h 131"/>
                    <a:gd name="T40" fmla="*/ 17 w 157"/>
                    <a:gd name="T41" fmla="*/ 101 h 131"/>
                    <a:gd name="T42" fmla="*/ 19 w 157"/>
                    <a:gd name="T43" fmla="*/ 112 h 131"/>
                    <a:gd name="T44" fmla="*/ 22 w 157"/>
                    <a:gd name="T45" fmla="*/ 120 h 131"/>
                    <a:gd name="T46" fmla="*/ 39 w 157"/>
                    <a:gd name="T47" fmla="*/ 127 h 131"/>
                    <a:gd name="T48" fmla="*/ 46 w 157"/>
                    <a:gd name="T49" fmla="*/ 129 h 131"/>
                    <a:gd name="T50" fmla="*/ 63 w 157"/>
                    <a:gd name="T51" fmla="*/ 131 h 131"/>
                    <a:gd name="T52" fmla="*/ 85 w 157"/>
                    <a:gd name="T53" fmla="*/ 121 h 131"/>
                    <a:gd name="T54" fmla="*/ 85 w 157"/>
                    <a:gd name="T55" fmla="*/ 105 h 131"/>
                    <a:gd name="T56" fmla="*/ 93 w 157"/>
                    <a:gd name="T57" fmla="*/ 112 h 131"/>
                    <a:gd name="T58" fmla="*/ 115 w 157"/>
                    <a:gd name="T59" fmla="*/ 83 h 131"/>
                    <a:gd name="T60" fmla="*/ 131 w 157"/>
                    <a:gd name="T61" fmla="*/ 72 h 131"/>
                    <a:gd name="T62" fmla="*/ 135 w 157"/>
                    <a:gd name="T63" fmla="*/ 72 h 131"/>
                    <a:gd name="T64" fmla="*/ 139 w 157"/>
                    <a:gd name="T65" fmla="*/ 70 h 131"/>
                    <a:gd name="T66" fmla="*/ 142 w 157"/>
                    <a:gd name="T67" fmla="*/ 66 h 131"/>
                    <a:gd name="T68" fmla="*/ 144 w 157"/>
                    <a:gd name="T69" fmla="*/ 62 h 131"/>
                    <a:gd name="T70" fmla="*/ 148 w 157"/>
                    <a:gd name="T71" fmla="*/ 55 h 131"/>
                    <a:gd name="T72" fmla="*/ 148 w 157"/>
                    <a:gd name="T73" fmla="*/ 49 h 131"/>
                    <a:gd name="T74" fmla="*/ 144 w 157"/>
                    <a:gd name="T75" fmla="*/ 53 h 131"/>
                    <a:gd name="T76" fmla="*/ 124 w 157"/>
                    <a:gd name="T77" fmla="*/ 53 h 131"/>
                    <a:gd name="T78" fmla="*/ 115 w 157"/>
                    <a:gd name="T79" fmla="*/ 49 h 131"/>
                    <a:gd name="T80" fmla="*/ 109 w 157"/>
                    <a:gd name="T81" fmla="*/ 46 h 131"/>
                    <a:gd name="T82" fmla="*/ 107 w 157"/>
                    <a:gd name="T83" fmla="*/ 42 h 131"/>
                    <a:gd name="T84" fmla="*/ 104 w 157"/>
                    <a:gd name="T85" fmla="*/ 38 h 131"/>
                    <a:gd name="T86" fmla="*/ 94 w 157"/>
                    <a:gd name="T87" fmla="*/ 38 h 131"/>
                    <a:gd name="T88" fmla="*/ 93 w 157"/>
                    <a:gd name="T89" fmla="*/ 31 h 131"/>
                    <a:gd name="T90" fmla="*/ 93 w 157"/>
                    <a:gd name="T91" fmla="*/ 25 h 131"/>
                    <a:gd name="T92" fmla="*/ 94 w 157"/>
                    <a:gd name="T93" fmla="*/ 22 h 131"/>
                    <a:gd name="T94" fmla="*/ 106 w 157"/>
                    <a:gd name="T95" fmla="*/ 22 h 131"/>
                    <a:gd name="T96" fmla="*/ 107 w 157"/>
                    <a:gd name="T97" fmla="*/ 25 h 131"/>
                    <a:gd name="T98" fmla="*/ 106 w 157"/>
                    <a:gd name="T99" fmla="*/ 36 h 131"/>
                    <a:gd name="T100" fmla="*/ 106 w 157"/>
                    <a:gd name="T101" fmla="*/ 38 h 131"/>
                    <a:gd name="T102" fmla="*/ 111 w 157"/>
                    <a:gd name="T103" fmla="*/ 42 h 131"/>
                    <a:gd name="T104" fmla="*/ 113 w 157"/>
                    <a:gd name="T105" fmla="*/ 46 h 131"/>
                    <a:gd name="T106" fmla="*/ 117 w 157"/>
                    <a:gd name="T107" fmla="*/ 49 h 131"/>
                    <a:gd name="T108" fmla="*/ 118 w 157"/>
                    <a:gd name="T109" fmla="*/ 51 h 131"/>
                    <a:gd name="T110" fmla="*/ 137 w 157"/>
                    <a:gd name="T111" fmla="*/ 51 h 131"/>
                    <a:gd name="T112" fmla="*/ 144 w 157"/>
                    <a:gd name="T113" fmla="*/ 49 h 131"/>
                    <a:gd name="T114" fmla="*/ 150 w 157"/>
                    <a:gd name="T115" fmla="*/ 44 h 131"/>
                    <a:gd name="T116" fmla="*/ 157 w 157"/>
                    <a:gd name="T117" fmla="*/ 42 h 131"/>
                    <a:gd name="T118" fmla="*/ 157 w 157"/>
                    <a:gd name="T119" fmla="*/ 29 h 131"/>
                    <a:gd name="T120" fmla="*/ 155 w 157"/>
                    <a:gd name="T121" fmla="*/ 16 h 131"/>
                    <a:gd name="T122" fmla="*/ 154 w 157"/>
                    <a:gd name="T123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7" h="131">
                      <a:moveTo>
                        <a:pt x="154" y="0"/>
                      </a:moveTo>
                      <a:lnTo>
                        <a:pt x="141" y="0"/>
                      </a:lnTo>
                      <a:lnTo>
                        <a:pt x="128" y="0"/>
                      </a:lnTo>
                      <a:lnTo>
                        <a:pt x="117" y="1"/>
                      </a:lnTo>
                      <a:lnTo>
                        <a:pt x="106" y="3"/>
                      </a:lnTo>
                      <a:lnTo>
                        <a:pt x="93" y="5"/>
                      </a:lnTo>
                      <a:lnTo>
                        <a:pt x="82" y="7"/>
                      </a:lnTo>
                      <a:lnTo>
                        <a:pt x="70" y="9"/>
                      </a:lnTo>
                      <a:lnTo>
                        <a:pt x="56" y="13"/>
                      </a:lnTo>
                      <a:lnTo>
                        <a:pt x="58" y="20"/>
                      </a:lnTo>
                      <a:lnTo>
                        <a:pt x="58" y="20"/>
                      </a:lnTo>
                      <a:lnTo>
                        <a:pt x="59" y="24"/>
                      </a:lnTo>
                      <a:lnTo>
                        <a:pt x="61" y="27"/>
                      </a:lnTo>
                      <a:lnTo>
                        <a:pt x="61" y="27"/>
                      </a:lnTo>
                      <a:lnTo>
                        <a:pt x="63" y="31"/>
                      </a:lnTo>
                      <a:lnTo>
                        <a:pt x="63" y="31"/>
                      </a:lnTo>
                      <a:lnTo>
                        <a:pt x="65" y="33"/>
                      </a:lnTo>
                      <a:lnTo>
                        <a:pt x="69" y="36"/>
                      </a:lnTo>
                      <a:lnTo>
                        <a:pt x="69" y="36"/>
                      </a:lnTo>
                      <a:lnTo>
                        <a:pt x="72" y="40"/>
                      </a:lnTo>
                      <a:lnTo>
                        <a:pt x="76" y="42"/>
                      </a:lnTo>
                      <a:lnTo>
                        <a:pt x="72" y="42"/>
                      </a:lnTo>
                      <a:lnTo>
                        <a:pt x="67" y="42"/>
                      </a:lnTo>
                      <a:lnTo>
                        <a:pt x="61" y="42"/>
                      </a:lnTo>
                      <a:lnTo>
                        <a:pt x="56" y="40"/>
                      </a:lnTo>
                      <a:lnTo>
                        <a:pt x="48" y="38"/>
                      </a:lnTo>
                      <a:lnTo>
                        <a:pt x="39" y="36"/>
                      </a:lnTo>
                      <a:lnTo>
                        <a:pt x="26" y="33"/>
                      </a:lnTo>
                      <a:lnTo>
                        <a:pt x="11" y="29"/>
                      </a:lnTo>
                      <a:lnTo>
                        <a:pt x="8" y="33"/>
                      </a:lnTo>
                      <a:lnTo>
                        <a:pt x="8" y="33"/>
                      </a:lnTo>
                      <a:lnTo>
                        <a:pt x="6" y="36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2" y="51"/>
                      </a:lnTo>
                      <a:lnTo>
                        <a:pt x="0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6" y="72"/>
                      </a:lnTo>
                      <a:lnTo>
                        <a:pt x="10" y="72"/>
                      </a:lnTo>
                      <a:lnTo>
                        <a:pt x="11" y="73"/>
                      </a:lnTo>
                      <a:lnTo>
                        <a:pt x="11" y="75"/>
                      </a:lnTo>
                      <a:lnTo>
                        <a:pt x="11" y="75"/>
                      </a:lnTo>
                      <a:lnTo>
                        <a:pt x="11" y="77"/>
                      </a:lnTo>
                      <a:lnTo>
                        <a:pt x="11" y="77"/>
                      </a:lnTo>
                      <a:lnTo>
                        <a:pt x="10" y="77"/>
                      </a:lnTo>
                      <a:lnTo>
                        <a:pt x="8" y="77"/>
                      </a:lnTo>
                      <a:lnTo>
                        <a:pt x="6" y="77"/>
                      </a:lnTo>
                      <a:lnTo>
                        <a:pt x="2" y="77"/>
                      </a:lnTo>
                      <a:lnTo>
                        <a:pt x="0" y="77"/>
                      </a:lnTo>
                      <a:lnTo>
                        <a:pt x="2" y="79"/>
                      </a:lnTo>
                      <a:lnTo>
                        <a:pt x="2" y="79"/>
                      </a:lnTo>
                      <a:lnTo>
                        <a:pt x="2" y="81"/>
                      </a:lnTo>
                      <a:lnTo>
                        <a:pt x="2" y="81"/>
                      </a:lnTo>
                      <a:lnTo>
                        <a:pt x="2" y="83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8" y="88"/>
                      </a:lnTo>
                      <a:lnTo>
                        <a:pt x="10" y="92"/>
                      </a:lnTo>
                      <a:lnTo>
                        <a:pt x="13" y="96"/>
                      </a:lnTo>
                      <a:lnTo>
                        <a:pt x="17" y="101"/>
                      </a:lnTo>
                      <a:lnTo>
                        <a:pt x="21" y="105"/>
                      </a:lnTo>
                      <a:lnTo>
                        <a:pt x="22" y="110"/>
                      </a:lnTo>
                      <a:lnTo>
                        <a:pt x="19" y="112"/>
                      </a:lnTo>
                      <a:lnTo>
                        <a:pt x="13" y="112"/>
                      </a:lnTo>
                      <a:lnTo>
                        <a:pt x="11" y="114"/>
                      </a:lnTo>
                      <a:lnTo>
                        <a:pt x="22" y="120"/>
                      </a:lnTo>
                      <a:lnTo>
                        <a:pt x="32" y="125"/>
                      </a:lnTo>
                      <a:lnTo>
                        <a:pt x="35" y="125"/>
                      </a:lnTo>
                      <a:lnTo>
                        <a:pt x="39" y="127"/>
                      </a:lnTo>
                      <a:lnTo>
                        <a:pt x="43" y="129"/>
                      </a:lnTo>
                      <a:lnTo>
                        <a:pt x="43" y="129"/>
                      </a:lnTo>
                      <a:lnTo>
                        <a:pt x="46" y="129"/>
                      </a:lnTo>
                      <a:lnTo>
                        <a:pt x="46" y="129"/>
                      </a:lnTo>
                      <a:lnTo>
                        <a:pt x="56" y="129"/>
                      </a:lnTo>
                      <a:lnTo>
                        <a:pt x="63" y="131"/>
                      </a:lnTo>
                      <a:lnTo>
                        <a:pt x="74" y="131"/>
                      </a:lnTo>
                      <a:lnTo>
                        <a:pt x="85" y="129"/>
                      </a:lnTo>
                      <a:lnTo>
                        <a:pt x="85" y="121"/>
                      </a:lnTo>
                      <a:lnTo>
                        <a:pt x="85" y="116"/>
                      </a:lnTo>
                      <a:lnTo>
                        <a:pt x="85" y="108"/>
                      </a:lnTo>
                      <a:lnTo>
                        <a:pt x="85" y="105"/>
                      </a:lnTo>
                      <a:lnTo>
                        <a:pt x="87" y="107"/>
                      </a:lnTo>
                      <a:lnTo>
                        <a:pt x="93" y="110"/>
                      </a:lnTo>
                      <a:lnTo>
                        <a:pt x="93" y="112"/>
                      </a:lnTo>
                      <a:lnTo>
                        <a:pt x="100" y="101"/>
                      </a:lnTo>
                      <a:lnTo>
                        <a:pt x="107" y="92"/>
                      </a:lnTo>
                      <a:lnTo>
                        <a:pt x="115" y="83"/>
                      </a:lnTo>
                      <a:lnTo>
                        <a:pt x="120" y="73"/>
                      </a:lnTo>
                      <a:lnTo>
                        <a:pt x="126" y="73"/>
                      </a:lnTo>
                      <a:lnTo>
                        <a:pt x="131" y="72"/>
                      </a:lnTo>
                      <a:lnTo>
                        <a:pt x="131" y="72"/>
                      </a:lnTo>
                      <a:lnTo>
                        <a:pt x="133" y="72"/>
                      </a:lnTo>
                      <a:lnTo>
                        <a:pt x="135" y="72"/>
                      </a:lnTo>
                      <a:lnTo>
                        <a:pt x="137" y="70"/>
                      </a:lnTo>
                      <a:lnTo>
                        <a:pt x="137" y="70"/>
                      </a:lnTo>
                      <a:lnTo>
                        <a:pt x="139" y="70"/>
                      </a:lnTo>
                      <a:lnTo>
                        <a:pt x="141" y="68"/>
                      </a:lnTo>
                      <a:lnTo>
                        <a:pt x="142" y="66"/>
                      </a:lnTo>
                      <a:lnTo>
                        <a:pt x="142" y="66"/>
                      </a:lnTo>
                      <a:lnTo>
                        <a:pt x="144" y="64"/>
                      </a:lnTo>
                      <a:lnTo>
                        <a:pt x="144" y="62"/>
                      </a:lnTo>
                      <a:lnTo>
                        <a:pt x="144" y="62"/>
                      </a:lnTo>
                      <a:lnTo>
                        <a:pt x="146" y="60"/>
                      </a:lnTo>
                      <a:lnTo>
                        <a:pt x="146" y="57"/>
                      </a:lnTo>
                      <a:lnTo>
                        <a:pt x="148" y="55"/>
                      </a:lnTo>
                      <a:lnTo>
                        <a:pt x="148" y="55"/>
                      </a:lnTo>
                      <a:lnTo>
                        <a:pt x="148" y="51"/>
                      </a:lnTo>
                      <a:lnTo>
                        <a:pt x="148" y="49"/>
                      </a:lnTo>
                      <a:lnTo>
                        <a:pt x="144" y="51"/>
                      </a:lnTo>
                      <a:lnTo>
                        <a:pt x="144" y="51"/>
                      </a:lnTo>
                      <a:lnTo>
                        <a:pt x="144" y="53"/>
                      </a:lnTo>
                      <a:lnTo>
                        <a:pt x="137" y="53"/>
                      </a:lnTo>
                      <a:lnTo>
                        <a:pt x="130" y="53"/>
                      </a:lnTo>
                      <a:lnTo>
                        <a:pt x="124" y="53"/>
                      </a:lnTo>
                      <a:lnTo>
                        <a:pt x="117" y="53"/>
                      </a:lnTo>
                      <a:lnTo>
                        <a:pt x="117" y="51"/>
                      </a:lnTo>
                      <a:lnTo>
                        <a:pt x="115" y="49"/>
                      </a:lnTo>
                      <a:lnTo>
                        <a:pt x="113" y="49"/>
                      </a:lnTo>
                      <a:lnTo>
                        <a:pt x="111" y="48"/>
                      </a:lnTo>
                      <a:lnTo>
                        <a:pt x="109" y="46"/>
                      </a:lnTo>
                      <a:lnTo>
                        <a:pt x="109" y="44"/>
                      </a:lnTo>
                      <a:lnTo>
                        <a:pt x="107" y="44"/>
                      </a:lnTo>
                      <a:lnTo>
                        <a:pt x="107" y="42"/>
                      </a:lnTo>
                      <a:lnTo>
                        <a:pt x="107" y="42"/>
                      </a:lnTo>
                      <a:lnTo>
                        <a:pt x="106" y="40"/>
                      </a:lnTo>
                      <a:lnTo>
                        <a:pt x="104" y="38"/>
                      </a:lnTo>
                      <a:lnTo>
                        <a:pt x="104" y="38"/>
                      </a:lnTo>
                      <a:lnTo>
                        <a:pt x="98" y="38"/>
                      </a:lnTo>
                      <a:lnTo>
                        <a:pt x="94" y="38"/>
                      </a:lnTo>
                      <a:lnTo>
                        <a:pt x="94" y="36"/>
                      </a:lnTo>
                      <a:lnTo>
                        <a:pt x="93" y="33"/>
                      </a:lnTo>
                      <a:lnTo>
                        <a:pt x="93" y="31"/>
                      </a:lnTo>
                      <a:lnTo>
                        <a:pt x="93" y="29"/>
                      </a:lnTo>
                      <a:lnTo>
                        <a:pt x="93" y="27"/>
                      </a:lnTo>
                      <a:lnTo>
                        <a:pt x="93" y="25"/>
                      </a:lnTo>
                      <a:lnTo>
                        <a:pt x="93" y="25"/>
                      </a:lnTo>
                      <a:lnTo>
                        <a:pt x="94" y="24"/>
                      </a:lnTo>
                      <a:lnTo>
                        <a:pt x="94" y="22"/>
                      </a:lnTo>
                      <a:lnTo>
                        <a:pt x="98" y="22"/>
                      </a:lnTo>
                      <a:lnTo>
                        <a:pt x="102" y="22"/>
                      </a:lnTo>
                      <a:lnTo>
                        <a:pt x="106" y="22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7" y="25"/>
                      </a:lnTo>
                      <a:lnTo>
                        <a:pt x="107" y="29"/>
                      </a:lnTo>
                      <a:lnTo>
                        <a:pt x="106" y="33"/>
                      </a:lnTo>
                      <a:lnTo>
                        <a:pt x="106" y="36"/>
                      </a:lnTo>
                      <a:lnTo>
                        <a:pt x="106" y="38"/>
                      </a:lnTo>
                      <a:lnTo>
                        <a:pt x="106" y="38"/>
                      </a:lnTo>
                      <a:lnTo>
                        <a:pt x="106" y="38"/>
                      </a:lnTo>
                      <a:lnTo>
                        <a:pt x="107" y="40"/>
                      </a:lnTo>
                      <a:lnTo>
                        <a:pt x="109" y="42"/>
                      </a:lnTo>
                      <a:lnTo>
                        <a:pt x="111" y="42"/>
                      </a:lnTo>
                      <a:lnTo>
                        <a:pt x="111" y="44"/>
                      </a:lnTo>
                      <a:lnTo>
                        <a:pt x="113" y="44"/>
                      </a:lnTo>
                      <a:lnTo>
                        <a:pt x="113" y="46"/>
                      </a:lnTo>
                      <a:lnTo>
                        <a:pt x="115" y="48"/>
                      </a:lnTo>
                      <a:lnTo>
                        <a:pt x="115" y="48"/>
                      </a:lnTo>
                      <a:lnTo>
                        <a:pt x="117" y="49"/>
                      </a:lnTo>
                      <a:lnTo>
                        <a:pt x="117" y="49"/>
                      </a:lnTo>
                      <a:lnTo>
                        <a:pt x="118" y="51"/>
                      </a:lnTo>
                      <a:lnTo>
                        <a:pt x="118" y="51"/>
                      </a:lnTo>
                      <a:lnTo>
                        <a:pt x="126" y="51"/>
                      </a:lnTo>
                      <a:lnTo>
                        <a:pt x="131" y="51"/>
                      </a:lnTo>
                      <a:lnTo>
                        <a:pt x="137" y="51"/>
                      </a:lnTo>
                      <a:lnTo>
                        <a:pt x="142" y="51"/>
                      </a:lnTo>
                      <a:lnTo>
                        <a:pt x="142" y="51"/>
                      </a:lnTo>
                      <a:lnTo>
                        <a:pt x="144" y="49"/>
                      </a:lnTo>
                      <a:lnTo>
                        <a:pt x="144" y="49"/>
                      </a:lnTo>
                      <a:lnTo>
                        <a:pt x="148" y="48"/>
                      </a:lnTo>
                      <a:lnTo>
                        <a:pt x="150" y="44"/>
                      </a:lnTo>
                      <a:lnTo>
                        <a:pt x="154" y="44"/>
                      </a:lnTo>
                      <a:lnTo>
                        <a:pt x="157" y="42"/>
                      </a:lnTo>
                      <a:lnTo>
                        <a:pt x="157" y="42"/>
                      </a:lnTo>
                      <a:lnTo>
                        <a:pt x="157" y="35"/>
                      </a:lnTo>
                      <a:lnTo>
                        <a:pt x="157" y="35"/>
                      </a:lnTo>
                      <a:lnTo>
                        <a:pt x="157" y="29"/>
                      </a:lnTo>
                      <a:lnTo>
                        <a:pt x="157" y="25"/>
                      </a:lnTo>
                      <a:lnTo>
                        <a:pt x="155" y="20"/>
                      </a:lnTo>
                      <a:lnTo>
                        <a:pt x="155" y="16"/>
                      </a:lnTo>
                      <a:lnTo>
                        <a:pt x="154" y="11"/>
                      </a:lnTo>
                      <a:lnTo>
                        <a:pt x="154" y="7"/>
                      </a:lnTo>
                      <a:lnTo>
                        <a:pt x="154" y="0"/>
                      </a:lnTo>
                      <a:lnTo>
                        <a:pt x="154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2" name="Freeform 3056"/>
                <p:cNvSpPr>
                  <a:spLocks noEditPoints="1"/>
                </p:cNvSpPr>
                <p:nvPr/>
              </p:nvSpPr>
              <p:spPr bwMode="auto">
                <a:xfrm>
                  <a:off x="3329" y="674"/>
                  <a:ext cx="1482" cy="1816"/>
                </a:xfrm>
                <a:custGeom>
                  <a:avLst/>
                  <a:gdLst>
                    <a:gd name="T0" fmla="*/ 1270 w 1482"/>
                    <a:gd name="T1" fmla="*/ 204 h 1816"/>
                    <a:gd name="T2" fmla="*/ 1165 w 1482"/>
                    <a:gd name="T3" fmla="*/ 197 h 1816"/>
                    <a:gd name="T4" fmla="*/ 1093 w 1482"/>
                    <a:gd name="T5" fmla="*/ 295 h 1816"/>
                    <a:gd name="T6" fmla="*/ 973 w 1482"/>
                    <a:gd name="T7" fmla="*/ 317 h 1816"/>
                    <a:gd name="T8" fmla="*/ 903 w 1482"/>
                    <a:gd name="T9" fmla="*/ 319 h 1816"/>
                    <a:gd name="T10" fmla="*/ 908 w 1482"/>
                    <a:gd name="T11" fmla="*/ 336 h 1816"/>
                    <a:gd name="T12" fmla="*/ 883 w 1482"/>
                    <a:gd name="T13" fmla="*/ 352 h 1816"/>
                    <a:gd name="T14" fmla="*/ 879 w 1482"/>
                    <a:gd name="T15" fmla="*/ 328 h 1816"/>
                    <a:gd name="T16" fmla="*/ 781 w 1482"/>
                    <a:gd name="T17" fmla="*/ 361 h 1816"/>
                    <a:gd name="T18" fmla="*/ 765 w 1482"/>
                    <a:gd name="T19" fmla="*/ 407 h 1816"/>
                    <a:gd name="T20" fmla="*/ 787 w 1482"/>
                    <a:gd name="T21" fmla="*/ 454 h 1816"/>
                    <a:gd name="T22" fmla="*/ 768 w 1482"/>
                    <a:gd name="T23" fmla="*/ 507 h 1816"/>
                    <a:gd name="T24" fmla="*/ 656 w 1482"/>
                    <a:gd name="T25" fmla="*/ 562 h 1816"/>
                    <a:gd name="T26" fmla="*/ 558 w 1482"/>
                    <a:gd name="T27" fmla="*/ 605 h 1816"/>
                    <a:gd name="T28" fmla="*/ 526 w 1482"/>
                    <a:gd name="T29" fmla="*/ 570 h 1816"/>
                    <a:gd name="T30" fmla="*/ 515 w 1482"/>
                    <a:gd name="T31" fmla="*/ 522 h 1816"/>
                    <a:gd name="T32" fmla="*/ 467 w 1482"/>
                    <a:gd name="T33" fmla="*/ 483 h 1816"/>
                    <a:gd name="T34" fmla="*/ 416 w 1482"/>
                    <a:gd name="T35" fmla="*/ 509 h 1816"/>
                    <a:gd name="T36" fmla="*/ 405 w 1482"/>
                    <a:gd name="T37" fmla="*/ 498 h 1816"/>
                    <a:gd name="T38" fmla="*/ 331 w 1482"/>
                    <a:gd name="T39" fmla="*/ 579 h 1816"/>
                    <a:gd name="T40" fmla="*/ 263 w 1482"/>
                    <a:gd name="T41" fmla="*/ 561 h 1816"/>
                    <a:gd name="T42" fmla="*/ 144 w 1482"/>
                    <a:gd name="T43" fmla="*/ 599 h 1816"/>
                    <a:gd name="T44" fmla="*/ 74 w 1482"/>
                    <a:gd name="T45" fmla="*/ 590 h 1816"/>
                    <a:gd name="T46" fmla="*/ 102 w 1482"/>
                    <a:gd name="T47" fmla="*/ 671 h 1816"/>
                    <a:gd name="T48" fmla="*/ 152 w 1482"/>
                    <a:gd name="T49" fmla="*/ 756 h 1816"/>
                    <a:gd name="T50" fmla="*/ 65 w 1482"/>
                    <a:gd name="T51" fmla="*/ 897 h 1816"/>
                    <a:gd name="T52" fmla="*/ 36 w 1482"/>
                    <a:gd name="T53" fmla="*/ 1072 h 1816"/>
                    <a:gd name="T54" fmla="*/ 24 w 1482"/>
                    <a:gd name="T55" fmla="*/ 1162 h 1816"/>
                    <a:gd name="T56" fmla="*/ 43 w 1482"/>
                    <a:gd name="T57" fmla="*/ 1266 h 1816"/>
                    <a:gd name="T58" fmla="*/ 120 w 1482"/>
                    <a:gd name="T59" fmla="*/ 1338 h 1816"/>
                    <a:gd name="T60" fmla="*/ 163 w 1482"/>
                    <a:gd name="T61" fmla="*/ 1419 h 1816"/>
                    <a:gd name="T62" fmla="*/ 181 w 1482"/>
                    <a:gd name="T63" fmla="*/ 1511 h 1816"/>
                    <a:gd name="T64" fmla="*/ 209 w 1482"/>
                    <a:gd name="T65" fmla="*/ 1716 h 1816"/>
                    <a:gd name="T66" fmla="*/ 318 w 1482"/>
                    <a:gd name="T67" fmla="*/ 1686 h 1816"/>
                    <a:gd name="T68" fmla="*/ 351 w 1482"/>
                    <a:gd name="T69" fmla="*/ 1716 h 1816"/>
                    <a:gd name="T70" fmla="*/ 401 w 1482"/>
                    <a:gd name="T71" fmla="*/ 1613 h 1816"/>
                    <a:gd name="T72" fmla="*/ 539 w 1482"/>
                    <a:gd name="T73" fmla="*/ 1635 h 1816"/>
                    <a:gd name="T74" fmla="*/ 584 w 1482"/>
                    <a:gd name="T75" fmla="*/ 1655 h 1816"/>
                    <a:gd name="T76" fmla="*/ 630 w 1482"/>
                    <a:gd name="T77" fmla="*/ 1751 h 1816"/>
                    <a:gd name="T78" fmla="*/ 750 w 1482"/>
                    <a:gd name="T79" fmla="*/ 1790 h 1816"/>
                    <a:gd name="T80" fmla="*/ 890 w 1482"/>
                    <a:gd name="T81" fmla="*/ 1810 h 1816"/>
                    <a:gd name="T82" fmla="*/ 999 w 1482"/>
                    <a:gd name="T83" fmla="*/ 1797 h 1816"/>
                    <a:gd name="T84" fmla="*/ 1115 w 1482"/>
                    <a:gd name="T85" fmla="*/ 1738 h 1816"/>
                    <a:gd name="T86" fmla="*/ 1161 w 1482"/>
                    <a:gd name="T87" fmla="*/ 1644 h 1816"/>
                    <a:gd name="T88" fmla="*/ 1128 w 1482"/>
                    <a:gd name="T89" fmla="*/ 1572 h 1816"/>
                    <a:gd name="T90" fmla="*/ 1195 w 1482"/>
                    <a:gd name="T91" fmla="*/ 1397 h 1816"/>
                    <a:gd name="T92" fmla="*/ 1265 w 1482"/>
                    <a:gd name="T93" fmla="*/ 1293 h 1816"/>
                    <a:gd name="T94" fmla="*/ 1228 w 1482"/>
                    <a:gd name="T95" fmla="*/ 1112 h 1816"/>
                    <a:gd name="T96" fmla="*/ 1309 w 1482"/>
                    <a:gd name="T97" fmla="*/ 1042 h 1816"/>
                    <a:gd name="T98" fmla="*/ 1364 w 1482"/>
                    <a:gd name="T99" fmla="*/ 967 h 1816"/>
                    <a:gd name="T100" fmla="*/ 1335 w 1482"/>
                    <a:gd name="T101" fmla="*/ 804 h 1816"/>
                    <a:gd name="T102" fmla="*/ 1362 w 1482"/>
                    <a:gd name="T103" fmla="*/ 747 h 1816"/>
                    <a:gd name="T104" fmla="*/ 1412 w 1482"/>
                    <a:gd name="T105" fmla="*/ 714 h 1816"/>
                    <a:gd name="T106" fmla="*/ 1412 w 1482"/>
                    <a:gd name="T107" fmla="*/ 601 h 1816"/>
                    <a:gd name="T108" fmla="*/ 1392 w 1482"/>
                    <a:gd name="T109" fmla="*/ 529 h 1816"/>
                    <a:gd name="T110" fmla="*/ 1436 w 1482"/>
                    <a:gd name="T111" fmla="*/ 468 h 1816"/>
                    <a:gd name="T112" fmla="*/ 1455 w 1482"/>
                    <a:gd name="T113" fmla="*/ 400 h 1816"/>
                    <a:gd name="T114" fmla="*/ 1370 w 1482"/>
                    <a:gd name="T115" fmla="*/ 315 h 1816"/>
                    <a:gd name="T116" fmla="*/ 1399 w 1482"/>
                    <a:gd name="T117" fmla="*/ 204 h 1816"/>
                    <a:gd name="T118" fmla="*/ 777 w 1482"/>
                    <a:gd name="T119" fmla="*/ 112 h 1816"/>
                    <a:gd name="T120" fmla="*/ 809 w 1482"/>
                    <a:gd name="T121" fmla="*/ 136 h 1816"/>
                    <a:gd name="T122" fmla="*/ 707 w 1482"/>
                    <a:gd name="T123" fmla="*/ 27 h 1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82" h="1816">
                      <a:moveTo>
                        <a:pt x="1338" y="171"/>
                      </a:moveTo>
                      <a:lnTo>
                        <a:pt x="1340" y="177"/>
                      </a:lnTo>
                      <a:lnTo>
                        <a:pt x="1340" y="182"/>
                      </a:lnTo>
                      <a:lnTo>
                        <a:pt x="1342" y="190"/>
                      </a:lnTo>
                      <a:lnTo>
                        <a:pt x="1342" y="190"/>
                      </a:lnTo>
                      <a:lnTo>
                        <a:pt x="1344" y="199"/>
                      </a:lnTo>
                      <a:lnTo>
                        <a:pt x="1342" y="197"/>
                      </a:lnTo>
                      <a:lnTo>
                        <a:pt x="1338" y="197"/>
                      </a:lnTo>
                      <a:lnTo>
                        <a:pt x="1331" y="195"/>
                      </a:lnTo>
                      <a:lnTo>
                        <a:pt x="1331" y="195"/>
                      </a:lnTo>
                      <a:lnTo>
                        <a:pt x="1331" y="193"/>
                      </a:lnTo>
                      <a:lnTo>
                        <a:pt x="1329" y="193"/>
                      </a:lnTo>
                      <a:lnTo>
                        <a:pt x="1326" y="197"/>
                      </a:lnTo>
                      <a:lnTo>
                        <a:pt x="1322" y="203"/>
                      </a:lnTo>
                      <a:lnTo>
                        <a:pt x="1322" y="203"/>
                      </a:lnTo>
                      <a:lnTo>
                        <a:pt x="1318" y="199"/>
                      </a:lnTo>
                      <a:lnTo>
                        <a:pt x="1313" y="195"/>
                      </a:lnTo>
                      <a:lnTo>
                        <a:pt x="1305" y="199"/>
                      </a:lnTo>
                      <a:lnTo>
                        <a:pt x="1298" y="204"/>
                      </a:lnTo>
                      <a:lnTo>
                        <a:pt x="1290" y="208"/>
                      </a:lnTo>
                      <a:lnTo>
                        <a:pt x="1281" y="214"/>
                      </a:lnTo>
                      <a:lnTo>
                        <a:pt x="1281" y="212"/>
                      </a:lnTo>
                      <a:lnTo>
                        <a:pt x="1278" y="210"/>
                      </a:lnTo>
                      <a:lnTo>
                        <a:pt x="1274" y="206"/>
                      </a:lnTo>
                      <a:lnTo>
                        <a:pt x="1274" y="206"/>
                      </a:lnTo>
                      <a:lnTo>
                        <a:pt x="1270" y="204"/>
                      </a:lnTo>
                      <a:lnTo>
                        <a:pt x="1270" y="204"/>
                      </a:lnTo>
                      <a:lnTo>
                        <a:pt x="1268" y="203"/>
                      </a:lnTo>
                      <a:lnTo>
                        <a:pt x="1266" y="199"/>
                      </a:lnTo>
                      <a:lnTo>
                        <a:pt x="1266" y="199"/>
                      </a:lnTo>
                      <a:lnTo>
                        <a:pt x="1263" y="193"/>
                      </a:lnTo>
                      <a:lnTo>
                        <a:pt x="1261" y="188"/>
                      </a:lnTo>
                      <a:lnTo>
                        <a:pt x="1255" y="180"/>
                      </a:lnTo>
                      <a:lnTo>
                        <a:pt x="1246" y="177"/>
                      </a:lnTo>
                      <a:lnTo>
                        <a:pt x="1235" y="175"/>
                      </a:lnTo>
                      <a:lnTo>
                        <a:pt x="1231" y="175"/>
                      </a:lnTo>
                      <a:lnTo>
                        <a:pt x="1228" y="175"/>
                      </a:lnTo>
                      <a:lnTo>
                        <a:pt x="1222" y="175"/>
                      </a:lnTo>
                      <a:lnTo>
                        <a:pt x="1218" y="175"/>
                      </a:lnTo>
                      <a:lnTo>
                        <a:pt x="1217" y="175"/>
                      </a:lnTo>
                      <a:lnTo>
                        <a:pt x="1213" y="175"/>
                      </a:lnTo>
                      <a:lnTo>
                        <a:pt x="1209" y="175"/>
                      </a:lnTo>
                      <a:lnTo>
                        <a:pt x="1206" y="177"/>
                      </a:lnTo>
                      <a:lnTo>
                        <a:pt x="1200" y="177"/>
                      </a:lnTo>
                      <a:lnTo>
                        <a:pt x="1196" y="179"/>
                      </a:lnTo>
                      <a:lnTo>
                        <a:pt x="1193" y="180"/>
                      </a:lnTo>
                      <a:lnTo>
                        <a:pt x="1189" y="180"/>
                      </a:lnTo>
                      <a:lnTo>
                        <a:pt x="1185" y="182"/>
                      </a:lnTo>
                      <a:lnTo>
                        <a:pt x="1182" y="184"/>
                      </a:lnTo>
                      <a:lnTo>
                        <a:pt x="1178" y="186"/>
                      </a:lnTo>
                      <a:lnTo>
                        <a:pt x="1174" y="190"/>
                      </a:lnTo>
                      <a:lnTo>
                        <a:pt x="1171" y="192"/>
                      </a:lnTo>
                      <a:lnTo>
                        <a:pt x="1167" y="193"/>
                      </a:lnTo>
                      <a:lnTo>
                        <a:pt x="1165" y="197"/>
                      </a:lnTo>
                      <a:lnTo>
                        <a:pt x="1161" y="201"/>
                      </a:lnTo>
                      <a:lnTo>
                        <a:pt x="1158" y="203"/>
                      </a:lnTo>
                      <a:lnTo>
                        <a:pt x="1152" y="210"/>
                      </a:lnTo>
                      <a:lnTo>
                        <a:pt x="1147" y="219"/>
                      </a:lnTo>
                      <a:lnTo>
                        <a:pt x="1141" y="227"/>
                      </a:lnTo>
                      <a:lnTo>
                        <a:pt x="1135" y="238"/>
                      </a:lnTo>
                      <a:lnTo>
                        <a:pt x="1135" y="238"/>
                      </a:lnTo>
                      <a:lnTo>
                        <a:pt x="1130" y="238"/>
                      </a:lnTo>
                      <a:lnTo>
                        <a:pt x="1124" y="238"/>
                      </a:lnTo>
                      <a:lnTo>
                        <a:pt x="1123" y="245"/>
                      </a:lnTo>
                      <a:lnTo>
                        <a:pt x="1121" y="254"/>
                      </a:lnTo>
                      <a:lnTo>
                        <a:pt x="1117" y="262"/>
                      </a:lnTo>
                      <a:lnTo>
                        <a:pt x="1115" y="269"/>
                      </a:lnTo>
                      <a:lnTo>
                        <a:pt x="1111" y="276"/>
                      </a:lnTo>
                      <a:lnTo>
                        <a:pt x="1111" y="276"/>
                      </a:lnTo>
                      <a:lnTo>
                        <a:pt x="1108" y="282"/>
                      </a:lnTo>
                      <a:lnTo>
                        <a:pt x="1108" y="282"/>
                      </a:lnTo>
                      <a:lnTo>
                        <a:pt x="1106" y="284"/>
                      </a:lnTo>
                      <a:lnTo>
                        <a:pt x="1104" y="288"/>
                      </a:lnTo>
                      <a:lnTo>
                        <a:pt x="1104" y="288"/>
                      </a:lnTo>
                      <a:lnTo>
                        <a:pt x="1100" y="289"/>
                      </a:lnTo>
                      <a:lnTo>
                        <a:pt x="1100" y="289"/>
                      </a:lnTo>
                      <a:lnTo>
                        <a:pt x="1099" y="291"/>
                      </a:lnTo>
                      <a:lnTo>
                        <a:pt x="1097" y="293"/>
                      </a:lnTo>
                      <a:lnTo>
                        <a:pt x="1097" y="293"/>
                      </a:lnTo>
                      <a:lnTo>
                        <a:pt x="1093" y="295"/>
                      </a:lnTo>
                      <a:lnTo>
                        <a:pt x="1093" y="295"/>
                      </a:lnTo>
                      <a:lnTo>
                        <a:pt x="1091" y="297"/>
                      </a:lnTo>
                      <a:lnTo>
                        <a:pt x="1091" y="297"/>
                      </a:lnTo>
                      <a:lnTo>
                        <a:pt x="1087" y="297"/>
                      </a:lnTo>
                      <a:lnTo>
                        <a:pt x="1086" y="299"/>
                      </a:lnTo>
                      <a:lnTo>
                        <a:pt x="1082" y="300"/>
                      </a:lnTo>
                      <a:lnTo>
                        <a:pt x="1082" y="300"/>
                      </a:lnTo>
                      <a:lnTo>
                        <a:pt x="1078" y="300"/>
                      </a:lnTo>
                      <a:lnTo>
                        <a:pt x="1075" y="302"/>
                      </a:lnTo>
                      <a:lnTo>
                        <a:pt x="1075" y="302"/>
                      </a:lnTo>
                      <a:lnTo>
                        <a:pt x="1067" y="302"/>
                      </a:lnTo>
                      <a:lnTo>
                        <a:pt x="1058" y="302"/>
                      </a:lnTo>
                      <a:lnTo>
                        <a:pt x="1058" y="302"/>
                      </a:lnTo>
                      <a:lnTo>
                        <a:pt x="1049" y="302"/>
                      </a:lnTo>
                      <a:lnTo>
                        <a:pt x="1039" y="300"/>
                      </a:lnTo>
                      <a:lnTo>
                        <a:pt x="1034" y="304"/>
                      </a:lnTo>
                      <a:lnTo>
                        <a:pt x="1028" y="306"/>
                      </a:lnTo>
                      <a:lnTo>
                        <a:pt x="1023" y="310"/>
                      </a:lnTo>
                      <a:lnTo>
                        <a:pt x="1017" y="315"/>
                      </a:lnTo>
                      <a:lnTo>
                        <a:pt x="1017" y="313"/>
                      </a:lnTo>
                      <a:lnTo>
                        <a:pt x="1014" y="308"/>
                      </a:lnTo>
                      <a:lnTo>
                        <a:pt x="1010" y="304"/>
                      </a:lnTo>
                      <a:lnTo>
                        <a:pt x="1006" y="304"/>
                      </a:lnTo>
                      <a:lnTo>
                        <a:pt x="1001" y="304"/>
                      </a:lnTo>
                      <a:lnTo>
                        <a:pt x="999" y="306"/>
                      </a:lnTo>
                      <a:lnTo>
                        <a:pt x="995" y="306"/>
                      </a:lnTo>
                      <a:lnTo>
                        <a:pt x="988" y="310"/>
                      </a:lnTo>
                      <a:lnTo>
                        <a:pt x="973" y="317"/>
                      </a:lnTo>
                      <a:lnTo>
                        <a:pt x="973" y="317"/>
                      </a:lnTo>
                      <a:lnTo>
                        <a:pt x="969" y="313"/>
                      </a:lnTo>
                      <a:lnTo>
                        <a:pt x="964" y="312"/>
                      </a:lnTo>
                      <a:lnTo>
                        <a:pt x="966" y="310"/>
                      </a:lnTo>
                      <a:lnTo>
                        <a:pt x="969" y="308"/>
                      </a:lnTo>
                      <a:lnTo>
                        <a:pt x="973" y="306"/>
                      </a:lnTo>
                      <a:lnTo>
                        <a:pt x="977" y="304"/>
                      </a:lnTo>
                      <a:lnTo>
                        <a:pt x="980" y="302"/>
                      </a:lnTo>
                      <a:lnTo>
                        <a:pt x="980" y="299"/>
                      </a:lnTo>
                      <a:lnTo>
                        <a:pt x="979" y="293"/>
                      </a:lnTo>
                      <a:lnTo>
                        <a:pt x="979" y="289"/>
                      </a:lnTo>
                      <a:lnTo>
                        <a:pt x="977" y="286"/>
                      </a:lnTo>
                      <a:lnTo>
                        <a:pt x="973" y="286"/>
                      </a:lnTo>
                      <a:lnTo>
                        <a:pt x="968" y="286"/>
                      </a:lnTo>
                      <a:lnTo>
                        <a:pt x="964" y="286"/>
                      </a:lnTo>
                      <a:lnTo>
                        <a:pt x="960" y="288"/>
                      </a:lnTo>
                      <a:lnTo>
                        <a:pt x="955" y="288"/>
                      </a:lnTo>
                      <a:lnTo>
                        <a:pt x="949" y="289"/>
                      </a:lnTo>
                      <a:lnTo>
                        <a:pt x="945" y="291"/>
                      </a:lnTo>
                      <a:lnTo>
                        <a:pt x="940" y="293"/>
                      </a:lnTo>
                      <a:lnTo>
                        <a:pt x="931" y="297"/>
                      </a:lnTo>
                      <a:lnTo>
                        <a:pt x="923" y="302"/>
                      </a:lnTo>
                      <a:lnTo>
                        <a:pt x="914" y="306"/>
                      </a:lnTo>
                      <a:lnTo>
                        <a:pt x="907" y="310"/>
                      </a:lnTo>
                      <a:lnTo>
                        <a:pt x="905" y="313"/>
                      </a:lnTo>
                      <a:lnTo>
                        <a:pt x="903" y="319"/>
                      </a:lnTo>
                      <a:lnTo>
                        <a:pt x="903" y="319"/>
                      </a:lnTo>
                      <a:lnTo>
                        <a:pt x="901" y="321"/>
                      </a:lnTo>
                      <a:lnTo>
                        <a:pt x="901" y="323"/>
                      </a:lnTo>
                      <a:lnTo>
                        <a:pt x="899" y="324"/>
                      </a:lnTo>
                      <a:lnTo>
                        <a:pt x="897" y="324"/>
                      </a:lnTo>
                      <a:lnTo>
                        <a:pt x="897" y="324"/>
                      </a:lnTo>
                      <a:lnTo>
                        <a:pt x="896" y="326"/>
                      </a:lnTo>
                      <a:lnTo>
                        <a:pt x="896" y="328"/>
                      </a:lnTo>
                      <a:lnTo>
                        <a:pt x="896" y="334"/>
                      </a:lnTo>
                      <a:lnTo>
                        <a:pt x="897" y="339"/>
                      </a:lnTo>
                      <a:lnTo>
                        <a:pt x="899" y="345"/>
                      </a:lnTo>
                      <a:lnTo>
                        <a:pt x="901" y="350"/>
                      </a:lnTo>
                      <a:lnTo>
                        <a:pt x="901" y="350"/>
                      </a:lnTo>
                      <a:lnTo>
                        <a:pt x="901" y="350"/>
                      </a:lnTo>
                      <a:lnTo>
                        <a:pt x="901" y="350"/>
                      </a:lnTo>
                      <a:lnTo>
                        <a:pt x="903" y="348"/>
                      </a:lnTo>
                      <a:lnTo>
                        <a:pt x="903" y="348"/>
                      </a:lnTo>
                      <a:lnTo>
                        <a:pt x="903" y="347"/>
                      </a:lnTo>
                      <a:lnTo>
                        <a:pt x="905" y="343"/>
                      </a:lnTo>
                      <a:lnTo>
                        <a:pt x="905" y="343"/>
                      </a:lnTo>
                      <a:lnTo>
                        <a:pt x="907" y="341"/>
                      </a:lnTo>
                      <a:lnTo>
                        <a:pt x="907" y="341"/>
                      </a:lnTo>
                      <a:lnTo>
                        <a:pt x="907" y="337"/>
                      </a:lnTo>
                      <a:lnTo>
                        <a:pt x="907" y="337"/>
                      </a:lnTo>
                      <a:lnTo>
                        <a:pt x="908" y="337"/>
                      </a:lnTo>
                      <a:lnTo>
                        <a:pt x="908" y="337"/>
                      </a:lnTo>
                      <a:lnTo>
                        <a:pt x="908" y="336"/>
                      </a:lnTo>
                      <a:lnTo>
                        <a:pt x="908" y="336"/>
                      </a:lnTo>
                      <a:lnTo>
                        <a:pt x="910" y="336"/>
                      </a:lnTo>
                      <a:lnTo>
                        <a:pt x="912" y="334"/>
                      </a:lnTo>
                      <a:lnTo>
                        <a:pt x="910" y="348"/>
                      </a:lnTo>
                      <a:lnTo>
                        <a:pt x="910" y="348"/>
                      </a:lnTo>
                      <a:lnTo>
                        <a:pt x="908" y="359"/>
                      </a:lnTo>
                      <a:lnTo>
                        <a:pt x="908" y="372"/>
                      </a:lnTo>
                      <a:lnTo>
                        <a:pt x="907" y="385"/>
                      </a:lnTo>
                      <a:lnTo>
                        <a:pt x="905" y="385"/>
                      </a:lnTo>
                      <a:lnTo>
                        <a:pt x="899" y="382"/>
                      </a:lnTo>
                      <a:lnTo>
                        <a:pt x="894" y="378"/>
                      </a:lnTo>
                      <a:lnTo>
                        <a:pt x="888" y="374"/>
                      </a:lnTo>
                      <a:lnTo>
                        <a:pt x="883" y="371"/>
                      </a:lnTo>
                      <a:lnTo>
                        <a:pt x="883" y="371"/>
                      </a:lnTo>
                      <a:lnTo>
                        <a:pt x="886" y="369"/>
                      </a:lnTo>
                      <a:lnTo>
                        <a:pt x="890" y="367"/>
                      </a:lnTo>
                      <a:lnTo>
                        <a:pt x="892" y="365"/>
                      </a:lnTo>
                      <a:lnTo>
                        <a:pt x="894" y="365"/>
                      </a:lnTo>
                      <a:lnTo>
                        <a:pt x="894" y="363"/>
                      </a:lnTo>
                      <a:lnTo>
                        <a:pt x="896" y="361"/>
                      </a:lnTo>
                      <a:lnTo>
                        <a:pt x="896" y="359"/>
                      </a:lnTo>
                      <a:lnTo>
                        <a:pt x="896" y="359"/>
                      </a:lnTo>
                      <a:lnTo>
                        <a:pt x="896" y="358"/>
                      </a:lnTo>
                      <a:lnTo>
                        <a:pt x="894" y="356"/>
                      </a:lnTo>
                      <a:lnTo>
                        <a:pt x="890" y="356"/>
                      </a:lnTo>
                      <a:lnTo>
                        <a:pt x="886" y="354"/>
                      </a:lnTo>
                      <a:lnTo>
                        <a:pt x="886" y="354"/>
                      </a:lnTo>
                      <a:lnTo>
                        <a:pt x="883" y="352"/>
                      </a:lnTo>
                      <a:lnTo>
                        <a:pt x="883" y="352"/>
                      </a:lnTo>
                      <a:lnTo>
                        <a:pt x="883" y="348"/>
                      </a:lnTo>
                      <a:lnTo>
                        <a:pt x="883" y="345"/>
                      </a:lnTo>
                      <a:lnTo>
                        <a:pt x="883" y="339"/>
                      </a:lnTo>
                      <a:lnTo>
                        <a:pt x="883" y="337"/>
                      </a:lnTo>
                      <a:lnTo>
                        <a:pt x="883" y="337"/>
                      </a:lnTo>
                      <a:lnTo>
                        <a:pt x="881" y="337"/>
                      </a:lnTo>
                      <a:lnTo>
                        <a:pt x="879" y="337"/>
                      </a:lnTo>
                      <a:lnTo>
                        <a:pt x="879" y="339"/>
                      </a:lnTo>
                      <a:lnTo>
                        <a:pt x="875" y="348"/>
                      </a:lnTo>
                      <a:lnTo>
                        <a:pt x="868" y="363"/>
                      </a:lnTo>
                      <a:lnTo>
                        <a:pt x="868" y="363"/>
                      </a:lnTo>
                      <a:lnTo>
                        <a:pt x="862" y="361"/>
                      </a:lnTo>
                      <a:lnTo>
                        <a:pt x="862" y="361"/>
                      </a:lnTo>
                      <a:lnTo>
                        <a:pt x="857" y="359"/>
                      </a:lnTo>
                      <a:lnTo>
                        <a:pt x="857" y="358"/>
                      </a:lnTo>
                      <a:lnTo>
                        <a:pt x="857" y="352"/>
                      </a:lnTo>
                      <a:lnTo>
                        <a:pt x="859" y="347"/>
                      </a:lnTo>
                      <a:lnTo>
                        <a:pt x="859" y="341"/>
                      </a:lnTo>
                      <a:lnTo>
                        <a:pt x="860" y="336"/>
                      </a:lnTo>
                      <a:lnTo>
                        <a:pt x="860" y="336"/>
                      </a:lnTo>
                      <a:lnTo>
                        <a:pt x="866" y="334"/>
                      </a:lnTo>
                      <a:lnTo>
                        <a:pt x="872" y="332"/>
                      </a:lnTo>
                      <a:lnTo>
                        <a:pt x="873" y="330"/>
                      </a:lnTo>
                      <a:lnTo>
                        <a:pt x="875" y="330"/>
                      </a:lnTo>
                      <a:lnTo>
                        <a:pt x="875" y="330"/>
                      </a:lnTo>
                      <a:lnTo>
                        <a:pt x="879" y="328"/>
                      </a:lnTo>
                      <a:lnTo>
                        <a:pt x="883" y="326"/>
                      </a:lnTo>
                      <a:lnTo>
                        <a:pt x="888" y="324"/>
                      </a:lnTo>
                      <a:lnTo>
                        <a:pt x="892" y="324"/>
                      </a:lnTo>
                      <a:lnTo>
                        <a:pt x="892" y="323"/>
                      </a:lnTo>
                      <a:lnTo>
                        <a:pt x="892" y="323"/>
                      </a:lnTo>
                      <a:lnTo>
                        <a:pt x="894" y="321"/>
                      </a:lnTo>
                      <a:lnTo>
                        <a:pt x="896" y="321"/>
                      </a:lnTo>
                      <a:lnTo>
                        <a:pt x="897" y="319"/>
                      </a:lnTo>
                      <a:lnTo>
                        <a:pt x="897" y="317"/>
                      </a:lnTo>
                      <a:lnTo>
                        <a:pt x="896" y="317"/>
                      </a:lnTo>
                      <a:lnTo>
                        <a:pt x="894" y="317"/>
                      </a:lnTo>
                      <a:lnTo>
                        <a:pt x="892" y="317"/>
                      </a:lnTo>
                      <a:lnTo>
                        <a:pt x="888" y="319"/>
                      </a:lnTo>
                      <a:lnTo>
                        <a:pt x="883" y="323"/>
                      </a:lnTo>
                      <a:lnTo>
                        <a:pt x="873" y="328"/>
                      </a:lnTo>
                      <a:lnTo>
                        <a:pt x="872" y="328"/>
                      </a:lnTo>
                      <a:lnTo>
                        <a:pt x="870" y="330"/>
                      </a:lnTo>
                      <a:lnTo>
                        <a:pt x="855" y="337"/>
                      </a:lnTo>
                      <a:lnTo>
                        <a:pt x="842" y="343"/>
                      </a:lnTo>
                      <a:lnTo>
                        <a:pt x="829" y="347"/>
                      </a:lnTo>
                      <a:lnTo>
                        <a:pt x="814" y="352"/>
                      </a:lnTo>
                      <a:lnTo>
                        <a:pt x="809" y="354"/>
                      </a:lnTo>
                      <a:lnTo>
                        <a:pt x="801" y="356"/>
                      </a:lnTo>
                      <a:lnTo>
                        <a:pt x="794" y="358"/>
                      </a:lnTo>
                      <a:lnTo>
                        <a:pt x="794" y="358"/>
                      </a:lnTo>
                      <a:lnTo>
                        <a:pt x="788" y="359"/>
                      </a:lnTo>
                      <a:lnTo>
                        <a:pt x="781" y="361"/>
                      </a:lnTo>
                      <a:lnTo>
                        <a:pt x="774" y="363"/>
                      </a:lnTo>
                      <a:lnTo>
                        <a:pt x="765" y="363"/>
                      </a:lnTo>
                      <a:lnTo>
                        <a:pt x="759" y="365"/>
                      </a:lnTo>
                      <a:lnTo>
                        <a:pt x="759" y="367"/>
                      </a:lnTo>
                      <a:lnTo>
                        <a:pt x="759" y="372"/>
                      </a:lnTo>
                      <a:lnTo>
                        <a:pt x="759" y="376"/>
                      </a:lnTo>
                      <a:lnTo>
                        <a:pt x="759" y="380"/>
                      </a:lnTo>
                      <a:lnTo>
                        <a:pt x="763" y="380"/>
                      </a:lnTo>
                      <a:lnTo>
                        <a:pt x="766" y="380"/>
                      </a:lnTo>
                      <a:lnTo>
                        <a:pt x="770" y="382"/>
                      </a:lnTo>
                      <a:lnTo>
                        <a:pt x="772" y="382"/>
                      </a:lnTo>
                      <a:lnTo>
                        <a:pt x="776" y="383"/>
                      </a:lnTo>
                      <a:lnTo>
                        <a:pt x="776" y="383"/>
                      </a:lnTo>
                      <a:lnTo>
                        <a:pt x="776" y="389"/>
                      </a:lnTo>
                      <a:lnTo>
                        <a:pt x="776" y="389"/>
                      </a:lnTo>
                      <a:lnTo>
                        <a:pt x="774" y="395"/>
                      </a:lnTo>
                      <a:lnTo>
                        <a:pt x="774" y="395"/>
                      </a:lnTo>
                      <a:lnTo>
                        <a:pt x="774" y="396"/>
                      </a:lnTo>
                      <a:lnTo>
                        <a:pt x="774" y="398"/>
                      </a:lnTo>
                      <a:lnTo>
                        <a:pt x="774" y="398"/>
                      </a:lnTo>
                      <a:lnTo>
                        <a:pt x="772" y="400"/>
                      </a:lnTo>
                      <a:lnTo>
                        <a:pt x="770" y="402"/>
                      </a:lnTo>
                      <a:lnTo>
                        <a:pt x="770" y="402"/>
                      </a:lnTo>
                      <a:lnTo>
                        <a:pt x="768" y="404"/>
                      </a:lnTo>
                      <a:lnTo>
                        <a:pt x="768" y="404"/>
                      </a:lnTo>
                      <a:lnTo>
                        <a:pt x="766" y="406"/>
                      </a:lnTo>
                      <a:lnTo>
                        <a:pt x="765" y="407"/>
                      </a:lnTo>
                      <a:lnTo>
                        <a:pt x="765" y="407"/>
                      </a:lnTo>
                      <a:lnTo>
                        <a:pt x="763" y="407"/>
                      </a:lnTo>
                      <a:lnTo>
                        <a:pt x="763" y="407"/>
                      </a:lnTo>
                      <a:lnTo>
                        <a:pt x="759" y="411"/>
                      </a:lnTo>
                      <a:lnTo>
                        <a:pt x="753" y="413"/>
                      </a:lnTo>
                      <a:lnTo>
                        <a:pt x="753" y="419"/>
                      </a:lnTo>
                      <a:lnTo>
                        <a:pt x="753" y="426"/>
                      </a:lnTo>
                      <a:lnTo>
                        <a:pt x="753" y="433"/>
                      </a:lnTo>
                      <a:lnTo>
                        <a:pt x="753" y="439"/>
                      </a:lnTo>
                      <a:lnTo>
                        <a:pt x="757" y="439"/>
                      </a:lnTo>
                      <a:lnTo>
                        <a:pt x="763" y="439"/>
                      </a:lnTo>
                      <a:lnTo>
                        <a:pt x="763" y="435"/>
                      </a:lnTo>
                      <a:lnTo>
                        <a:pt x="763" y="428"/>
                      </a:lnTo>
                      <a:lnTo>
                        <a:pt x="763" y="428"/>
                      </a:lnTo>
                      <a:lnTo>
                        <a:pt x="768" y="428"/>
                      </a:lnTo>
                      <a:lnTo>
                        <a:pt x="776" y="428"/>
                      </a:lnTo>
                      <a:lnTo>
                        <a:pt x="776" y="430"/>
                      </a:lnTo>
                      <a:lnTo>
                        <a:pt x="776" y="433"/>
                      </a:lnTo>
                      <a:lnTo>
                        <a:pt x="776" y="439"/>
                      </a:lnTo>
                      <a:lnTo>
                        <a:pt x="776" y="444"/>
                      </a:lnTo>
                      <a:lnTo>
                        <a:pt x="776" y="450"/>
                      </a:lnTo>
                      <a:lnTo>
                        <a:pt x="777" y="450"/>
                      </a:lnTo>
                      <a:lnTo>
                        <a:pt x="781" y="452"/>
                      </a:lnTo>
                      <a:lnTo>
                        <a:pt x="781" y="452"/>
                      </a:lnTo>
                      <a:lnTo>
                        <a:pt x="783" y="452"/>
                      </a:lnTo>
                      <a:lnTo>
                        <a:pt x="787" y="454"/>
                      </a:lnTo>
                      <a:lnTo>
                        <a:pt x="787" y="454"/>
                      </a:lnTo>
                      <a:lnTo>
                        <a:pt x="788" y="457"/>
                      </a:lnTo>
                      <a:lnTo>
                        <a:pt x="788" y="461"/>
                      </a:lnTo>
                      <a:lnTo>
                        <a:pt x="790" y="463"/>
                      </a:lnTo>
                      <a:lnTo>
                        <a:pt x="790" y="467"/>
                      </a:lnTo>
                      <a:lnTo>
                        <a:pt x="796" y="467"/>
                      </a:lnTo>
                      <a:lnTo>
                        <a:pt x="803" y="467"/>
                      </a:lnTo>
                      <a:lnTo>
                        <a:pt x="803" y="467"/>
                      </a:lnTo>
                      <a:lnTo>
                        <a:pt x="800" y="472"/>
                      </a:lnTo>
                      <a:lnTo>
                        <a:pt x="798" y="478"/>
                      </a:lnTo>
                      <a:lnTo>
                        <a:pt x="796" y="481"/>
                      </a:lnTo>
                      <a:lnTo>
                        <a:pt x="792" y="489"/>
                      </a:lnTo>
                      <a:lnTo>
                        <a:pt x="792" y="487"/>
                      </a:lnTo>
                      <a:lnTo>
                        <a:pt x="787" y="485"/>
                      </a:lnTo>
                      <a:lnTo>
                        <a:pt x="785" y="483"/>
                      </a:lnTo>
                      <a:lnTo>
                        <a:pt x="781" y="483"/>
                      </a:lnTo>
                      <a:lnTo>
                        <a:pt x="779" y="481"/>
                      </a:lnTo>
                      <a:lnTo>
                        <a:pt x="777" y="481"/>
                      </a:lnTo>
                      <a:lnTo>
                        <a:pt x="774" y="481"/>
                      </a:lnTo>
                      <a:lnTo>
                        <a:pt x="770" y="481"/>
                      </a:lnTo>
                      <a:lnTo>
                        <a:pt x="766" y="483"/>
                      </a:lnTo>
                      <a:lnTo>
                        <a:pt x="766" y="489"/>
                      </a:lnTo>
                      <a:lnTo>
                        <a:pt x="766" y="496"/>
                      </a:lnTo>
                      <a:lnTo>
                        <a:pt x="766" y="503"/>
                      </a:lnTo>
                      <a:lnTo>
                        <a:pt x="766" y="509"/>
                      </a:lnTo>
                      <a:lnTo>
                        <a:pt x="766" y="509"/>
                      </a:lnTo>
                      <a:lnTo>
                        <a:pt x="768" y="507"/>
                      </a:lnTo>
                      <a:lnTo>
                        <a:pt x="768" y="507"/>
                      </a:lnTo>
                      <a:lnTo>
                        <a:pt x="772" y="509"/>
                      </a:lnTo>
                      <a:lnTo>
                        <a:pt x="772" y="509"/>
                      </a:lnTo>
                      <a:lnTo>
                        <a:pt x="774" y="511"/>
                      </a:lnTo>
                      <a:lnTo>
                        <a:pt x="772" y="511"/>
                      </a:lnTo>
                      <a:lnTo>
                        <a:pt x="772" y="513"/>
                      </a:lnTo>
                      <a:lnTo>
                        <a:pt x="770" y="515"/>
                      </a:lnTo>
                      <a:lnTo>
                        <a:pt x="770" y="516"/>
                      </a:lnTo>
                      <a:lnTo>
                        <a:pt x="770" y="522"/>
                      </a:lnTo>
                      <a:lnTo>
                        <a:pt x="768" y="522"/>
                      </a:lnTo>
                      <a:lnTo>
                        <a:pt x="761" y="522"/>
                      </a:lnTo>
                      <a:lnTo>
                        <a:pt x="753" y="520"/>
                      </a:lnTo>
                      <a:lnTo>
                        <a:pt x="746" y="520"/>
                      </a:lnTo>
                      <a:lnTo>
                        <a:pt x="739" y="520"/>
                      </a:lnTo>
                      <a:lnTo>
                        <a:pt x="731" y="518"/>
                      </a:lnTo>
                      <a:lnTo>
                        <a:pt x="731" y="518"/>
                      </a:lnTo>
                      <a:lnTo>
                        <a:pt x="724" y="518"/>
                      </a:lnTo>
                      <a:lnTo>
                        <a:pt x="717" y="518"/>
                      </a:lnTo>
                      <a:lnTo>
                        <a:pt x="709" y="516"/>
                      </a:lnTo>
                      <a:lnTo>
                        <a:pt x="702" y="527"/>
                      </a:lnTo>
                      <a:lnTo>
                        <a:pt x="696" y="540"/>
                      </a:lnTo>
                      <a:lnTo>
                        <a:pt x="689" y="551"/>
                      </a:lnTo>
                      <a:lnTo>
                        <a:pt x="681" y="564"/>
                      </a:lnTo>
                      <a:lnTo>
                        <a:pt x="681" y="564"/>
                      </a:lnTo>
                      <a:lnTo>
                        <a:pt x="672" y="564"/>
                      </a:lnTo>
                      <a:lnTo>
                        <a:pt x="665" y="564"/>
                      </a:lnTo>
                      <a:lnTo>
                        <a:pt x="659" y="562"/>
                      </a:lnTo>
                      <a:lnTo>
                        <a:pt x="656" y="562"/>
                      </a:lnTo>
                      <a:lnTo>
                        <a:pt x="650" y="562"/>
                      </a:lnTo>
                      <a:lnTo>
                        <a:pt x="645" y="561"/>
                      </a:lnTo>
                      <a:lnTo>
                        <a:pt x="639" y="559"/>
                      </a:lnTo>
                      <a:lnTo>
                        <a:pt x="632" y="555"/>
                      </a:lnTo>
                      <a:lnTo>
                        <a:pt x="632" y="555"/>
                      </a:lnTo>
                      <a:lnTo>
                        <a:pt x="632" y="550"/>
                      </a:lnTo>
                      <a:lnTo>
                        <a:pt x="632" y="544"/>
                      </a:lnTo>
                      <a:lnTo>
                        <a:pt x="628" y="546"/>
                      </a:lnTo>
                      <a:lnTo>
                        <a:pt x="622" y="548"/>
                      </a:lnTo>
                      <a:lnTo>
                        <a:pt x="626" y="555"/>
                      </a:lnTo>
                      <a:lnTo>
                        <a:pt x="628" y="562"/>
                      </a:lnTo>
                      <a:lnTo>
                        <a:pt x="628" y="570"/>
                      </a:lnTo>
                      <a:lnTo>
                        <a:pt x="630" y="577"/>
                      </a:lnTo>
                      <a:lnTo>
                        <a:pt x="632" y="586"/>
                      </a:lnTo>
                      <a:lnTo>
                        <a:pt x="633" y="601"/>
                      </a:lnTo>
                      <a:lnTo>
                        <a:pt x="635" y="618"/>
                      </a:lnTo>
                      <a:lnTo>
                        <a:pt x="639" y="644"/>
                      </a:lnTo>
                      <a:lnTo>
                        <a:pt x="630" y="640"/>
                      </a:lnTo>
                      <a:lnTo>
                        <a:pt x="624" y="638"/>
                      </a:lnTo>
                      <a:lnTo>
                        <a:pt x="617" y="634"/>
                      </a:lnTo>
                      <a:lnTo>
                        <a:pt x="608" y="633"/>
                      </a:lnTo>
                      <a:lnTo>
                        <a:pt x="598" y="629"/>
                      </a:lnTo>
                      <a:lnTo>
                        <a:pt x="587" y="623"/>
                      </a:lnTo>
                      <a:lnTo>
                        <a:pt x="574" y="618"/>
                      </a:lnTo>
                      <a:lnTo>
                        <a:pt x="558" y="610"/>
                      </a:lnTo>
                      <a:lnTo>
                        <a:pt x="558" y="609"/>
                      </a:lnTo>
                      <a:lnTo>
                        <a:pt x="558" y="605"/>
                      </a:lnTo>
                      <a:lnTo>
                        <a:pt x="558" y="601"/>
                      </a:lnTo>
                      <a:lnTo>
                        <a:pt x="558" y="596"/>
                      </a:lnTo>
                      <a:lnTo>
                        <a:pt x="560" y="592"/>
                      </a:lnTo>
                      <a:lnTo>
                        <a:pt x="556" y="590"/>
                      </a:lnTo>
                      <a:lnTo>
                        <a:pt x="552" y="588"/>
                      </a:lnTo>
                      <a:lnTo>
                        <a:pt x="552" y="590"/>
                      </a:lnTo>
                      <a:lnTo>
                        <a:pt x="550" y="592"/>
                      </a:lnTo>
                      <a:lnTo>
                        <a:pt x="550" y="592"/>
                      </a:lnTo>
                      <a:lnTo>
                        <a:pt x="547" y="592"/>
                      </a:lnTo>
                      <a:lnTo>
                        <a:pt x="547" y="592"/>
                      </a:lnTo>
                      <a:lnTo>
                        <a:pt x="543" y="590"/>
                      </a:lnTo>
                      <a:lnTo>
                        <a:pt x="539" y="590"/>
                      </a:lnTo>
                      <a:lnTo>
                        <a:pt x="539" y="590"/>
                      </a:lnTo>
                      <a:lnTo>
                        <a:pt x="536" y="590"/>
                      </a:lnTo>
                      <a:lnTo>
                        <a:pt x="536" y="590"/>
                      </a:lnTo>
                      <a:lnTo>
                        <a:pt x="530" y="588"/>
                      </a:lnTo>
                      <a:lnTo>
                        <a:pt x="530" y="586"/>
                      </a:lnTo>
                      <a:lnTo>
                        <a:pt x="523" y="585"/>
                      </a:lnTo>
                      <a:lnTo>
                        <a:pt x="512" y="577"/>
                      </a:lnTo>
                      <a:lnTo>
                        <a:pt x="499" y="568"/>
                      </a:lnTo>
                      <a:lnTo>
                        <a:pt x="514" y="568"/>
                      </a:lnTo>
                      <a:lnTo>
                        <a:pt x="514" y="568"/>
                      </a:lnTo>
                      <a:lnTo>
                        <a:pt x="521" y="568"/>
                      </a:lnTo>
                      <a:lnTo>
                        <a:pt x="521" y="568"/>
                      </a:lnTo>
                      <a:lnTo>
                        <a:pt x="525" y="570"/>
                      </a:lnTo>
                      <a:lnTo>
                        <a:pt x="526" y="570"/>
                      </a:lnTo>
                      <a:lnTo>
                        <a:pt x="526" y="570"/>
                      </a:lnTo>
                      <a:lnTo>
                        <a:pt x="530" y="572"/>
                      </a:lnTo>
                      <a:lnTo>
                        <a:pt x="534" y="574"/>
                      </a:lnTo>
                      <a:lnTo>
                        <a:pt x="536" y="575"/>
                      </a:lnTo>
                      <a:lnTo>
                        <a:pt x="536" y="575"/>
                      </a:lnTo>
                      <a:lnTo>
                        <a:pt x="536" y="575"/>
                      </a:lnTo>
                      <a:lnTo>
                        <a:pt x="538" y="575"/>
                      </a:lnTo>
                      <a:lnTo>
                        <a:pt x="538" y="575"/>
                      </a:lnTo>
                      <a:lnTo>
                        <a:pt x="539" y="574"/>
                      </a:lnTo>
                      <a:lnTo>
                        <a:pt x="539" y="570"/>
                      </a:lnTo>
                      <a:lnTo>
                        <a:pt x="539" y="566"/>
                      </a:lnTo>
                      <a:lnTo>
                        <a:pt x="539" y="562"/>
                      </a:lnTo>
                      <a:lnTo>
                        <a:pt x="539" y="561"/>
                      </a:lnTo>
                      <a:lnTo>
                        <a:pt x="539" y="557"/>
                      </a:lnTo>
                      <a:lnTo>
                        <a:pt x="538" y="553"/>
                      </a:lnTo>
                      <a:lnTo>
                        <a:pt x="536" y="550"/>
                      </a:lnTo>
                      <a:lnTo>
                        <a:pt x="532" y="546"/>
                      </a:lnTo>
                      <a:lnTo>
                        <a:pt x="528" y="546"/>
                      </a:lnTo>
                      <a:lnTo>
                        <a:pt x="525" y="546"/>
                      </a:lnTo>
                      <a:lnTo>
                        <a:pt x="521" y="546"/>
                      </a:lnTo>
                      <a:lnTo>
                        <a:pt x="515" y="546"/>
                      </a:lnTo>
                      <a:lnTo>
                        <a:pt x="515" y="544"/>
                      </a:lnTo>
                      <a:lnTo>
                        <a:pt x="517" y="539"/>
                      </a:lnTo>
                      <a:lnTo>
                        <a:pt x="517" y="539"/>
                      </a:lnTo>
                      <a:lnTo>
                        <a:pt x="517" y="535"/>
                      </a:lnTo>
                      <a:lnTo>
                        <a:pt x="519" y="531"/>
                      </a:lnTo>
                      <a:lnTo>
                        <a:pt x="521" y="527"/>
                      </a:lnTo>
                      <a:lnTo>
                        <a:pt x="515" y="522"/>
                      </a:lnTo>
                      <a:lnTo>
                        <a:pt x="512" y="518"/>
                      </a:lnTo>
                      <a:lnTo>
                        <a:pt x="512" y="518"/>
                      </a:lnTo>
                      <a:lnTo>
                        <a:pt x="512" y="515"/>
                      </a:lnTo>
                      <a:lnTo>
                        <a:pt x="512" y="515"/>
                      </a:lnTo>
                      <a:lnTo>
                        <a:pt x="514" y="513"/>
                      </a:lnTo>
                      <a:lnTo>
                        <a:pt x="515" y="509"/>
                      </a:lnTo>
                      <a:lnTo>
                        <a:pt x="515" y="507"/>
                      </a:lnTo>
                      <a:lnTo>
                        <a:pt x="512" y="507"/>
                      </a:lnTo>
                      <a:lnTo>
                        <a:pt x="504" y="507"/>
                      </a:lnTo>
                      <a:lnTo>
                        <a:pt x="504" y="507"/>
                      </a:lnTo>
                      <a:lnTo>
                        <a:pt x="502" y="503"/>
                      </a:lnTo>
                      <a:lnTo>
                        <a:pt x="501" y="502"/>
                      </a:lnTo>
                      <a:lnTo>
                        <a:pt x="499" y="498"/>
                      </a:lnTo>
                      <a:lnTo>
                        <a:pt x="497" y="496"/>
                      </a:lnTo>
                      <a:lnTo>
                        <a:pt x="491" y="494"/>
                      </a:lnTo>
                      <a:lnTo>
                        <a:pt x="488" y="492"/>
                      </a:lnTo>
                      <a:lnTo>
                        <a:pt x="484" y="489"/>
                      </a:lnTo>
                      <a:lnTo>
                        <a:pt x="478" y="487"/>
                      </a:lnTo>
                      <a:lnTo>
                        <a:pt x="478" y="487"/>
                      </a:lnTo>
                      <a:lnTo>
                        <a:pt x="477" y="485"/>
                      </a:lnTo>
                      <a:lnTo>
                        <a:pt x="475" y="483"/>
                      </a:lnTo>
                      <a:lnTo>
                        <a:pt x="475" y="483"/>
                      </a:lnTo>
                      <a:lnTo>
                        <a:pt x="473" y="481"/>
                      </a:lnTo>
                      <a:lnTo>
                        <a:pt x="471" y="479"/>
                      </a:lnTo>
                      <a:lnTo>
                        <a:pt x="469" y="481"/>
                      </a:lnTo>
                      <a:lnTo>
                        <a:pt x="469" y="481"/>
                      </a:lnTo>
                      <a:lnTo>
                        <a:pt x="467" y="483"/>
                      </a:lnTo>
                      <a:lnTo>
                        <a:pt x="467" y="483"/>
                      </a:lnTo>
                      <a:lnTo>
                        <a:pt x="460" y="485"/>
                      </a:lnTo>
                      <a:lnTo>
                        <a:pt x="453" y="485"/>
                      </a:lnTo>
                      <a:lnTo>
                        <a:pt x="447" y="487"/>
                      </a:lnTo>
                      <a:lnTo>
                        <a:pt x="442" y="489"/>
                      </a:lnTo>
                      <a:lnTo>
                        <a:pt x="443" y="489"/>
                      </a:lnTo>
                      <a:lnTo>
                        <a:pt x="447" y="492"/>
                      </a:lnTo>
                      <a:lnTo>
                        <a:pt x="445" y="492"/>
                      </a:lnTo>
                      <a:lnTo>
                        <a:pt x="443" y="494"/>
                      </a:lnTo>
                      <a:lnTo>
                        <a:pt x="442" y="496"/>
                      </a:lnTo>
                      <a:lnTo>
                        <a:pt x="442" y="496"/>
                      </a:lnTo>
                      <a:lnTo>
                        <a:pt x="442" y="498"/>
                      </a:lnTo>
                      <a:lnTo>
                        <a:pt x="440" y="498"/>
                      </a:lnTo>
                      <a:lnTo>
                        <a:pt x="440" y="498"/>
                      </a:lnTo>
                      <a:lnTo>
                        <a:pt x="436" y="500"/>
                      </a:lnTo>
                      <a:lnTo>
                        <a:pt x="436" y="500"/>
                      </a:lnTo>
                      <a:lnTo>
                        <a:pt x="429" y="500"/>
                      </a:lnTo>
                      <a:lnTo>
                        <a:pt x="429" y="498"/>
                      </a:lnTo>
                      <a:lnTo>
                        <a:pt x="430" y="496"/>
                      </a:lnTo>
                      <a:lnTo>
                        <a:pt x="430" y="496"/>
                      </a:lnTo>
                      <a:lnTo>
                        <a:pt x="430" y="496"/>
                      </a:lnTo>
                      <a:lnTo>
                        <a:pt x="430" y="494"/>
                      </a:lnTo>
                      <a:lnTo>
                        <a:pt x="429" y="494"/>
                      </a:lnTo>
                      <a:lnTo>
                        <a:pt x="429" y="494"/>
                      </a:lnTo>
                      <a:lnTo>
                        <a:pt x="427" y="496"/>
                      </a:lnTo>
                      <a:lnTo>
                        <a:pt x="421" y="502"/>
                      </a:lnTo>
                      <a:lnTo>
                        <a:pt x="416" y="509"/>
                      </a:lnTo>
                      <a:lnTo>
                        <a:pt x="414" y="507"/>
                      </a:lnTo>
                      <a:lnTo>
                        <a:pt x="412" y="503"/>
                      </a:lnTo>
                      <a:lnTo>
                        <a:pt x="412" y="498"/>
                      </a:lnTo>
                      <a:lnTo>
                        <a:pt x="412" y="498"/>
                      </a:lnTo>
                      <a:lnTo>
                        <a:pt x="414" y="496"/>
                      </a:lnTo>
                      <a:lnTo>
                        <a:pt x="414" y="496"/>
                      </a:lnTo>
                      <a:lnTo>
                        <a:pt x="416" y="491"/>
                      </a:lnTo>
                      <a:lnTo>
                        <a:pt x="416" y="491"/>
                      </a:lnTo>
                      <a:lnTo>
                        <a:pt x="418" y="485"/>
                      </a:lnTo>
                      <a:lnTo>
                        <a:pt x="416" y="485"/>
                      </a:lnTo>
                      <a:lnTo>
                        <a:pt x="414" y="485"/>
                      </a:lnTo>
                      <a:lnTo>
                        <a:pt x="414" y="487"/>
                      </a:lnTo>
                      <a:lnTo>
                        <a:pt x="414" y="487"/>
                      </a:lnTo>
                      <a:lnTo>
                        <a:pt x="414" y="487"/>
                      </a:lnTo>
                      <a:lnTo>
                        <a:pt x="414" y="489"/>
                      </a:lnTo>
                      <a:lnTo>
                        <a:pt x="414" y="491"/>
                      </a:lnTo>
                      <a:lnTo>
                        <a:pt x="414" y="494"/>
                      </a:lnTo>
                      <a:lnTo>
                        <a:pt x="412" y="494"/>
                      </a:lnTo>
                      <a:lnTo>
                        <a:pt x="412" y="494"/>
                      </a:lnTo>
                      <a:lnTo>
                        <a:pt x="410" y="496"/>
                      </a:lnTo>
                      <a:lnTo>
                        <a:pt x="410" y="496"/>
                      </a:lnTo>
                      <a:lnTo>
                        <a:pt x="408" y="496"/>
                      </a:lnTo>
                      <a:lnTo>
                        <a:pt x="408" y="496"/>
                      </a:lnTo>
                      <a:lnTo>
                        <a:pt x="408" y="498"/>
                      </a:lnTo>
                      <a:lnTo>
                        <a:pt x="408" y="498"/>
                      </a:lnTo>
                      <a:lnTo>
                        <a:pt x="406" y="498"/>
                      </a:lnTo>
                      <a:lnTo>
                        <a:pt x="405" y="498"/>
                      </a:lnTo>
                      <a:lnTo>
                        <a:pt x="405" y="498"/>
                      </a:lnTo>
                      <a:lnTo>
                        <a:pt x="399" y="496"/>
                      </a:lnTo>
                      <a:lnTo>
                        <a:pt x="399" y="496"/>
                      </a:lnTo>
                      <a:lnTo>
                        <a:pt x="394" y="494"/>
                      </a:lnTo>
                      <a:lnTo>
                        <a:pt x="388" y="494"/>
                      </a:lnTo>
                      <a:lnTo>
                        <a:pt x="382" y="492"/>
                      </a:lnTo>
                      <a:lnTo>
                        <a:pt x="379" y="491"/>
                      </a:lnTo>
                      <a:lnTo>
                        <a:pt x="375" y="491"/>
                      </a:lnTo>
                      <a:lnTo>
                        <a:pt x="375" y="494"/>
                      </a:lnTo>
                      <a:lnTo>
                        <a:pt x="375" y="498"/>
                      </a:lnTo>
                      <a:lnTo>
                        <a:pt x="375" y="503"/>
                      </a:lnTo>
                      <a:lnTo>
                        <a:pt x="375" y="507"/>
                      </a:lnTo>
                      <a:lnTo>
                        <a:pt x="373" y="507"/>
                      </a:lnTo>
                      <a:lnTo>
                        <a:pt x="368" y="507"/>
                      </a:lnTo>
                      <a:lnTo>
                        <a:pt x="364" y="507"/>
                      </a:lnTo>
                      <a:lnTo>
                        <a:pt x="366" y="515"/>
                      </a:lnTo>
                      <a:lnTo>
                        <a:pt x="368" y="522"/>
                      </a:lnTo>
                      <a:lnTo>
                        <a:pt x="370" y="529"/>
                      </a:lnTo>
                      <a:lnTo>
                        <a:pt x="373" y="537"/>
                      </a:lnTo>
                      <a:lnTo>
                        <a:pt x="375" y="544"/>
                      </a:lnTo>
                      <a:lnTo>
                        <a:pt x="377" y="551"/>
                      </a:lnTo>
                      <a:lnTo>
                        <a:pt x="379" y="559"/>
                      </a:lnTo>
                      <a:lnTo>
                        <a:pt x="381" y="568"/>
                      </a:lnTo>
                      <a:lnTo>
                        <a:pt x="366" y="570"/>
                      </a:lnTo>
                      <a:lnTo>
                        <a:pt x="349" y="575"/>
                      </a:lnTo>
                      <a:lnTo>
                        <a:pt x="340" y="577"/>
                      </a:lnTo>
                      <a:lnTo>
                        <a:pt x="331" y="579"/>
                      </a:lnTo>
                      <a:lnTo>
                        <a:pt x="320" y="583"/>
                      </a:lnTo>
                      <a:lnTo>
                        <a:pt x="311" y="583"/>
                      </a:lnTo>
                      <a:lnTo>
                        <a:pt x="301" y="585"/>
                      </a:lnTo>
                      <a:lnTo>
                        <a:pt x="292" y="585"/>
                      </a:lnTo>
                      <a:lnTo>
                        <a:pt x="290" y="585"/>
                      </a:lnTo>
                      <a:lnTo>
                        <a:pt x="287" y="585"/>
                      </a:lnTo>
                      <a:lnTo>
                        <a:pt x="283" y="585"/>
                      </a:lnTo>
                      <a:lnTo>
                        <a:pt x="279" y="583"/>
                      </a:lnTo>
                      <a:lnTo>
                        <a:pt x="274" y="583"/>
                      </a:lnTo>
                      <a:lnTo>
                        <a:pt x="270" y="581"/>
                      </a:lnTo>
                      <a:lnTo>
                        <a:pt x="270" y="581"/>
                      </a:lnTo>
                      <a:lnTo>
                        <a:pt x="266" y="579"/>
                      </a:lnTo>
                      <a:lnTo>
                        <a:pt x="266" y="579"/>
                      </a:lnTo>
                      <a:lnTo>
                        <a:pt x="264" y="577"/>
                      </a:lnTo>
                      <a:lnTo>
                        <a:pt x="264" y="577"/>
                      </a:lnTo>
                      <a:lnTo>
                        <a:pt x="261" y="575"/>
                      </a:lnTo>
                      <a:lnTo>
                        <a:pt x="259" y="574"/>
                      </a:lnTo>
                      <a:lnTo>
                        <a:pt x="259" y="574"/>
                      </a:lnTo>
                      <a:lnTo>
                        <a:pt x="257" y="570"/>
                      </a:lnTo>
                      <a:lnTo>
                        <a:pt x="257" y="570"/>
                      </a:lnTo>
                      <a:lnTo>
                        <a:pt x="253" y="566"/>
                      </a:lnTo>
                      <a:lnTo>
                        <a:pt x="253" y="566"/>
                      </a:lnTo>
                      <a:lnTo>
                        <a:pt x="253" y="561"/>
                      </a:lnTo>
                      <a:lnTo>
                        <a:pt x="253" y="561"/>
                      </a:lnTo>
                      <a:lnTo>
                        <a:pt x="257" y="561"/>
                      </a:lnTo>
                      <a:lnTo>
                        <a:pt x="261" y="561"/>
                      </a:lnTo>
                      <a:lnTo>
                        <a:pt x="263" y="561"/>
                      </a:lnTo>
                      <a:lnTo>
                        <a:pt x="263" y="561"/>
                      </a:lnTo>
                      <a:lnTo>
                        <a:pt x="263" y="561"/>
                      </a:lnTo>
                      <a:lnTo>
                        <a:pt x="264" y="561"/>
                      </a:lnTo>
                      <a:lnTo>
                        <a:pt x="264" y="559"/>
                      </a:lnTo>
                      <a:lnTo>
                        <a:pt x="264" y="559"/>
                      </a:lnTo>
                      <a:lnTo>
                        <a:pt x="264" y="557"/>
                      </a:lnTo>
                      <a:lnTo>
                        <a:pt x="253" y="557"/>
                      </a:lnTo>
                      <a:lnTo>
                        <a:pt x="242" y="559"/>
                      </a:lnTo>
                      <a:lnTo>
                        <a:pt x="229" y="559"/>
                      </a:lnTo>
                      <a:lnTo>
                        <a:pt x="218" y="561"/>
                      </a:lnTo>
                      <a:lnTo>
                        <a:pt x="207" y="561"/>
                      </a:lnTo>
                      <a:lnTo>
                        <a:pt x="194" y="561"/>
                      </a:lnTo>
                      <a:lnTo>
                        <a:pt x="183" y="562"/>
                      </a:lnTo>
                      <a:lnTo>
                        <a:pt x="172" y="562"/>
                      </a:lnTo>
                      <a:lnTo>
                        <a:pt x="172" y="568"/>
                      </a:lnTo>
                      <a:lnTo>
                        <a:pt x="172" y="574"/>
                      </a:lnTo>
                      <a:lnTo>
                        <a:pt x="172" y="574"/>
                      </a:lnTo>
                      <a:lnTo>
                        <a:pt x="167" y="575"/>
                      </a:lnTo>
                      <a:lnTo>
                        <a:pt x="159" y="575"/>
                      </a:lnTo>
                      <a:lnTo>
                        <a:pt x="154" y="577"/>
                      </a:lnTo>
                      <a:lnTo>
                        <a:pt x="148" y="577"/>
                      </a:lnTo>
                      <a:lnTo>
                        <a:pt x="148" y="583"/>
                      </a:lnTo>
                      <a:lnTo>
                        <a:pt x="148" y="588"/>
                      </a:lnTo>
                      <a:lnTo>
                        <a:pt x="148" y="596"/>
                      </a:lnTo>
                      <a:lnTo>
                        <a:pt x="148" y="603"/>
                      </a:lnTo>
                      <a:lnTo>
                        <a:pt x="146" y="601"/>
                      </a:lnTo>
                      <a:lnTo>
                        <a:pt x="144" y="599"/>
                      </a:lnTo>
                      <a:lnTo>
                        <a:pt x="143" y="596"/>
                      </a:lnTo>
                      <a:lnTo>
                        <a:pt x="143" y="596"/>
                      </a:lnTo>
                      <a:lnTo>
                        <a:pt x="139" y="592"/>
                      </a:lnTo>
                      <a:lnTo>
                        <a:pt x="139" y="592"/>
                      </a:lnTo>
                      <a:lnTo>
                        <a:pt x="139" y="590"/>
                      </a:lnTo>
                      <a:lnTo>
                        <a:pt x="135" y="583"/>
                      </a:lnTo>
                      <a:lnTo>
                        <a:pt x="131" y="575"/>
                      </a:lnTo>
                      <a:lnTo>
                        <a:pt x="130" y="568"/>
                      </a:lnTo>
                      <a:lnTo>
                        <a:pt x="126" y="561"/>
                      </a:lnTo>
                      <a:lnTo>
                        <a:pt x="122" y="553"/>
                      </a:lnTo>
                      <a:lnTo>
                        <a:pt x="120" y="550"/>
                      </a:lnTo>
                      <a:lnTo>
                        <a:pt x="120" y="553"/>
                      </a:lnTo>
                      <a:lnTo>
                        <a:pt x="122" y="559"/>
                      </a:lnTo>
                      <a:lnTo>
                        <a:pt x="122" y="566"/>
                      </a:lnTo>
                      <a:lnTo>
                        <a:pt x="122" y="574"/>
                      </a:lnTo>
                      <a:lnTo>
                        <a:pt x="113" y="574"/>
                      </a:lnTo>
                      <a:lnTo>
                        <a:pt x="102" y="574"/>
                      </a:lnTo>
                      <a:lnTo>
                        <a:pt x="93" y="575"/>
                      </a:lnTo>
                      <a:lnTo>
                        <a:pt x="84" y="575"/>
                      </a:lnTo>
                      <a:lnTo>
                        <a:pt x="78" y="575"/>
                      </a:lnTo>
                      <a:lnTo>
                        <a:pt x="74" y="575"/>
                      </a:lnTo>
                      <a:lnTo>
                        <a:pt x="74" y="575"/>
                      </a:lnTo>
                      <a:lnTo>
                        <a:pt x="74" y="579"/>
                      </a:lnTo>
                      <a:lnTo>
                        <a:pt x="74" y="585"/>
                      </a:lnTo>
                      <a:lnTo>
                        <a:pt x="74" y="588"/>
                      </a:lnTo>
                      <a:lnTo>
                        <a:pt x="74" y="588"/>
                      </a:lnTo>
                      <a:lnTo>
                        <a:pt x="74" y="590"/>
                      </a:lnTo>
                      <a:lnTo>
                        <a:pt x="74" y="594"/>
                      </a:lnTo>
                      <a:lnTo>
                        <a:pt x="74" y="598"/>
                      </a:lnTo>
                      <a:lnTo>
                        <a:pt x="74" y="603"/>
                      </a:lnTo>
                      <a:lnTo>
                        <a:pt x="74" y="607"/>
                      </a:lnTo>
                      <a:lnTo>
                        <a:pt x="72" y="607"/>
                      </a:lnTo>
                      <a:lnTo>
                        <a:pt x="67" y="607"/>
                      </a:lnTo>
                      <a:lnTo>
                        <a:pt x="63" y="607"/>
                      </a:lnTo>
                      <a:lnTo>
                        <a:pt x="63" y="609"/>
                      </a:lnTo>
                      <a:lnTo>
                        <a:pt x="63" y="609"/>
                      </a:lnTo>
                      <a:lnTo>
                        <a:pt x="63" y="610"/>
                      </a:lnTo>
                      <a:lnTo>
                        <a:pt x="63" y="610"/>
                      </a:lnTo>
                      <a:lnTo>
                        <a:pt x="67" y="610"/>
                      </a:lnTo>
                      <a:lnTo>
                        <a:pt x="74" y="610"/>
                      </a:lnTo>
                      <a:lnTo>
                        <a:pt x="74" y="612"/>
                      </a:lnTo>
                      <a:lnTo>
                        <a:pt x="74" y="620"/>
                      </a:lnTo>
                      <a:lnTo>
                        <a:pt x="76" y="627"/>
                      </a:lnTo>
                      <a:lnTo>
                        <a:pt x="78" y="634"/>
                      </a:lnTo>
                      <a:lnTo>
                        <a:pt x="80" y="642"/>
                      </a:lnTo>
                      <a:lnTo>
                        <a:pt x="80" y="642"/>
                      </a:lnTo>
                      <a:lnTo>
                        <a:pt x="80" y="649"/>
                      </a:lnTo>
                      <a:lnTo>
                        <a:pt x="82" y="657"/>
                      </a:lnTo>
                      <a:lnTo>
                        <a:pt x="84" y="664"/>
                      </a:lnTo>
                      <a:lnTo>
                        <a:pt x="85" y="671"/>
                      </a:lnTo>
                      <a:lnTo>
                        <a:pt x="87" y="671"/>
                      </a:lnTo>
                      <a:lnTo>
                        <a:pt x="93" y="671"/>
                      </a:lnTo>
                      <a:lnTo>
                        <a:pt x="96" y="671"/>
                      </a:lnTo>
                      <a:lnTo>
                        <a:pt x="102" y="671"/>
                      </a:lnTo>
                      <a:lnTo>
                        <a:pt x="102" y="671"/>
                      </a:lnTo>
                      <a:lnTo>
                        <a:pt x="100" y="675"/>
                      </a:lnTo>
                      <a:lnTo>
                        <a:pt x="100" y="677"/>
                      </a:lnTo>
                      <a:lnTo>
                        <a:pt x="100" y="677"/>
                      </a:lnTo>
                      <a:lnTo>
                        <a:pt x="98" y="681"/>
                      </a:lnTo>
                      <a:lnTo>
                        <a:pt x="96" y="682"/>
                      </a:lnTo>
                      <a:lnTo>
                        <a:pt x="102" y="688"/>
                      </a:lnTo>
                      <a:lnTo>
                        <a:pt x="108" y="692"/>
                      </a:lnTo>
                      <a:lnTo>
                        <a:pt x="108" y="692"/>
                      </a:lnTo>
                      <a:lnTo>
                        <a:pt x="111" y="695"/>
                      </a:lnTo>
                      <a:lnTo>
                        <a:pt x="115" y="699"/>
                      </a:lnTo>
                      <a:lnTo>
                        <a:pt x="115" y="699"/>
                      </a:lnTo>
                      <a:lnTo>
                        <a:pt x="119" y="703"/>
                      </a:lnTo>
                      <a:lnTo>
                        <a:pt x="122" y="706"/>
                      </a:lnTo>
                      <a:lnTo>
                        <a:pt x="122" y="706"/>
                      </a:lnTo>
                      <a:lnTo>
                        <a:pt x="124" y="708"/>
                      </a:lnTo>
                      <a:lnTo>
                        <a:pt x="126" y="712"/>
                      </a:lnTo>
                      <a:lnTo>
                        <a:pt x="126" y="712"/>
                      </a:lnTo>
                      <a:lnTo>
                        <a:pt x="128" y="716"/>
                      </a:lnTo>
                      <a:lnTo>
                        <a:pt x="130" y="721"/>
                      </a:lnTo>
                      <a:lnTo>
                        <a:pt x="131" y="725"/>
                      </a:lnTo>
                      <a:lnTo>
                        <a:pt x="133" y="730"/>
                      </a:lnTo>
                      <a:lnTo>
                        <a:pt x="135" y="741"/>
                      </a:lnTo>
                      <a:lnTo>
                        <a:pt x="139" y="753"/>
                      </a:lnTo>
                      <a:lnTo>
                        <a:pt x="143" y="754"/>
                      </a:lnTo>
                      <a:lnTo>
                        <a:pt x="146" y="756"/>
                      </a:lnTo>
                      <a:lnTo>
                        <a:pt x="152" y="756"/>
                      </a:lnTo>
                      <a:lnTo>
                        <a:pt x="157" y="758"/>
                      </a:lnTo>
                      <a:lnTo>
                        <a:pt x="157" y="758"/>
                      </a:lnTo>
                      <a:lnTo>
                        <a:pt x="155" y="764"/>
                      </a:lnTo>
                      <a:lnTo>
                        <a:pt x="155" y="769"/>
                      </a:lnTo>
                      <a:lnTo>
                        <a:pt x="154" y="775"/>
                      </a:lnTo>
                      <a:lnTo>
                        <a:pt x="152" y="782"/>
                      </a:lnTo>
                      <a:lnTo>
                        <a:pt x="139" y="789"/>
                      </a:lnTo>
                      <a:lnTo>
                        <a:pt x="126" y="799"/>
                      </a:lnTo>
                      <a:lnTo>
                        <a:pt x="115" y="806"/>
                      </a:lnTo>
                      <a:lnTo>
                        <a:pt x="102" y="813"/>
                      </a:lnTo>
                      <a:lnTo>
                        <a:pt x="102" y="821"/>
                      </a:lnTo>
                      <a:lnTo>
                        <a:pt x="102" y="828"/>
                      </a:lnTo>
                      <a:lnTo>
                        <a:pt x="102" y="834"/>
                      </a:lnTo>
                      <a:lnTo>
                        <a:pt x="102" y="843"/>
                      </a:lnTo>
                      <a:lnTo>
                        <a:pt x="100" y="843"/>
                      </a:lnTo>
                      <a:lnTo>
                        <a:pt x="96" y="843"/>
                      </a:lnTo>
                      <a:lnTo>
                        <a:pt x="93" y="845"/>
                      </a:lnTo>
                      <a:lnTo>
                        <a:pt x="89" y="845"/>
                      </a:lnTo>
                      <a:lnTo>
                        <a:pt x="85" y="847"/>
                      </a:lnTo>
                      <a:lnTo>
                        <a:pt x="85" y="860"/>
                      </a:lnTo>
                      <a:lnTo>
                        <a:pt x="85" y="873"/>
                      </a:lnTo>
                      <a:lnTo>
                        <a:pt x="85" y="887"/>
                      </a:lnTo>
                      <a:lnTo>
                        <a:pt x="85" y="902"/>
                      </a:lnTo>
                      <a:lnTo>
                        <a:pt x="85" y="902"/>
                      </a:lnTo>
                      <a:lnTo>
                        <a:pt x="78" y="900"/>
                      </a:lnTo>
                      <a:lnTo>
                        <a:pt x="71" y="898"/>
                      </a:lnTo>
                      <a:lnTo>
                        <a:pt x="65" y="897"/>
                      </a:lnTo>
                      <a:lnTo>
                        <a:pt x="65" y="897"/>
                      </a:lnTo>
                      <a:lnTo>
                        <a:pt x="60" y="897"/>
                      </a:lnTo>
                      <a:lnTo>
                        <a:pt x="60" y="900"/>
                      </a:lnTo>
                      <a:lnTo>
                        <a:pt x="60" y="908"/>
                      </a:lnTo>
                      <a:lnTo>
                        <a:pt x="45" y="911"/>
                      </a:lnTo>
                      <a:lnTo>
                        <a:pt x="34" y="915"/>
                      </a:lnTo>
                      <a:lnTo>
                        <a:pt x="21" y="919"/>
                      </a:lnTo>
                      <a:lnTo>
                        <a:pt x="8" y="922"/>
                      </a:lnTo>
                      <a:lnTo>
                        <a:pt x="6" y="926"/>
                      </a:lnTo>
                      <a:lnTo>
                        <a:pt x="4" y="928"/>
                      </a:lnTo>
                      <a:lnTo>
                        <a:pt x="4" y="933"/>
                      </a:lnTo>
                      <a:lnTo>
                        <a:pt x="4" y="937"/>
                      </a:lnTo>
                      <a:lnTo>
                        <a:pt x="4" y="941"/>
                      </a:lnTo>
                      <a:lnTo>
                        <a:pt x="6" y="944"/>
                      </a:lnTo>
                      <a:lnTo>
                        <a:pt x="8" y="948"/>
                      </a:lnTo>
                      <a:lnTo>
                        <a:pt x="8" y="952"/>
                      </a:lnTo>
                      <a:lnTo>
                        <a:pt x="10" y="954"/>
                      </a:lnTo>
                      <a:lnTo>
                        <a:pt x="12" y="957"/>
                      </a:lnTo>
                      <a:lnTo>
                        <a:pt x="19" y="968"/>
                      </a:lnTo>
                      <a:lnTo>
                        <a:pt x="28" y="983"/>
                      </a:lnTo>
                      <a:lnTo>
                        <a:pt x="30" y="998"/>
                      </a:lnTo>
                      <a:lnTo>
                        <a:pt x="32" y="1013"/>
                      </a:lnTo>
                      <a:lnTo>
                        <a:pt x="32" y="1028"/>
                      </a:lnTo>
                      <a:lnTo>
                        <a:pt x="32" y="1028"/>
                      </a:lnTo>
                      <a:lnTo>
                        <a:pt x="34" y="1042"/>
                      </a:lnTo>
                      <a:lnTo>
                        <a:pt x="34" y="1057"/>
                      </a:lnTo>
                      <a:lnTo>
                        <a:pt x="36" y="1072"/>
                      </a:lnTo>
                      <a:lnTo>
                        <a:pt x="37" y="1088"/>
                      </a:lnTo>
                      <a:lnTo>
                        <a:pt x="37" y="1103"/>
                      </a:lnTo>
                      <a:lnTo>
                        <a:pt x="37" y="1103"/>
                      </a:lnTo>
                      <a:lnTo>
                        <a:pt x="32" y="1105"/>
                      </a:lnTo>
                      <a:lnTo>
                        <a:pt x="24" y="1107"/>
                      </a:lnTo>
                      <a:lnTo>
                        <a:pt x="19" y="1111"/>
                      </a:lnTo>
                      <a:lnTo>
                        <a:pt x="12" y="1114"/>
                      </a:lnTo>
                      <a:lnTo>
                        <a:pt x="10" y="1116"/>
                      </a:lnTo>
                      <a:lnTo>
                        <a:pt x="8" y="1118"/>
                      </a:lnTo>
                      <a:lnTo>
                        <a:pt x="4" y="1120"/>
                      </a:lnTo>
                      <a:lnTo>
                        <a:pt x="2" y="1123"/>
                      </a:lnTo>
                      <a:lnTo>
                        <a:pt x="2" y="1125"/>
                      </a:lnTo>
                      <a:lnTo>
                        <a:pt x="0" y="1129"/>
                      </a:lnTo>
                      <a:lnTo>
                        <a:pt x="0" y="1133"/>
                      </a:lnTo>
                      <a:lnTo>
                        <a:pt x="0" y="1135"/>
                      </a:lnTo>
                      <a:lnTo>
                        <a:pt x="2" y="1135"/>
                      </a:lnTo>
                      <a:lnTo>
                        <a:pt x="6" y="1135"/>
                      </a:lnTo>
                      <a:lnTo>
                        <a:pt x="12" y="1135"/>
                      </a:lnTo>
                      <a:lnTo>
                        <a:pt x="15" y="1135"/>
                      </a:lnTo>
                      <a:lnTo>
                        <a:pt x="15" y="1135"/>
                      </a:lnTo>
                      <a:lnTo>
                        <a:pt x="19" y="1140"/>
                      </a:lnTo>
                      <a:lnTo>
                        <a:pt x="19" y="1140"/>
                      </a:lnTo>
                      <a:lnTo>
                        <a:pt x="21" y="1146"/>
                      </a:lnTo>
                      <a:lnTo>
                        <a:pt x="23" y="1149"/>
                      </a:lnTo>
                      <a:lnTo>
                        <a:pt x="23" y="1149"/>
                      </a:lnTo>
                      <a:lnTo>
                        <a:pt x="23" y="1155"/>
                      </a:lnTo>
                      <a:lnTo>
                        <a:pt x="24" y="1162"/>
                      </a:lnTo>
                      <a:lnTo>
                        <a:pt x="24" y="1162"/>
                      </a:lnTo>
                      <a:lnTo>
                        <a:pt x="24" y="1170"/>
                      </a:lnTo>
                      <a:lnTo>
                        <a:pt x="26" y="1181"/>
                      </a:lnTo>
                      <a:lnTo>
                        <a:pt x="28" y="1194"/>
                      </a:lnTo>
                      <a:lnTo>
                        <a:pt x="32" y="1194"/>
                      </a:lnTo>
                      <a:lnTo>
                        <a:pt x="39" y="1194"/>
                      </a:lnTo>
                      <a:lnTo>
                        <a:pt x="39" y="1195"/>
                      </a:lnTo>
                      <a:lnTo>
                        <a:pt x="39" y="1203"/>
                      </a:lnTo>
                      <a:lnTo>
                        <a:pt x="39" y="1212"/>
                      </a:lnTo>
                      <a:lnTo>
                        <a:pt x="39" y="1219"/>
                      </a:lnTo>
                      <a:lnTo>
                        <a:pt x="39" y="1227"/>
                      </a:lnTo>
                      <a:lnTo>
                        <a:pt x="41" y="1229"/>
                      </a:lnTo>
                      <a:lnTo>
                        <a:pt x="43" y="1229"/>
                      </a:lnTo>
                      <a:lnTo>
                        <a:pt x="47" y="1231"/>
                      </a:lnTo>
                      <a:lnTo>
                        <a:pt x="47" y="1231"/>
                      </a:lnTo>
                      <a:lnTo>
                        <a:pt x="50" y="1231"/>
                      </a:lnTo>
                      <a:lnTo>
                        <a:pt x="50" y="1232"/>
                      </a:lnTo>
                      <a:lnTo>
                        <a:pt x="50" y="1238"/>
                      </a:lnTo>
                      <a:lnTo>
                        <a:pt x="50" y="1238"/>
                      </a:lnTo>
                      <a:lnTo>
                        <a:pt x="50" y="1243"/>
                      </a:lnTo>
                      <a:lnTo>
                        <a:pt x="50" y="1243"/>
                      </a:lnTo>
                      <a:lnTo>
                        <a:pt x="48" y="1249"/>
                      </a:lnTo>
                      <a:lnTo>
                        <a:pt x="48" y="1249"/>
                      </a:lnTo>
                      <a:lnTo>
                        <a:pt x="47" y="1255"/>
                      </a:lnTo>
                      <a:lnTo>
                        <a:pt x="45" y="1260"/>
                      </a:lnTo>
                      <a:lnTo>
                        <a:pt x="43" y="1266"/>
                      </a:lnTo>
                      <a:lnTo>
                        <a:pt x="43" y="1266"/>
                      </a:lnTo>
                      <a:lnTo>
                        <a:pt x="41" y="1271"/>
                      </a:lnTo>
                      <a:lnTo>
                        <a:pt x="39" y="1275"/>
                      </a:lnTo>
                      <a:lnTo>
                        <a:pt x="34" y="1286"/>
                      </a:lnTo>
                      <a:lnTo>
                        <a:pt x="28" y="1297"/>
                      </a:lnTo>
                      <a:lnTo>
                        <a:pt x="26" y="1302"/>
                      </a:lnTo>
                      <a:lnTo>
                        <a:pt x="26" y="1308"/>
                      </a:lnTo>
                      <a:lnTo>
                        <a:pt x="24" y="1315"/>
                      </a:lnTo>
                      <a:lnTo>
                        <a:pt x="24" y="1321"/>
                      </a:lnTo>
                      <a:lnTo>
                        <a:pt x="34" y="1323"/>
                      </a:lnTo>
                      <a:lnTo>
                        <a:pt x="43" y="1326"/>
                      </a:lnTo>
                      <a:lnTo>
                        <a:pt x="54" y="1330"/>
                      </a:lnTo>
                      <a:lnTo>
                        <a:pt x="65" y="1332"/>
                      </a:lnTo>
                      <a:lnTo>
                        <a:pt x="71" y="1334"/>
                      </a:lnTo>
                      <a:lnTo>
                        <a:pt x="76" y="1336"/>
                      </a:lnTo>
                      <a:lnTo>
                        <a:pt x="82" y="1336"/>
                      </a:lnTo>
                      <a:lnTo>
                        <a:pt x="87" y="1336"/>
                      </a:lnTo>
                      <a:lnTo>
                        <a:pt x="93" y="1338"/>
                      </a:lnTo>
                      <a:lnTo>
                        <a:pt x="98" y="1338"/>
                      </a:lnTo>
                      <a:lnTo>
                        <a:pt x="104" y="1338"/>
                      </a:lnTo>
                      <a:lnTo>
                        <a:pt x="108" y="1336"/>
                      </a:lnTo>
                      <a:lnTo>
                        <a:pt x="108" y="1336"/>
                      </a:lnTo>
                      <a:lnTo>
                        <a:pt x="109" y="1336"/>
                      </a:lnTo>
                      <a:lnTo>
                        <a:pt x="109" y="1336"/>
                      </a:lnTo>
                      <a:lnTo>
                        <a:pt x="109" y="1336"/>
                      </a:lnTo>
                      <a:lnTo>
                        <a:pt x="115" y="1336"/>
                      </a:lnTo>
                      <a:lnTo>
                        <a:pt x="120" y="1336"/>
                      </a:lnTo>
                      <a:lnTo>
                        <a:pt x="120" y="1338"/>
                      </a:lnTo>
                      <a:lnTo>
                        <a:pt x="120" y="1341"/>
                      </a:lnTo>
                      <a:lnTo>
                        <a:pt x="120" y="1347"/>
                      </a:lnTo>
                      <a:lnTo>
                        <a:pt x="126" y="1347"/>
                      </a:lnTo>
                      <a:lnTo>
                        <a:pt x="131" y="1347"/>
                      </a:lnTo>
                      <a:lnTo>
                        <a:pt x="131" y="1347"/>
                      </a:lnTo>
                      <a:lnTo>
                        <a:pt x="133" y="1352"/>
                      </a:lnTo>
                      <a:lnTo>
                        <a:pt x="133" y="1356"/>
                      </a:lnTo>
                      <a:lnTo>
                        <a:pt x="135" y="1360"/>
                      </a:lnTo>
                      <a:lnTo>
                        <a:pt x="135" y="1365"/>
                      </a:lnTo>
                      <a:lnTo>
                        <a:pt x="135" y="1365"/>
                      </a:lnTo>
                      <a:lnTo>
                        <a:pt x="130" y="1367"/>
                      </a:lnTo>
                      <a:lnTo>
                        <a:pt x="126" y="1367"/>
                      </a:lnTo>
                      <a:lnTo>
                        <a:pt x="120" y="1369"/>
                      </a:lnTo>
                      <a:lnTo>
                        <a:pt x="115" y="1369"/>
                      </a:lnTo>
                      <a:lnTo>
                        <a:pt x="117" y="1374"/>
                      </a:lnTo>
                      <a:lnTo>
                        <a:pt x="117" y="1380"/>
                      </a:lnTo>
                      <a:lnTo>
                        <a:pt x="119" y="1384"/>
                      </a:lnTo>
                      <a:lnTo>
                        <a:pt x="120" y="1389"/>
                      </a:lnTo>
                      <a:lnTo>
                        <a:pt x="128" y="1387"/>
                      </a:lnTo>
                      <a:lnTo>
                        <a:pt x="135" y="1387"/>
                      </a:lnTo>
                      <a:lnTo>
                        <a:pt x="144" y="1386"/>
                      </a:lnTo>
                      <a:lnTo>
                        <a:pt x="154" y="1386"/>
                      </a:lnTo>
                      <a:lnTo>
                        <a:pt x="154" y="1386"/>
                      </a:lnTo>
                      <a:lnTo>
                        <a:pt x="155" y="1393"/>
                      </a:lnTo>
                      <a:lnTo>
                        <a:pt x="157" y="1400"/>
                      </a:lnTo>
                      <a:lnTo>
                        <a:pt x="161" y="1410"/>
                      </a:lnTo>
                      <a:lnTo>
                        <a:pt x="163" y="1419"/>
                      </a:lnTo>
                      <a:lnTo>
                        <a:pt x="167" y="1426"/>
                      </a:lnTo>
                      <a:lnTo>
                        <a:pt x="170" y="1434"/>
                      </a:lnTo>
                      <a:lnTo>
                        <a:pt x="172" y="1437"/>
                      </a:lnTo>
                      <a:lnTo>
                        <a:pt x="174" y="1441"/>
                      </a:lnTo>
                      <a:lnTo>
                        <a:pt x="176" y="1443"/>
                      </a:lnTo>
                      <a:lnTo>
                        <a:pt x="179" y="1445"/>
                      </a:lnTo>
                      <a:lnTo>
                        <a:pt x="179" y="1446"/>
                      </a:lnTo>
                      <a:lnTo>
                        <a:pt x="176" y="1452"/>
                      </a:lnTo>
                      <a:lnTo>
                        <a:pt x="176" y="1452"/>
                      </a:lnTo>
                      <a:lnTo>
                        <a:pt x="172" y="1458"/>
                      </a:lnTo>
                      <a:lnTo>
                        <a:pt x="170" y="1463"/>
                      </a:lnTo>
                      <a:lnTo>
                        <a:pt x="170" y="1463"/>
                      </a:lnTo>
                      <a:lnTo>
                        <a:pt x="167" y="1469"/>
                      </a:lnTo>
                      <a:lnTo>
                        <a:pt x="174" y="1470"/>
                      </a:lnTo>
                      <a:lnTo>
                        <a:pt x="181" y="1474"/>
                      </a:lnTo>
                      <a:lnTo>
                        <a:pt x="191" y="1478"/>
                      </a:lnTo>
                      <a:lnTo>
                        <a:pt x="200" y="1480"/>
                      </a:lnTo>
                      <a:lnTo>
                        <a:pt x="198" y="1481"/>
                      </a:lnTo>
                      <a:lnTo>
                        <a:pt x="198" y="1483"/>
                      </a:lnTo>
                      <a:lnTo>
                        <a:pt x="196" y="1485"/>
                      </a:lnTo>
                      <a:lnTo>
                        <a:pt x="194" y="1487"/>
                      </a:lnTo>
                      <a:lnTo>
                        <a:pt x="194" y="1491"/>
                      </a:lnTo>
                      <a:lnTo>
                        <a:pt x="194" y="1498"/>
                      </a:lnTo>
                      <a:lnTo>
                        <a:pt x="192" y="1511"/>
                      </a:lnTo>
                      <a:lnTo>
                        <a:pt x="192" y="1511"/>
                      </a:lnTo>
                      <a:lnTo>
                        <a:pt x="187" y="1511"/>
                      </a:lnTo>
                      <a:lnTo>
                        <a:pt x="181" y="1511"/>
                      </a:lnTo>
                      <a:lnTo>
                        <a:pt x="187" y="1522"/>
                      </a:lnTo>
                      <a:lnTo>
                        <a:pt x="191" y="1531"/>
                      </a:lnTo>
                      <a:lnTo>
                        <a:pt x="192" y="1537"/>
                      </a:lnTo>
                      <a:lnTo>
                        <a:pt x="196" y="1541"/>
                      </a:lnTo>
                      <a:lnTo>
                        <a:pt x="198" y="1544"/>
                      </a:lnTo>
                      <a:lnTo>
                        <a:pt x="200" y="1548"/>
                      </a:lnTo>
                      <a:lnTo>
                        <a:pt x="202" y="1552"/>
                      </a:lnTo>
                      <a:lnTo>
                        <a:pt x="205" y="1553"/>
                      </a:lnTo>
                      <a:lnTo>
                        <a:pt x="207" y="1557"/>
                      </a:lnTo>
                      <a:lnTo>
                        <a:pt x="211" y="1559"/>
                      </a:lnTo>
                      <a:lnTo>
                        <a:pt x="216" y="1563"/>
                      </a:lnTo>
                      <a:lnTo>
                        <a:pt x="220" y="1565"/>
                      </a:lnTo>
                      <a:lnTo>
                        <a:pt x="226" y="1568"/>
                      </a:lnTo>
                      <a:lnTo>
                        <a:pt x="231" y="1570"/>
                      </a:lnTo>
                      <a:lnTo>
                        <a:pt x="231" y="1581"/>
                      </a:lnTo>
                      <a:lnTo>
                        <a:pt x="229" y="1590"/>
                      </a:lnTo>
                      <a:lnTo>
                        <a:pt x="226" y="1601"/>
                      </a:lnTo>
                      <a:lnTo>
                        <a:pt x="224" y="1613"/>
                      </a:lnTo>
                      <a:lnTo>
                        <a:pt x="218" y="1635"/>
                      </a:lnTo>
                      <a:lnTo>
                        <a:pt x="213" y="1657"/>
                      </a:lnTo>
                      <a:lnTo>
                        <a:pt x="211" y="1668"/>
                      </a:lnTo>
                      <a:lnTo>
                        <a:pt x="209" y="1679"/>
                      </a:lnTo>
                      <a:lnTo>
                        <a:pt x="207" y="1690"/>
                      </a:lnTo>
                      <a:lnTo>
                        <a:pt x="207" y="1701"/>
                      </a:lnTo>
                      <a:lnTo>
                        <a:pt x="207" y="1707"/>
                      </a:lnTo>
                      <a:lnTo>
                        <a:pt x="207" y="1712"/>
                      </a:lnTo>
                      <a:lnTo>
                        <a:pt x="209" y="1716"/>
                      </a:lnTo>
                      <a:lnTo>
                        <a:pt x="209" y="1721"/>
                      </a:lnTo>
                      <a:lnTo>
                        <a:pt x="211" y="1725"/>
                      </a:lnTo>
                      <a:lnTo>
                        <a:pt x="213" y="1731"/>
                      </a:lnTo>
                      <a:lnTo>
                        <a:pt x="215" y="1734"/>
                      </a:lnTo>
                      <a:lnTo>
                        <a:pt x="215" y="1734"/>
                      </a:lnTo>
                      <a:lnTo>
                        <a:pt x="216" y="1740"/>
                      </a:lnTo>
                      <a:lnTo>
                        <a:pt x="224" y="1740"/>
                      </a:lnTo>
                      <a:lnTo>
                        <a:pt x="224" y="1740"/>
                      </a:lnTo>
                      <a:lnTo>
                        <a:pt x="231" y="1740"/>
                      </a:lnTo>
                      <a:lnTo>
                        <a:pt x="240" y="1742"/>
                      </a:lnTo>
                      <a:lnTo>
                        <a:pt x="248" y="1742"/>
                      </a:lnTo>
                      <a:lnTo>
                        <a:pt x="250" y="1740"/>
                      </a:lnTo>
                      <a:lnTo>
                        <a:pt x="251" y="1738"/>
                      </a:lnTo>
                      <a:lnTo>
                        <a:pt x="253" y="1736"/>
                      </a:lnTo>
                      <a:lnTo>
                        <a:pt x="253" y="1734"/>
                      </a:lnTo>
                      <a:lnTo>
                        <a:pt x="255" y="1727"/>
                      </a:lnTo>
                      <a:lnTo>
                        <a:pt x="259" y="1718"/>
                      </a:lnTo>
                      <a:lnTo>
                        <a:pt x="285" y="1712"/>
                      </a:lnTo>
                      <a:lnTo>
                        <a:pt x="299" y="1708"/>
                      </a:lnTo>
                      <a:lnTo>
                        <a:pt x="303" y="1707"/>
                      </a:lnTo>
                      <a:lnTo>
                        <a:pt x="307" y="1707"/>
                      </a:lnTo>
                      <a:lnTo>
                        <a:pt x="311" y="1703"/>
                      </a:lnTo>
                      <a:lnTo>
                        <a:pt x="314" y="1701"/>
                      </a:lnTo>
                      <a:lnTo>
                        <a:pt x="316" y="1692"/>
                      </a:lnTo>
                      <a:lnTo>
                        <a:pt x="316" y="1692"/>
                      </a:lnTo>
                      <a:lnTo>
                        <a:pt x="318" y="1686"/>
                      </a:lnTo>
                      <a:lnTo>
                        <a:pt x="318" y="1686"/>
                      </a:lnTo>
                      <a:lnTo>
                        <a:pt x="320" y="1684"/>
                      </a:lnTo>
                      <a:lnTo>
                        <a:pt x="320" y="1684"/>
                      </a:lnTo>
                      <a:lnTo>
                        <a:pt x="322" y="1684"/>
                      </a:lnTo>
                      <a:lnTo>
                        <a:pt x="322" y="1684"/>
                      </a:lnTo>
                      <a:lnTo>
                        <a:pt x="323" y="1684"/>
                      </a:lnTo>
                      <a:lnTo>
                        <a:pt x="325" y="1684"/>
                      </a:lnTo>
                      <a:lnTo>
                        <a:pt x="325" y="1684"/>
                      </a:lnTo>
                      <a:lnTo>
                        <a:pt x="325" y="1688"/>
                      </a:lnTo>
                      <a:lnTo>
                        <a:pt x="325" y="1692"/>
                      </a:lnTo>
                      <a:lnTo>
                        <a:pt x="325" y="1697"/>
                      </a:lnTo>
                      <a:lnTo>
                        <a:pt x="325" y="1701"/>
                      </a:lnTo>
                      <a:lnTo>
                        <a:pt x="331" y="1701"/>
                      </a:lnTo>
                      <a:lnTo>
                        <a:pt x="336" y="1701"/>
                      </a:lnTo>
                      <a:lnTo>
                        <a:pt x="336" y="1701"/>
                      </a:lnTo>
                      <a:lnTo>
                        <a:pt x="336" y="1710"/>
                      </a:lnTo>
                      <a:lnTo>
                        <a:pt x="336" y="1720"/>
                      </a:lnTo>
                      <a:lnTo>
                        <a:pt x="336" y="1729"/>
                      </a:lnTo>
                      <a:lnTo>
                        <a:pt x="336" y="1738"/>
                      </a:lnTo>
                      <a:lnTo>
                        <a:pt x="338" y="1738"/>
                      </a:lnTo>
                      <a:lnTo>
                        <a:pt x="338" y="1738"/>
                      </a:lnTo>
                      <a:lnTo>
                        <a:pt x="340" y="1738"/>
                      </a:lnTo>
                      <a:lnTo>
                        <a:pt x="340" y="1736"/>
                      </a:lnTo>
                      <a:lnTo>
                        <a:pt x="340" y="1731"/>
                      </a:lnTo>
                      <a:lnTo>
                        <a:pt x="340" y="1716"/>
                      </a:lnTo>
                      <a:lnTo>
                        <a:pt x="340" y="1716"/>
                      </a:lnTo>
                      <a:lnTo>
                        <a:pt x="347" y="1716"/>
                      </a:lnTo>
                      <a:lnTo>
                        <a:pt x="351" y="1716"/>
                      </a:lnTo>
                      <a:lnTo>
                        <a:pt x="351" y="1712"/>
                      </a:lnTo>
                      <a:lnTo>
                        <a:pt x="351" y="1705"/>
                      </a:lnTo>
                      <a:lnTo>
                        <a:pt x="351" y="1705"/>
                      </a:lnTo>
                      <a:lnTo>
                        <a:pt x="357" y="1705"/>
                      </a:lnTo>
                      <a:lnTo>
                        <a:pt x="360" y="1705"/>
                      </a:lnTo>
                      <a:lnTo>
                        <a:pt x="364" y="1705"/>
                      </a:lnTo>
                      <a:lnTo>
                        <a:pt x="368" y="1705"/>
                      </a:lnTo>
                      <a:lnTo>
                        <a:pt x="370" y="1696"/>
                      </a:lnTo>
                      <a:lnTo>
                        <a:pt x="370" y="1684"/>
                      </a:lnTo>
                      <a:lnTo>
                        <a:pt x="371" y="1673"/>
                      </a:lnTo>
                      <a:lnTo>
                        <a:pt x="373" y="1662"/>
                      </a:lnTo>
                      <a:lnTo>
                        <a:pt x="373" y="1662"/>
                      </a:lnTo>
                      <a:lnTo>
                        <a:pt x="379" y="1660"/>
                      </a:lnTo>
                      <a:lnTo>
                        <a:pt x="381" y="1657"/>
                      </a:lnTo>
                      <a:lnTo>
                        <a:pt x="384" y="1655"/>
                      </a:lnTo>
                      <a:lnTo>
                        <a:pt x="388" y="1653"/>
                      </a:lnTo>
                      <a:lnTo>
                        <a:pt x="390" y="1649"/>
                      </a:lnTo>
                      <a:lnTo>
                        <a:pt x="392" y="1648"/>
                      </a:lnTo>
                      <a:lnTo>
                        <a:pt x="394" y="1646"/>
                      </a:lnTo>
                      <a:lnTo>
                        <a:pt x="395" y="1642"/>
                      </a:lnTo>
                      <a:lnTo>
                        <a:pt x="395" y="1638"/>
                      </a:lnTo>
                      <a:lnTo>
                        <a:pt x="397" y="1637"/>
                      </a:lnTo>
                      <a:lnTo>
                        <a:pt x="397" y="1633"/>
                      </a:lnTo>
                      <a:lnTo>
                        <a:pt x="399" y="1629"/>
                      </a:lnTo>
                      <a:lnTo>
                        <a:pt x="399" y="1622"/>
                      </a:lnTo>
                      <a:lnTo>
                        <a:pt x="401" y="1613"/>
                      </a:lnTo>
                      <a:lnTo>
                        <a:pt x="401" y="1613"/>
                      </a:lnTo>
                      <a:lnTo>
                        <a:pt x="403" y="1611"/>
                      </a:lnTo>
                      <a:lnTo>
                        <a:pt x="406" y="1611"/>
                      </a:lnTo>
                      <a:lnTo>
                        <a:pt x="410" y="1609"/>
                      </a:lnTo>
                      <a:lnTo>
                        <a:pt x="410" y="1609"/>
                      </a:lnTo>
                      <a:lnTo>
                        <a:pt x="412" y="1609"/>
                      </a:lnTo>
                      <a:lnTo>
                        <a:pt x="414" y="1603"/>
                      </a:lnTo>
                      <a:lnTo>
                        <a:pt x="414" y="1598"/>
                      </a:lnTo>
                      <a:lnTo>
                        <a:pt x="416" y="1592"/>
                      </a:lnTo>
                      <a:lnTo>
                        <a:pt x="418" y="1585"/>
                      </a:lnTo>
                      <a:lnTo>
                        <a:pt x="430" y="1585"/>
                      </a:lnTo>
                      <a:lnTo>
                        <a:pt x="442" y="1585"/>
                      </a:lnTo>
                      <a:lnTo>
                        <a:pt x="453" y="1587"/>
                      </a:lnTo>
                      <a:lnTo>
                        <a:pt x="462" y="1589"/>
                      </a:lnTo>
                      <a:lnTo>
                        <a:pt x="473" y="1590"/>
                      </a:lnTo>
                      <a:lnTo>
                        <a:pt x="482" y="1594"/>
                      </a:lnTo>
                      <a:lnTo>
                        <a:pt x="493" y="1596"/>
                      </a:lnTo>
                      <a:lnTo>
                        <a:pt x="506" y="1601"/>
                      </a:lnTo>
                      <a:lnTo>
                        <a:pt x="508" y="1611"/>
                      </a:lnTo>
                      <a:lnTo>
                        <a:pt x="508" y="1620"/>
                      </a:lnTo>
                      <a:lnTo>
                        <a:pt x="510" y="1631"/>
                      </a:lnTo>
                      <a:lnTo>
                        <a:pt x="512" y="1640"/>
                      </a:lnTo>
                      <a:lnTo>
                        <a:pt x="519" y="1638"/>
                      </a:lnTo>
                      <a:lnTo>
                        <a:pt x="526" y="1638"/>
                      </a:lnTo>
                      <a:lnTo>
                        <a:pt x="536" y="1637"/>
                      </a:lnTo>
                      <a:lnTo>
                        <a:pt x="543" y="1637"/>
                      </a:lnTo>
                      <a:lnTo>
                        <a:pt x="539" y="1635"/>
                      </a:lnTo>
                      <a:lnTo>
                        <a:pt x="539" y="1635"/>
                      </a:lnTo>
                      <a:lnTo>
                        <a:pt x="536" y="1631"/>
                      </a:lnTo>
                      <a:lnTo>
                        <a:pt x="538" y="1631"/>
                      </a:lnTo>
                      <a:lnTo>
                        <a:pt x="541" y="1629"/>
                      </a:lnTo>
                      <a:lnTo>
                        <a:pt x="547" y="1627"/>
                      </a:lnTo>
                      <a:lnTo>
                        <a:pt x="550" y="1625"/>
                      </a:lnTo>
                      <a:lnTo>
                        <a:pt x="556" y="1622"/>
                      </a:lnTo>
                      <a:lnTo>
                        <a:pt x="556" y="1624"/>
                      </a:lnTo>
                      <a:lnTo>
                        <a:pt x="556" y="1629"/>
                      </a:lnTo>
                      <a:lnTo>
                        <a:pt x="556" y="1635"/>
                      </a:lnTo>
                      <a:lnTo>
                        <a:pt x="567" y="1635"/>
                      </a:lnTo>
                      <a:lnTo>
                        <a:pt x="567" y="1635"/>
                      </a:lnTo>
                      <a:lnTo>
                        <a:pt x="574" y="1637"/>
                      </a:lnTo>
                      <a:lnTo>
                        <a:pt x="574" y="1637"/>
                      </a:lnTo>
                      <a:lnTo>
                        <a:pt x="576" y="1638"/>
                      </a:lnTo>
                      <a:lnTo>
                        <a:pt x="576" y="1638"/>
                      </a:lnTo>
                      <a:lnTo>
                        <a:pt x="580" y="1638"/>
                      </a:lnTo>
                      <a:lnTo>
                        <a:pt x="580" y="1638"/>
                      </a:lnTo>
                      <a:lnTo>
                        <a:pt x="580" y="1640"/>
                      </a:lnTo>
                      <a:lnTo>
                        <a:pt x="580" y="1640"/>
                      </a:lnTo>
                      <a:lnTo>
                        <a:pt x="584" y="1642"/>
                      </a:lnTo>
                      <a:lnTo>
                        <a:pt x="582" y="1644"/>
                      </a:lnTo>
                      <a:lnTo>
                        <a:pt x="580" y="1646"/>
                      </a:lnTo>
                      <a:lnTo>
                        <a:pt x="578" y="1648"/>
                      </a:lnTo>
                      <a:lnTo>
                        <a:pt x="580" y="1651"/>
                      </a:lnTo>
                      <a:lnTo>
                        <a:pt x="580" y="1651"/>
                      </a:lnTo>
                      <a:lnTo>
                        <a:pt x="584" y="1655"/>
                      </a:lnTo>
                      <a:lnTo>
                        <a:pt x="584" y="1655"/>
                      </a:lnTo>
                      <a:lnTo>
                        <a:pt x="585" y="1659"/>
                      </a:lnTo>
                      <a:lnTo>
                        <a:pt x="585" y="1659"/>
                      </a:lnTo>
                      <a:lnTo>
                        <a:pt x="587" y="1662"/>
                      </a:lnTo>
                      <a:lnTo>
                        <a:pt x="591" y="1668"/>
                      </a:lnTo>
                      <a:lnTo>
                        <a:pt x="591" y="1668"/>
                      </a:lnTo>
                      <a:lnTo>
                        <a:pt x="593" y="1675"/>
                      </a:lnTo>
                      <a:lnTo>
                        <a:pt x="593" y="1679"/>
                      </a:lnTo>
                      <a:lnTo>
                        <a:pt x="595" y="1683"/>
                      </a:lnTo>
                      <a:lnTo>
                        <a:pt x="597" y="1684"/>
                      </a:lnTo>
                      <a:lnTo>
                        <a:pt x="598" y="1688"/>
                      </a:lnTo>
                      <a:lnTo>
                        <a:pt x="600" y="1690"/>
                      </a:lnTo>
                      <a:lnTo>
                        <a:pt x="602" y="1694"/>
                      </a:lnTo>
                      <a:lnTo>
                        <a:pt x="606" y="1696"/>
                      </a:lnTo>
                      <a:lnTo>
                        <a:pt x="611" y="1697"/>
                      </a:lnTo>
                      <a:lnTo>
                        <a:pt x="611" y="1697"/>
                      </a:lnTo>
                      <a:lnTo>
                        <a:pt x="613" y="1703"/>
                      </a:lnTo>
                      <a:lnTo>
                        <a:pt x="617" y="1708"/>
                      </a:lnTo>
                      <a:lnTo>
                        <a:pt x="619" y="1716"/>
                      </a:lnTo>
                      <a:lnTo>
                        <a:pt x="621" y="1720"/>
                      </a:lnTo>
                      <a:lnTo>
                        <a:pt x="622" y="1720"/>
                      </a:lnTo>
                      <a:lnTo>
                        <a:pt x="622" y="1721"/>
                      </a:lnTo>
                      <a:lnTo>
                        <a:pt x="622" y="1721"/>
                      </a:lnTo>
                      <a:lnTo>
                        <a:pt x="622" y="1721"/>
                      </a:lnTo>
                      <a:lnTo>
                        <a:pt x="622" y="1721"/>
                      </a:lnTo>
                      <a:lnTo>
                        <a:pt x="622" y="1721"/>
                      </a:lnTo>
                      <a:lnTo>
                        <a:pt x="626" y="1740"/>
                      </a:lnTo>
                      <a:lnTo>
                        <a:pt x="630" y="1751"/>
                      </a:lnTo>
                      <a:lnTo>
                        <a:pt x="632" y="1756"/>
                      </a:lnTo>
                      <a:lnTo>
                        <a:pt x="633" y="1758"/>
                      </a:lnTo>
                      <a:lnTo>
                        <a:pt x="635" y="1762"/>
                      </a:lnTo>
                      <a:lnTo>
                        <a:pt x="637" y="1766"/>
                      </a:lnTo>
                      <a:lnTo>
                        <a:pt x="641" y="1764"/>
                      </a:lnTo>
                      <a:lnTo>
                        <a:pt x="646" y="1758"/>
                      </a:lnTo>
                      <a:lnTo>
                        <a:pt x="652" y="1771"/>
                      </a:lnTo>
                      <a:lnTo>
                        <a:pt x="659" y="1786"/>
                      </a:lnTo>
                      <a:lnTo>
                        <a:pt x="663" y="1793"/>
                      </a:lnTo>
                      <a:lnTo>
                        <a:pt x="669" y="1799"/>
                      </a:lnTo>
                      <a:lnTo>
                        <a:pt x="670" y="1803"/>
                      </a:lnTo>
                      <a:lnTo>
                        <a:pt x="672" y="1804"/>
                      </a:lnTo>
                      <a:lnTo>
                        <a:pt x="674" y="1806"/>
                      </a:lnTo>
                      <a:lnTo>
                        <a:pt x="676" y="1808"/>
                      </a:lnTo>
                      <a:lnTo>
                        <a:pt x="680" y="1806"/>
                      </a:lnTo>
                      <a:lnTo>
                        <a:pt x="681" y="1806"/>
                      </a:lnTo>
                      <a:lnTo>
                        <a:pt x="685" y="1804"/>
                      </a:lnTo>
                      <a:lnTo>
                        <a:pt x="685" y="1804"/>
                      </a:lnTo>
                      <a:lnTo>
                        <a:pt x="687" y="1803"/>
                      </a:lnTo>
                      <a:lnTo>
                        <a:pt x="689" y="1801"/>
                      </a:lnTo>
                      <a:lnTo>
                        <a:pt x="689" y="1797"/>
                      </a:lnTo>
                      <a:lnTo>
                        <a:pt x="691" y="1795"/>
                      </a:lnTo>
                      <a:lnTo>
                        <a:pt x="693" y="1792"/>
                      </a:lnTo>
                      <a:lnTo>
                        <a:pt x="707" y="1792"/>
                      </a:lnTo>
                      <a:lnTo>
                        <a:pt x="722" y="1790"/>
                      </a:lnTo>
                      <a:lnTo>
                        <a:pt x="737" y="1790"/>
                      </a:lnTo>
                      <a:lnTo>
                        <a:pt x="750" y="1790"/>
                      </a:lnTo>
                      <a:lnTo>
                        <a:pt x="757" y="1792"/>
                      </a:lnTo>
                      <a:lnTo>
                        <a:pt x="765" y="1792"/>
                      </a:lnTo>
                      <a:lnTo>
                        <a:pt x="765" y="1792"/>
                      </a:lnTo>
                      <a:lnTo>
                        <a:pt x="772" y="1793"/>
                      </a:lnTo>
                      <a:lnTo>
                        <a:pt x="779" y="1793"/>
                      </a:lnTo>
                      <a:lnTo>
                        <a:pt x="779" y="1793"/>
                      </a:lnTo>
                      <a:lnTo>
                        <a:pt x="787" y="1795"/>
                      </a:lnTo>
                      <a:lnTo>
                        <a:pt x="794" y="1797"/>
                      </a:lnTo>
                      <a:lnTo>
                        <a:pt x="801" y="1799"/>
                      </a:lnTo>
                      <a:lnTo>
                        <a:pt x="807" y="1801"/>
                      </a:lnTo>
                      <a:lnTo>
                        <a:pt x="809" y="1797"/>
                      </a:lnTo>
                      <a:lnTo>
                        <a:pt x="811" y="1792"/>
                      </a:lnTo>
                      <a:lnTo>
                        <a:pt x="822" y="1793"/>
                      </a:lnTo>
                      <a:lnTo>
                        <a:pt x="833" y="1793"/>
                      </a:lnTo>
                      <a:lnTo>
                        <a:pt x="844" y="1793"/>
                      </a:lnTo>
                      <a:lnTo>
                        <a:pt x="857" y="1795"/>
                      </a:lnTo>
                      <a:lnTo>
                        <a:pt x="862" y="1797"/>
                      </a:lnTo>
                      <a:lnTo>
                        <a:pt x="870" y="1799"/>
                      </a:lnTo>
                      <a:lnTo>
                        <a:pt x="870" y="1799"/>
                      </a:lnTo>
                      <a:lnTo>
                        <a:pt x="875" y="1801"/>
                      </a:lnTo>
                      <a:lnTo>
                        <a:pt x="879" y="1803"/>
                      </a:lnTo>
                      <a:lnTo>
                        <a:pt x="879" y="1803"/>
                      </a:lnTo>
                      <a:lnTo>
                        <a:pt x="884" y="1804"/>
                      </a:lnTo>
                      <a:lnTo>
                        <a:pt x="884" y="1804"/>
                      </a:lnTo>
                      <a:lnTo>
                        <a:pt x="888" y="1808"/>
                      </a:lnTo>
                      <a:lnTo>
                        <a:pt x="888" y="1808"/>
                      </a:lnTo>
                      <a:lnTo>
                        <a:pt x="890" y="1810"/>
                      </a:lnTo>
                      <a:lnTo>
                        <a:pt x="890" y="1810"/>
                      </a:lnTo>
                      <a:lnTo>
                        <a:pt x="892" y="1812"/>
                      </a:lnTo>
                      <a:lnTo>
                        <a:pt x="894" y="1814"/>
                      </a:lnTo>
                      <a:lnTo>
                        <a:pt x="894" y="1814"/>
                      </a:lnTo>
                      <a:lnTo>
                        <a:pt x="896" y="1816"/>
                      </a:lnTo>
                      <a:lnTo>
                        <a:pt x="903" y="1816"/>
                      </a:lnTo>
                      <a:lnTo>
                        <a:pt x="912" y="1814"/>
                      </a:lnTo>
                      <a:lnTo>
                        <a:pt x="921" y="1812"/>
                      </a:lnTo>
                      <a:lnTo>
                        <a:pt x="931" y="1812"/>
                      </a:lnTo>
                      <a:lnTo>
                        <a:pt x="940" y="1810"/>
                      </a:lnTo>
                      <a:lnTo>
                        <a:pt x="949" y="1808"/>
                      </a:lnTo>
                      <a:lnTo>
                        <a:pt x="958" y="1808"/>
                      </a:lnTo>
                      <a:lnTo>
                        <a:pt x="968" y="1806"/>
                      </a:lnTo>
                      <a:lnTo>
                        <a:pt x="968" y="1806"/>
                      </a:lnTo>
                      <a:lnTo>
                        <a:pt x="969" y="1812"/>
                      </a:lnTo>
                      <a:lnTo>
                        <a:pt x="971" y="1816"/>
                      </a:lnTo>
                      <a:lnTo>
                        <a:pt x="975" y="1816"/>
                      </a:lnTo>
                      <a:lnTo>
                        <a:pt x="979" y="1814"/>
                      </a:lnTo>
                      <a:lnTo>
                        <a:pt x="979" y="1814"/>
                      </a:lnTo>
                      <a:lnTo>
                        <a:pt x="984" y="1814"/>
                      </a:lnTo>
                      <a:lnTo>
                        <a:pt x="988" y="1812"/>
                      </a:lnTo>
                      <a:lnTo>
                        <a:pt x="988" y="1806"/>
                      </a:lnTo>
                      <a:lnTo>
                        <a:pt x="988" y="1801"/>
                      </a:lnTo>
                      <a:lnTo>
                        <a:pt x="990" y="1801"/>
                      </a:lnTo>
                      <a:lnTo>
                        <a:pt x="993" y="1801"/>
                      </a:lnTo>
                      <a:lnTo>
                        <a:pt x="999" y="1801"/>
                      </a:lnTo>
                      <a:lnTo>
                        <a:pt x="999" y="1797"/>
                      </a:lnTo>
                      <a:lnTo>
                        <a:pt x="999" y="1790"/>
                      </a:lnTo>
                      <a:lnTo>
                        <a:pt x="1012" y="1788"/>
                      </a:lnTo>
                      <a:lnTo>
                        <a:pt x="1025" y="1784"/>
                      </a:lnTo>
                      <a:lnTo>
                        <a:pt x="1034" y="1780"/>
                      </a:lnTo>
                      <a:lnTo>
                        <a:pt x="1045" y="1779"/>
                      </a:lnTo>
                      <a:lnTo>
                        <a:pt x="1051" y="1777"/>
                      </a:lnTo>
                      <a:lnTo>
                        <a:pt x="1056" y="1775"/>
                      </a:lnTo>
                      <a:lnTo>
                        <a:pt x="1056" y="1775"/>
                      </a:lnTo>
                      <a:lnTo>
                        <a:pt x="1062" y="1775"/>
                      </a:lnTo>
                      <a:lnTo>
                        <a:pt x="1067" y="1773"/>
                      </a:lnTo>
                      <a:lnTo>
                        <a:pt x="1073" y="1773"/>
                      </a:lnTo>
                      <a:lnTo>
                        <a:pt x="1073" y="1773"/>
                      </a:lnTo>
                      <a:lnTo>
                        <a:pt x="1080" y="1773"/>
                      </a:lnTo>
                      <a:lnTo>
                        <a:pt x="1086" y="1773"/>
                      </a:lnTo>
                      <a:lnTo>
                        <a:pt x="1086" y="1773"/>
                      </a:lnTo>
                      <a:lnTo>
                        <a:pt x="1091" y="1773"/>
                      </a:lnTo>
                      <a:lnTo>
                        <a:pt x="1091" y="1769"/>
                      </a:lnTo>
                      <a:lnTo>
                        <a:pt x="1089" y="1766"/>
                      </a:lnTo>
                      <a:lnTo>
                        <a:pt x="1089" y="1760"/>
                      </a:lnTo>
                      <a:lnTo>
                        <a:pt x="1087" y="1755"/>
                      </a:lnTo>
                      <a:lnTo>
                        <a:pt x="1087" y="1755"/>
                      </a:lnTo>
                      <a:lnTo>
                        <a:pt x="1093" y="1751"/>
                      </a:lnTo>
                      <a:lnTo>
                        <a:pt x="1097" y="1749"/>
                      </a:lnTo>
                      <a:lnTo>
                        <a:pt x="1097" y="1749"/>
                      </a:lnTo>
                      <a:lnTo>
                        <a:pt x="1100" y="1745"/>
                      </a:lnTo>
                      <a:lnTo>
                        <a:pt x="1106" y="1742"/>
                      </a:lnTo>
                      <a:lnTo>
                        <a:pt x="1115" y="1738"/>
                      </a:lnTo>
                      <a:lnTo>
                        <a:pt x="1124" y="1732"/>
                      </a:lnTo>
                      <a:lnTo>
                        <a:pt x="1134" y="1729"/>
                      </a:lnTo>
                      <a:lnTo>
                        <a:pt x="1143" y="1725"/>
                      </a:lnTo>
                      <a:lnTo>
                        <a:pt x="1152" y="1721"/>
                      </a:lnTo>
                      <a:lnTo>
                        <a:pt x="1163" y="1718"/>
                      </a:lnTo>
                      <a:lnTo>
                        <a:pt x="1161" y="1716"/>
                      </a:lnTo>
                      <a:lnTo>
                        <a:pt x="1161" y="1716"/>
                      </a:lnTo>
                      <a:lnTo>
                        <a:pt x="1158" y="1712"/>
                      </a:lnTo>
                      <a:lnTo>
                        <a:pt x="1156" y="1708"/>
                      </a:lnTo>
                      <a:lnTo>
                        <a:pt x="1156" y="1708"/>
                      </a:lnTo>
                      <a:lnTo>
                        <a:pt x="1154" y="1703"/>
                      </a:lnTo>
                      <a:lnTo>
                        <a:pt x="1154" y="1703"/>
                      </a:lnTo>
                      <a:lnTo>
                        <a:pt x="1152" y="1697"/>
                      </a:lnTo>
                      <a:lnTo>
                        <a:pt x="1150" y="1688"/>
                      </a:lnTo>
                      <a:lnTo>
                        <a:pt x="1147" y="1675"/>
                      </a:lnTo>
                      <a:lnTo>
                        <a:pt x="1143" y="1659"/>
                      </a:lnTo>
                      <a:lnTo>
                        <a:pt x="1143" y="1659"/>
                      </a:lnTo>
                      <a:lnTo>
                        <a:pt x="1147" y="1657"/>
                      </a:lnTo>
                      <a:lnTo>
                        <a:pt x="1148" y="1655"/>
                      </a:lnTo>
                      <a:lnTo>
                        <a:pt x="1148" y="1655"/>
                      </a:lnTo>
                      <a:lnTo>
                        <a:pt x="1150" y="1653"/>
                      </a:lnTo>
                      <a:lnTo>
                        <a:pt x="1152" y="1651"/>
                      </a:lnTo>
                      <a:lnTo>
                        <a:pt x="1152" y="1651"/>
                      </a:lnTo>
                      <a:lnTo>
                        <a:pt x="1156" y="1649"/>
                      </a:lnTo>
                      <a:lnTo>
                        <a:pt x="1156" y="1649"/>
                      </a:lnTo>
                      <a:lnTo>
                        <a:pt x="1163" y="1648"/>
                      </a:lnTo>
                      <a:lnTo>
                        <a:pt x="1161" y="1644"/>
                      </a:lnTo>
                      <a:lnTo>
                        <a:pt x="1159" y="1640"/>
                      </a:lnTo>
                      <a:lnTo>
                        <a:pt x="1158" y="1637"/>
                      </a:lnTo>
                      <a:lnTo>
                        <a:pt x="1154" y="1633"/>
                      </a:lnTo>
                      <a:lnTo>
                        <a:pt x="1152" y="1629"/>
                      </a:lnTo>
                      <a:lnTo>
                        <a:pt x="1150" y="1625"/>
                      </a:lnTo>
                      <a:lnTo>
                        <a:pt x="1148" y="1624"/>
                      </a:lnTo>
                      <a:lnTo>
                        <a:pt x="1145" y="1622"/>
                      </a:lnTo>
                      <a:lnTo>
                        <a:pt x="1143" y="1620"/>
                      </a:lnTo>
                      <a:lnTo>
                        <a:pt x="1139" y="1618"/>
                      </a:lnTo>
                      <a:lnTo>
                        <a:pt x="1135" y="1616"/>
                      </a:lnTo>
                      <a:lnTo>
                        <a:pt x="1132" y="1614"/>
                      </a:lnTo>
                      <a:lnTo>
                        <a:pt x="1128" y="1614"/>
                      </a:lnTo>
                      <a:lnTo>
                        <a:pt x="1124" y="1613"/>
                      </a:lnTo>
                      <a:lnTo>
                        <a:pt x="1119" y="1613"/>
                      </a:lnTo>
                      <a:lnTo>
                        <a:pt x="1113" y="1611"/>
                      </a:lnTo>
                      <a:lnTo>
                        <a:pt x="1113" y="1611"/>
                      </a:lnTo>
                      <a:lnTo>
                        <a:pt x="1113" y="1605"/>
                      </a:lnTo>
                      <a:lnTo>
                        <a:pt x="1115" y="1601"/>
                      </a:lnTo>
                      <a:lnTo>
                        <a:pt x="1115" y="1601"/>
                      </a:lnTo>
                      <a:lnTo>
                        <a:pt x="1115" y="1598"/>
                      </a:lnTo>
                      <a:lnTo>
                        <a:pt x="1115" y="1598"/>
                      </a:lnTo>
                      <a:lnTo>
                        <a:pt x="1117" y="1594"/>
                      </a:lnTo>
                      <a:lnTo>
                        <a:pt x="1117" y="1594"/>
                      </a:lnTo>
                      <a:lnTo>
                        <a:pt x="1123" y="1594"/>
                      </a:lnTo>
                      <a:lnTo>
                        <a:pt x="1128" y="1594"/>
                      </a:lnTo>
                      <a:lnTo>
                        <a:pt x="1128" y="1583"/>
                      </a:lnTo>
                      <a:lnTo>
                        <a:pt x="1128" y="1572"/>
                      </a:lnTo>
                      <a:lnTo>
                        <a:pt x="1128" y="1561"/>
                      </a:lnTo>
                      <a:lnTo>
                        <a:pt x="1130" y="1552"/>
                      </a:lnTo>
                      <a:lnTo>
                        <a:pt x="1121" y="1546"/>
                      </a:lnTo>
                      <a:lnTo>
                        <a:pt x="1111" y="1541"/>
                      </a:lnTo>
                      <a:lnTo>
                        <a:pt x="1100" y="1537"/>
                      </a:lnTo>
                      <a:lnTo>
                        <a:pt x="1089" y="1531"/>
                      </a:lnTo>
                      <a:lnTo>
                        <a:pt x="1091" y="1531"/>
                      </a:lnTo>
                      <a:lnTo>
                        <a:pt x="1099" y="1528"/>
                      </a:lnTo>
                      <a:lnTo>
                        <a:pt x="1104" y="1526"/>
                      </a:lnTo>
                      <a:lnTo>
                        <a:pt x="1111" y="1524"/>
                      </a:lnTo>
                      <a:lnTo>
                        <a:pt x="1117" y="1524"/>
                      </a:lnTo>
                      <a:lnTo>
                        <a:pt x="1115" y="1511"/>
                      </a:lnTo>
                      <a:lnTo>
                        <a:pt x="1113" y="1500"/>
                      </a:lnTo>
                      <a:lnTo>
                        <a:pt x="1113" y="1489"/>
                      </a:lnTo>
                      <a:lnTo>
                        <a:pt x="1111" y="1478"/>
                      </a:lnTo>
                      <a:lnTo>
                        <a:pt x="1113" y="1465"/>
                      </a:lnTo>
                      <a:lnTo>
                        <a:pt x="1113" y="1454"/>
                      </a:lnTo>
                      <a:lnTo>
                        <a:pt x="1113" y="1443"/>
                      </a:lnTo>
                      <a:lnTo>
                        <a:pt x="1115" y="1430"/>
                      </a:lnTo>
                      <a:lnTo>
                        <a:pt x="1124" y="1422"/>
                      </a:lnTo>
                      <a:lnTo>
                        <a:pt x="1134" y="1417"/>
                      </a:lnTo>
                      <a:lnTo>
                        <a:pt x="1143" y="1411"/>
                      </a:lnTo>
                      <a:lnTo>
                        <a:pt x="1152" y="1408"/>
                      </a:lnTo>
                      <a:lnTo>
                        <a:pt x="1163" y="1404"/>
                      </a:lnTo>
                      <a:lnTo>
                        <a:pt x="1172" y="1400"/>
                      </a:lnTo>
                      <a:lnTo>
                        <a:pt x="1183" y="1398"/>
                      </a:lnTo>
                      <a:lnTo>
                        <a:pt x="1195" y="1397"/>
                      </a:lnTo>
                      <a:lnTo>
                        <a:pt x="1195" y="1386"/>
                      </a:lnTo>
                      <a:lnTo>
                        <a:pt x="1195" y="1376"/>
                      </a:lnTo>
                      <a:lnTo>
                        <a:pt x="1195" y="1365"/>
                      </a:lnTo>
                      <a:lnTo>
                        <a:pt x="1195" y="1352"/>
                      </a:lnTo>
                      <a:lnTo>
                        <a:pt x="1195" y="1352"/>
                      </a:lnTo>
                      <a:lnTo>
                        <a:pt x="1204" y="1352"/>
                      </a:lnTo>
                      <a:lnTo>
                        <a:pt x="1213" y="1352"/>
                      </a:lnTo>
                      <a:lnTo>
                        <a:pt x="1224" y="1352"/>
                      </a:lnTo>
                      <a:lnTo>
                        <a:pt x="1233" y="1352"/>
                      </a:lnTo>
                      <a:lnTo>
                        <a:pt x="1233" y="1349"/>
                      </a:lnTo>
                      <a:lnTo>
                        <a:pt x="1233" y="1341"/>
                      </a:lnTo>
                      <a:lnTo>
                        <a:pt x="1233" y="1341"/>
                      </a:lnTo>
                      <a:lnTo>
                        <a:pt x="1239" y="1341"/>
                      </a:lnTo>
                      <a:lnTo>
                        <a:pt x="1244" y="1341"/>
                      </a:lnTo>
                      <a:lnTo>
                        <a:pt x="1248" y="1326"/>
                      </a:lnTo>
                      <a:lnTo>
                        <a:pt x="1252" y="1312"/>
                      </a:lnTo>
                      <a:lnTo>
                        <a:pt x="1252" y="1312"/>
                      </a:lnTo>
                      <a:lnTo>
                        <a:pt x="1254" y="1310"/>
                      </a:lnTo>
                      <a:lnTo>
                        <a:pt x="1255" y="1306"/>
                      </a:lnTo>
                      <a:lnTo>
                        <a:pt x="1255" y="1306"/>
                      </a:lnTo>
                      <a:lnTo>
                        <a:pt x="1257" y="1302"/>
                      </a:lnTo>
                      <a:lnTo>
                        <a:pt x="1257" y="1302"/>
                      </a:lnTo>
                      <a:lnTo>
                        <a:pt x="1259" y="1299"/>
                      </a:lnTo>
                      <a:lnTo>
                        <a:pt x="1259" y="1299"/>
                      </a:lnTo>
                      <a:lnTo>
                        <a:pt x="1261" y="1297"/>
                      </a:lnTo>
                      <a:lnTo>
                        <a:pt x="1265" y="1295"/>
                      </a:lnTo>
                      <a:lnTo>
                        <a:pt x="1265" y="1293"/>
                      </a:lnTo>
                      <a:lnTo>
                        <a:pt x="1266" y="1291"/>
                      </a:lnTo>
                      <a:lnTo>
                        <a:pt x="1270" y="1290"/>
                      </a:lnTo>
                      <a:lnTo>
                        <a:pt x="1261" y="1275"/>
                      </a:lnTo>
                      <a:lnTo>
                        <a:pt x="1255" y="1262"/>
                      </a:lnTo>
                      <a:lnTo>
                        <a:pt x="1250" y="1253"/>
                      </a:lnTo>
                      <a:lnTo>
                        <a:pt x="1246" y="1245"/>
                      </a:lnTo>
                      <a:lnTo>
                        <a:pt x="1246" y="1245"/>
                      </a:lnTo>
                      <a:lnTo>
                        <a:pt x="1242" y="1238"/>
                      </a:lnTo>
                      <a:lnTo>
                        <a:pt x="1241" y="1232"/>
                      </a:lnTo>
                      <a:lnTo>
                        <a:pt x="1239" y="1225"/>
                      </a:lnTo>
                      <a:lnTo>
                        <a:pt x="1239" y="1225"/>
                      </a:lnTo>
                      <a:lnTo>
                        <a:pt x="1237" y="1218"/>
                      </a:lnTo>
                      <a:lnTo>
                        <a:pt x="1235" y="1218"/>
                      </a:lnTo>
                      <a:lnTo>
                        <a:pt x="1230" y="1218"/>
                      </a:lnTo>
                      <a:lnTo>
                        <a:pt x="1226" y="1218"/>
                      </a:lnTo>
                      <a:lnTo>
                        <a:pt x="1220" y="1218"/>
                      </a:lnTo>
                      <a:lnTo>
                        <a:pt x="1220" y="1208"/>
                      </a:lnTo>
                      <a:lnTo>
                        <a:pt x="1220" y="1199"/>
                      </a:lnTo>
                      <a:lnTo>
                        <a:pt x="1220" y="1190"/>
                      </a:lnTo>
                      <a:lnTo>
                        <a:pt x="1220" y="1183"/>
                      </a:lnTo>
                      <a:lnTo>
                        <a:pt x="1220" y="1175"/>
                      </a:lnTo>
                      <a:lnTo>
                        <a:pt x="1220" y="1175"/>
                      </a:lnTo>
                      <a:lnTo>
                        <a:pt x="1222" y="1168"/>
                      </a:lnTo>
                      <a:lnTo>
                        <a:pt x="1226" y="1160"/>
                      </a:lnTo>
                      <a:lnTo>
                        <a:pt x="1230" y="1151"/>
                      </a:lnTo>
                      <a:lnTo>
                        <a:pt x="1228" y="1129"/>
                      </a:lnTo>
                      <a:lnTo>
                        <a:pt x="1228" y="1112"/>
                      </a:lnTo>
                      <a:lnTo>
                        <a:pt x="1228" y="1098"/>
                      </a:lnTo>
                      <a:lnTo>
                        <a:pt x="1226" y="1085"/>
                      </a:lnTo>
                      <a:lnTo>
                        <a:pt x="1226" y="1076"/>
                      </a:lnTo>
                      <a:lnTo>
                        <a:pt x="1226" y="1066"/>
                      </a:lnTo>
                      <a:lnTo>
                        <a:pt x="1226" y="1066"/>
                      </a:lnTo>
                      <a:lnTo>
                        <a:pt x="1226" y="1057"/>
                      </a:lnTo>
                      <a:lnTo>
                        <a:pt x="1226" y="1048"/>
                      </a:lnTo>
                      <a:lnTo>
                        <a:pt x="1226" y="1048"/>
                      </a:lnTo>
                      <a:lnTo>
                        <a:pt x="1235" y="1048"/>
                      </a:lnTo>
                      <a:lnTo>
                        <a:pt x="1242" y="1048"/>
                      </a:lnTo>
                      <a:lnTo>
                        <a:pt x="1250" y="1048"/>
                      </a:lnTo>
                      <a:lnTo>
                        <a:pt x="1257" y="1050"/>
                      </a:lnTo>
                      <a:lnTo>
                        <a:pt x="1257" y="1050"/>
                      </a:lnTo>
                      <a:lnTo>
                        <a:pt x="1265" y="1052"/>
                      </a:lnTo>
                      <a:lnTo>
                        <a:pt x="1272" y="1053"/>
                      </a:lnTo>
                      <a:lnTo>
                        <a:pt x="1279" y="1055"/>
                      </a:lnTo>
                      <a:lnTo>
                        <a:pt x="1287" y="1057"/>
                      </a:lnTo>
                      <a:lnTo>
                        <a:pt x="1289" y="1053"/>
                      </a:lnTo>
                      <a:lnTo>
                        <a:pt x="1290" y="1048"/>
                      </a:lnTo>
                      <a:lnTo>
                        <a:pt x="1290" y="1048"/>
                      </a:lnTo>
                      <a:lnTo>
                        <a:pt x="1296" y="1050"/>
                      </a:lnTo>
                      <a:lnTo>
                        <a:pt x="1300" y="1050"/>
                      </a:lnTo>
                      <a:lnTo>
                        <a:pt x="1303" y="1052"/>
                      </a:lnTo>
                      <a:lnTo>
                        <a:pt x="1309" y="1053"/>
                      </a:lnTo>
                      <a:lnTo>
                        <a:pt x="1309" y="1048"/>
                      </a:lnTo>
                      <a:lnTo>
                        <a:pt x="1309" y="1042"/>
                      </a:lnTo>
                      <a:lnTo>
                        <a:pt x="1309" y="1042"/>
                      </a:lnTo>
                      <a:lnTo>
                        <a:pt x="1314" y="1042"/>
                      </a:lnTo>
                      <a:lnTo>
                        <a:pt x="1318" y="1042"/>
                      </a:lnTo>
                      <a:lnTo>
                        <a:pt x="1318" y="1039"/>
                      </a:lnTo>
                      <a:lnTo>
                        <a:pt x="1318" y="1035"/>
                      </a:lnTo>
                      <a:lnTo>
                        <a:pt x="1318" y="1029"/>
                      </a:lnTo>
                      <a:lnTo>
                        <a:pt x="1318" y="1026"/>
                      </a:lnTo>
                      <a:lnTo>
                        <a:pt x="1335" y="1024"/>
                      </a:lnTo>
                      <a:lnTo>
                        <a:pt x="1344" y="1022"/>
                      </a:lnTo>
                      <a:lnTo>
                        <a:pt x="1355" y="1024"/>
                      </a:lnTo>
                      <a:lnTo>
                        <a:pt x="1368" y="1026"/>
                      </a:lnTo>
                      <a:lnTo>
                        <a:pt x="1368" y="1018"/>
                      </a:lnTo>
                      <a:lnTo>
                        <a:pt x="1368" y="1009"/>
                      </a:lnTo>
                      <a:lnTo>
                        <a:pt x="1368" y="1002"/>
                      </a:lnTo>
                      <a:lnTo>
                        <a:pt x="1368" y="994"/>
                      </a:lnTo>
                      <a:lnTo>
                        <a:pt x="1366" y="992"/>
                      </a:lnTo>
                      <a:lnTo>
                        <a:pt x="1366" y="992"/>
                      </a:lnTo>
                      <a:lnTo>
                        <a:pt x="1366" y="991"/>
                      </a:lnTo>
                      <a:lnTo>
                        <a:pt x="1366" y="991"/>
                      </a:lnTo>
                      <a:lnTo>
                        <a:pt x="1366" y="989"/>
                      </a:lnTo>
                      <a:lnTo>
                        <a:pt x="1366" y="989"/>
                      </a:lnTo>
                      <a:lnTo>
                        <a:pt x="1368" y="987"/>
                      </a:lnTo>
                      <a:lnTo>
                        <a:pt x="1368" y="987"/>
                      </a:lnTo>
                      <a:lnTo>
                        <a:pt x="1368" y="981"/>
                      </a:lnTo>
                      <a:lnTo>
                        <a:pt x="1368" y="978"/>
                      </a:lnTo>
                      <a:lnTo>
                        <a:pt x="1368" y="970"/>
                      </a:lnTo>
                      <a:lnTo>
                        <a:pt x="1368" y="967"/>
                      </a:lnTo>
                      <a:lnTo>
                        <a:pt x="1364" y="967"/>
                      </a:lnTo>
                      <a:lnTo>
                        <a:pt x="1357" y="967"/>
                      </a:lnTo>
                      <a:lnTo>
                        <a:pt x="1357" y="967"/>
                      </a:lnTo>
                      <a:lnTo>
                        <a:pt x="1357" y="959"/>
                      </a:lnTo>
                      <a:lnTo>
                        <a:pt x="1357" y="952"/>
                      </a:lnTo>
                      <a:lnTo>
                        <a:pt x="1357" y="944"/>
                      </a:lnTo>
                      <a:lnTo>
                        <a:pt x="1359" y="937"/>
                      </a:lnTo>
                      <a:lnTo>
                        <a:pt x="1350" y="930"/>
                      </a:lnTo>
                      <a:lnTo>
                        <a:pt x="1342" y="924"/>
                      </a:lnTo>
                      <a:lnTo>
                        <a:pt x="1337" y="917"/>
                      </a:lnTo>
                      <a:lnTo>
                        <a:pt x="1331" y="911"/>
                      </a:lnTo>
                      <a:lnTo>
                        <a:pt x="1327" y="904"/>
                      </a:lnTo>
                      <a:lnTo>
                        <a:pt x="1324" y="898"/>
                      </a:lnTo>
                      <a:lnTo>
                        <a:pt x="1320" y="891"/>
                      </a:lnTo>
                      <a:lnTo>
                        <a:pt x="1316" y="885"/>
                      </a:lnTo>
                      <a:lnTo>
                        <a:pt x="1316" y="885"/>
                      </a:lnTo>
                      <a:lnTo>
                        <a:pt x="1314" y="878"/>
                      </a:lnTo>
                      <a:lnTo>
                        <a:pt x="1313" y="873"/>
                      </a:lnTo>
                      <a:lnTo>
                        <a:pt x="1313" y="873"/>
                      </a:lnTo>
                      <a:lnTo>
                        <a:pt x="1311" y="865"/>
                      </a:lnTo>
                      <a:lnTo>
                        <a:pt x="1311" y="858"/>
                      </a:lnTo>
                      <a:lnTo>
                        <a:pt x="1307" y="843"/>
                      </a:lnTo>
                      <a:lnTo>
                        <a:pt x="1305" y="825"/>
                      </a:lnTo>
                      <a:lnTo>
                        <a:pt x="1314" y="819"/>
                      </a:lnTo>
                      <a:lnTo>
                        <a:pt x="1326" y="813"/>
                      </a:lnTo>
                      <a:lnTo>
                        <a:pt x="1329" y="810"/>
                      </a:lnTo>
                      <a:lnTo>
                        <a:pt x="1333" y="806"/>
                      </a:lnTo>
                      <a:lnTo>
                        <a:pt x="1335" y="804"/>
                      </a:lnTo>
                      <a:lnTo>
                        <a:pt x="1337" y="802"/>
                      </a:lnTo>
                      <a:lnTo>
                        <a:pt x="1337" y="801"/>
                      </a:lnTo>
                      <a:lnTo>
                        <a:pt x="1338" y="797"/>
                      </a:lnTo>
                      <a:lnTo>
                        <a:pt x="1340" y="797"/>
                      </a:lnTo>
                      <a:lnTo>
                        <a:pt x="1344" y="799"/>
                      </a:lnTo>
                      <a:lnTo>
                        <a:pt x="1344" y="799"/>
                      </a:lnTo>
                      <a:lnTo>
                        <a:pt x="1348" y="799"/>
                      </a:lnTo>
                      <a:lnTo>
                        <a:pt x="1353" y="801"/>
                      </a:lnTo>
                      <a:lnTo>
                        <a:pt x="1357" y="801"/>
                      </a:lnTo>
                      <a:lnTo>
                        <a:pt x="1357" y="795"/>
                      </a:lnTo>
                      <a:lnTo>
                        <a:pt x="1357" y="788"/>
                      </a:lnTo>
                      <a:lnTo>
                        <a:pt x="1357" y="782"/>
                      </a:lnTo>
                      <a:lnTo>
                        <a:pt x="1357" y="775"/>
                      </a:lnTo>
                      <a:lnTo>
                        <a:pt x="1351" y="775"/>
                      </a:lnTo>
                      <a:lnTo>
                        <a:pt x="1346" y="773"/>
                      </a:lnTo>
                      <a:lnTo>
                        <a:pt x="1340" y="773"/>
                      </a:lnTo>
                      <a:lnTo>
                        <a:pt x="1335" y="771"/>
                      </a:lnTo>
                      <a:lnTo>
                        <a:pt x="1335" y="771"/>
                      </a:lnTo>
                      <a:lnTo>
                        <a:pt x="1337" y="765"/>
                      </a:lnTo>
                      <a:lnTo>
                        <a:pt x="1338" y="762"/>
                      </a:lnTo>
                      <a:lnTo>
                        <a:pt x="1338" y="758"/>
                      </a:lnTo>
                      <a:lnTo>
                        <a:pt x="1340" y="753"/>
                      </a:lnTo>
                      <a:lnTo>
                        <a:pt x="1340" y="753"/>
                      </a:lnTo>
                      <a:lnTo>
                        <a:pt x="1346" y="751"/>
                      </a:lnTo>
                      <a:lnTo>
                        <a:pt x="1351" y="751"/>
                      </a:lnTo>
                      <a:lnTo>
                        <a:pt x="1357" y="749"/>
                      </a:lnTo>
                      <a:lnTo>
                        <a:pt x="1362" y="747"/>
                      </a:lnTo>
                      <a:lnTo>
                        <a:pt x="1368" y="738"/>
                      </a:lnTo>
                      <a:lnTo>
                        <a:pt x="1374" y="730"/>
                      </a:lnTo>
                      <a:lnTo>
                        <a:pt x="1374" y="730"/>
                      </a:lnTo>
                      <a:lnTo>
                        <a:pt x="1375" y="727"/>
                      </a:lnTo>
                      <a:lnTo>
                        <a:pt x="1379" y="723"/>
                      </a:lnTo>
                      <a:lnTo>
                        <a:pt x="1379" y="723"/>
                      </a:lnTo>
                      <a:lnTo>
                        <a:pt x="1381" y="723"/>
                      </a:lnTo>
                      <a:lnTo>
                        <a:pt x="1381" y="723"/>
                      </a:lnTo>
                      <a:lnTo>
                        <a:pt x="1383" y="721"/>
                      </a:lnTo>
                      <a:lnTo>
                        <a:pt x="1383" y="721"/>
                      </a:lnTo>
                      <a:lnTo>
                        <a:pt x="1386" y="719"/>
                      </a:lnTo>
                      <a:lnTo>
                        <a:pt x="1386" y="719"/>
                      </a:lnTo>
                      <a:lnTo>
                        <a:pt x="1390" y="719"/>
                      </a:lnTo>
                      <a:lnTo>
                        <a:pt x="1390" y="719"/>
                      </a:lnTo>
                      <a:lnTo>
                        <a:pt x="1390" y="727"/>
                      </a:lnTo>
                      <a:lnTo>
                        <a:pt x="1390" y="730"/>
                      </a:lnTo>
                      <a:lnTo>
                        <a:pt x="1396" y="732"/>
                      </a:lnTo>
                      <a:lnTo>
                        <a:pt x="1401" y="732"/>
                      </a:lnTo>
                      <a:lnTo>
                        <a:pt x="1401" y="732"/>
                      </a:lnTo>
                      <a:lnTo>
                        <a:pt x="1407" y="734"/>
                      </a:lnTo>
                      <a:lnTo>
                        <a:pt x="1410" y="736"/>
                      </a:lnTo>
                      <a:lnTo>
                        <a:pt x="1409" y="732"/>
                      </a:lnTo>
                      <a:lnTo>
                        <a:pt x="1409" y="727"/>
                      </a:lnTo>
                      <a:lnTo>
                        <a:pt x="1407" y="723"/>
                      </a:lnTo>
                      <a:lnTo>
                        <a:pt x="1407" y="718"/>
                      </a:lnTo>
                      <a:lnTo>
                        <a:pt x="1407" y="718"/>
                      </a:lnTo>
                      <a:lnTo>
                        <a:pt x="1412" y="714"/>
                      </a:lnTo>
                      <a:lnTo>
                        <a:pt x="1416" y="710"/>
                      </a:lnTo>
                      <a:lnTo>
                        <a:pt x="1418" y="705"/>
                      </a:lnTo>
                      <a:lnTo>
                        <a:pt x="1420" y="699"/>
                      </a:lnTo>
                      <a:lnTo>
                        <a:pt x="1423" y="690"/>
                      </a:lnTo>
                      <a:lnTo>
                        <a:pt x="1427" y="677"/>
                      </a:lnTo>
                      <a:lnTo>
                        <a:pt x="1427" y="677"/>
                      </a:lnTo>
                      <a:lnTo>
                        <a:pt x="1433" y="675"/>
                      </a:lnTo>
                      <a:lnTo>
                        <a:pt x="1438" y="673"/>
                      </a:lnTo>
                      <a:lnTo>
                        <a:pt x="1444" y="671"/>
                      </a:lnTo>
                      <a:lnTo>
                        <a:pt x="1445" y="671"/>
                      </a:lnTo>
                      <a:lnTo>
                        <a:pt x="1445" y="670"/>
                      </a:lnTo>
                      <a:lnTo>
                        <a:pt x="1444" y="668"/>
                      </a:lnTo>
                      <a:lnTo>
                        <a:pt x="1442" y="666"/>
                      </a:lnTo>
                      <a:lnTo>
                        <a:pt x="1442" y="666"/>
                      </a:lnTo>
                      <a:lnTo>
                        <a:pt x="1440" y="664"/>
                      </a:lnTo>
                      <a:lnTo>
                        <a:pt x="1438" y="657"/>
                      </a:lnTo>
                      <a:lnTo>
                        <a:pt x="1434" y="642"/>
                      </a:lnTo>
                      <a:lnTo>
                        <a:pt x="1429" y="640"/>
                      </a:lnTo>
                      <a:lnTo>
                        <a:pt x="1429" y="640"/>
                      </a:lnTo>
                      <a:lnTo>
                        <a:pt x="1425" y="638"/>
                      </a:lnTo>
                      <a:lnTo>
                        <a:pt x="1423" y="636"/>
                      </a:lnTo>
                      <a:lnTo>
                        <a:pt x="1423" y="636"/>
                      </a:lnTo>
                      <a:lnTo>
                        <a:pt x="1420" y="634"/>
                      </a:lnTo>
                      <a:lnTo>
                        <a:pt x="1414" y="629"/>
                      </a:lnTo>
                      <a:lnTo>
                        <a:pt x="1409" y="620"/>
                      </a:lnTo>
                      <a:lnTo>
                        <a:pt x="1410" y="610"/>
                      </a:lnTo>
                      <a:lnTo>
                        <a:pt x="1412" y="601"/>
                      </a:lnTo>
                      <a:lnTo>
                        <a:pt x="1414" y="592"/>
                      </a:lnTo>
                      <a:lnTo>
                        <a:pt x="1416" y="585"/>
                      </a:lnTo>
                      <a:lnTo>
                        <a:pt x="1412" y="583"/>
                      </a:lnTo>
                      <a:lnTo>
                        <a:pt x="1410" y="583"/>
                      </a:lnTo>
                      <a:lnTo>
                        <a:pt x="1407" y="581"/>
                      </a:lnTo>
                      <a:lnTo>
                        <a:pt x="1403" y="579"/>
                      </a:lnTo>
                      <a:lnTo>
                        <a:pt x="1403" y="579"/>
                      </a:lnTo>
                      <a:lnTo>
                        <a:pt x="1401" y="574"/>
                      </a:lnTo>
                      <a:lnTo>
                        <a:pt x="1401" y="574"/>
                      </a:lnTo>
                      <a:lnTo>
                        <a:pt x="1399" y="568"/>
                      </a:lnTo>
                      <a:lnTo>
                        <a:pt x="1399" y="568"/>
                      </a:lnTo>
                      <a:lnTo>
                        <a:pt x="1399" y="564"/>
                      </a:lnTo>
                      <a:lnTo>
                        <a:pt x="1398" y="562"/>
                      </a:lnTo>
                      <a:lnTo>
                        <a:pt x="1398" y="562"/>
                      </a:lnTo>
                      <a:lnTo>
                        <a:pt x="1398" y="561"/>
                      </a:lnTo>
                      <a:lnTo>
                        <a:pt x="1398" y="561"/>
                      </a:lnTo>
                      <a:lnTo>
                        <a:pt x="1399" y="557"/>
                      </a:lnTo>
                      <a:lnTo>
                        <a:pt x="1399" y="553"/>
                      </a:lnTo>
                      <a:lnTo>
                        <a:pt x="1399" y="553"/>
                      </a:lnTo>
                      <a:lnTo>
                        <a:pt x="1401" y="548"/>
                      </a:lnTo>
                      <a:lnTo>
                        <a:pt x="1403" y="540"/>
                      </a:lnTo>
                      <a:lnTo>
                        <a:pt x="1403" y="540"/>
                      </a:lnTo>
                      <a:lnTo>
                        <a:pt x="1405" y="535"/>
                      </a:lnTo>
                      <a:lnTo>
                        <a:pt x="1399" y="537"/>
                      </a:lnTo>
                      <a:lnTo>
                        <a:pt x="1394" y="537"/>
                      </a:lnTo>
                      <a:lnTo>
                        <a:pt x="1394" y="535"/>
                      </a:lnTo>
                      <a:lnTo>
                        <a:pt x="1392" y="529"/>
                      </a:lnTo>
                      <a:lnTo>
                        <a:pt x="1390" y="524"/>
                      </a:lnTo>
                      <a:lnTo>
                        <a:pt x="1388" y="518"/>
                      </a:lnTo>
                      <a:lnTo>
                        <a:pt x="1388" y="513"/>
                      </a:lnTo>
                      <a:lnTo>
                        <a:pt x="1388" y="513"/>
                      </a:lnTo>
                      <a:lnTo>
                        <a:pt x="1392" y="513"/>
                      </a:lnTo>
                      <a:lnTo>
                        <a:pt x="1396" y="513"/>
                      </a:lnTo>
                      <a:lnTo>
                        <a:pt x="1401" y="513"/>
                      </a:lnTo>
                      <a:lnTo>
                        <a:pt x="1405" y="513"/>
                      </a:lnTo>
                      <a:lnTo>
                        <a:pt x="1405" y="507"/>
                      </a:lnTo>
                      <a:lnTo>
                        <a:pt x="1405" y="502"/>
                      </a:lnTo>
                      <a:lnTo>
                        <a:pt x="1405" y="502"/>
                      </a:lnTo>
                      <a:lnTo>
                        <a:pt x="1409" y="502"/>
                      </a:lnTo>
                      <a:lnTo>
                        <a:pt x="1412" y="502"/>
                      </a:lnTo>
                      <a:lnTo>
                        <a:pt x="1418" y="502"/>
                      </a:lnTo>
                      <a:lnTo>
                        <a:pt x="1422" y="502"/>
                      </a:lnTo>
                      <a:lnTo>
                        <a:pt x="1422" y="498"/>
                      </a:lnTo>
                      <a:lnTo>
                        <a:pt x="1422" y="491"/>
                      </a:lnTo>
                      <a:lnTo>
                        <a:pt x="1422" y="491"/>
                      </a:lnTo>
                      <a:lnTo>
                        <a:pt x="1425" y="489"/>
                      </a:lnTo>
                      <a:lnTo>
                        <a:pt x="1431" y="489"/>
                      </a:lnTo>
                      <a:lnTo>
                        <a:pt x="1434" y="487"/>
                      </a:lnTo>
                      <a:lnTo>
                        <a:pt x="1438" y="487"/>
                      </a:lnTo>
                      <a:lnTo>
                        <a:pt x="1438" y="483"/>
                      </a:lnTo>
                      <a:lnTo>
                        <a:pt x="1436" y="478"/>
                      </a:lnTo>
                      <a:lnTo>
                        <a:pt x="1436" y="478"/>
                      </a:lnTo>
                      <a:lnTo>
                        <a:pt x="1436" y="474"/>
                      </a:lnTo>
                      <a:lnTo>
                        <a:pt x="1436" y="468"/>
                      </a:lnTo>
                      <a:lnTo>
                        <a:pt x="1438" y="468"/>
                      </a:lnTo>
                      <a:lnTo>
                        <a:pt x="1445" y="468"/>
                      </a:lnTo>
                      <a:lnTo>
                        <a:pt x="1455" y="468"/>
                      </a:lnTo>
                      <a:lnTo>
                        <a:pt x="1464" y="470"/>
                      </a:lnTo>
                      <a:lnTo>
                        <a:pt x="1471" y="470"/>
                      </a:lnTo>
                      <a:lnTo>
                        <a:pt x="1471" y="463"/>
                      </a:lnTo>
                      <a:lnTo>
                        <a:pt x="1471" y="455"/>
                      </a:lnTo>
                      <a:lnTo>
                        <a:pt x="1469" y="448"/>
                      </a:lnTo>
                      <a:lnTo>
                        <a:pt x="1469" y="443"/>
                      </a:lnTo>
                      <a:lnTo>
                        <a:pt x="1469" y="441"/>
                      </a:lnTo>
                      <a:lnTo>
                        <a:pt x="1473" y="439"/>
                      </a:lnTo>
                      <a:lnTo>
                        <a:pt x="1477" y="437"/>
                      </a:lnTo>
                      <a:lnTo>
                        <a:pt x="1477" y="437"/>
                      </a:lnTo>
                      <a:lnTo>
                        <a:pt x="1481" y="435"/>
                      </a:lnTo>
                      <a:lnTo>
                        <a:pt x="1482" y="433"/>
                      </a:lnTo>
                      <a:lnTo>
                        <a:pt x="1481" y="431"/>
                      </a:lnTo>
                      <a:lnTo>
                        <a:pt x="1481" y="430"/>
                      </a:lnTo>
                      <a:lnTo>
                        <a:pt x="1479" y="426"/>
                      </a:lnTo>
                      <a:lnTo>
                        <a:pt x="1477" y="424"/>
                      </a:lnTo>
                      <a:lnTo>
                        <a:pt x="1477" y="424"/>
                      </a:lnTo>
                      <a:lnTo>
                        <a:pt x="1475" y="420"/>
                      </a:lnTo>
                      <a:lnTo>
                        <a:pt x="1471" y="420"/>
                      </a:lnTo>
                      <a:lnTo>
                        <a:pt x="1468" y="420"/>
                      </a:lnTo>
                      <a:lnTo>
                        <a:pt x="1464" y="420"/>
                      </a:lnTo>
                      <a:lnTo>
                        <a:pt x="1458" y="420"/>
                      </a:lnTo>
                      <a:lnTo>
                        <a:pt x="1457" y="407"/>
                      </a:lnTo>
                      <a:lnTo>
                        <a:pt x="1455" y="400"/>
                      </a:lnTo>
                      <a:lnTo>
                        <a:pt x="1455" y="396"/>
                      </a:lnTo>
                      <a:lnTo>
                        <a:pt x="1453" y="395"/>
                      </a:lnTo>
                      <a:lnTo>
                        <a:pt x="1451" y="391"/>
                      </a:lnTo>
                      <a:lnTo>
                        <a:pt x="1449" y="387"/>
                      </a:lnTo>
                      <a:lnTo>
                        <a:pt x="1438" y="387"/>
                      </a:lnTo>
                      <a:lnTo>
                        <a:pt x="1429" y="385"/>
                      </a:lnTo>
                      <a:lnTo>
                        <a:pt x="1420" y="385"/>
                      </a:lnTo>
                      <a:lnTo>
                        <a:pt x="1410" y="383"/>
                      </a:lnTo>
                      <a:lnTo>
                        <a:pt x="1403" y="383"/>
                      </a:lnTo>
                      <a:lnTo>
                        <a:pt x="1394" y="380"/>
                      </a:lnTo>
                      <a:lnTo>
                        <a:pt x="1385" y="378"/>
                      </a:lnTo>
                      <a:lnTo>
                        <a:pt x="1375" y="374"/>
                      </a:lnTo>
                      <a:lnTo>
                        <a:pt x="1375" y="372"/>
                      </a:lnTo>
                      <a:lnTo>
                        <a:pt x="1375" y="367"/>
                      </a:lnTo>
                      <a:lnTo>
                        <a:pt x="1375" y="361"/>
                      </a:lnTo>
                      <a:lnTo>
                        <a:pt x="1375" y="356"/>
                      </a:lnTo>
                      <a:lnTo>
                        <a:pt x="1377" y="350"/>
                      </a:lnTo>
                      <a:lnTo>
                        <a:pt x="1372" y="350"/>
                      </a:lnTo>
                      <a:lnTo>
                        <a:pt x="1366" y="350"/>
                      </a:lnTo>
                      <a:lnTo>
                        <a:pt x="1366" y="350"/>
                      </a:lnTo>
                      <a:lnTo>
                        <a:pt x="1364" y="347"/>
                      </a:lnTo>
                      <a:lnTo>
                        <a:pt x="1364" y="343"/>
                      </a:lnTo>
                      <a:lnTo>
                        <a:pt x="1364" y="339"/>
                      </a:lnTo>
                      <a:lnTo>
                        <a:pt x="1364" y="336"/>
                      </a:lnTo>
                      <a:lnTo>
                        <a:pt x="1366" y="328"/>
                      </a:lnTo>
                      <a:lnTo>
                        <a:pt x="1368" y="321"/>
                      </a:lnTo>
                      <a:lnTo>
                        <a:pt x="1370" y="315"/>
                      </a:lnTo>
                      <a:lnTo>
                        <a:pt x="1372" y="310"/>
                      </a:lnTo>
                      <a:lnTo>
                        <a:pt x="1375" y="302"/>
                      </a:lnTo>
                      <a:lnTo>
                        <a:pt x="1377" y="297"/>
                      </a:lnTo>
                      <a:lnTo>
                        <a:pt x="1381" y="291"/>
                      </a:lnTo>
                      <a:lnTo>
                        <a:pt x="1385" y="286"/>
                      </a:lnTo>
                      <a:lnTo>
                        <a:pt x="1386" y="280"/>
                      </a:lnTo>
                      <a:lnTo>
                        <a:pt x="1390" y="273"/>
                      </a:lnTo>
                      <a:lnTo>
                        <a:pt x="1392" y="267"/>
                      </a:lnTo>
                      <a:lnTo>
                        <a:pt x="1394" y="260"/>
                      </a:lnTo>
                      <a:lnTo>
                        <a:pt x="1394" y="258"/>
                      </a:lnTo>
                      <a:lnTo>
                        <a:pt x="1394" y="254"/>
                      </a:lnTo>
                      <a:lnTo>
                        <a:pt x="1396" y="251"/>
                      </a:lnTo>
                      <a:lnTo>
                        <a:pt x="1396" y="245"/>
                      </a:lnTo>
                      <a:lnTo>
                        <a:pt x="1401" y="241"/>
                      </a:lnTo>
                      <a:lnTo>
                        <a:pt x="1401" y="241"/>
                      </a:lnTo>
                      <a:lnTo>
                        <a:pt x="1407" y="238"/>
                      </a:lnTo>
                      <a:lnTo>
                        <a:pt x="1412" y="232"/>
                      </a:lnTo>
                      <a:lnTo>
                        <a:pt x="1416" y="228"/>
                      </a:lnTo>
                      <a:lnTo>
                        <a:pt x="1416" y="227"/>
                      </a:lnTo>
                      <a:lnTo>
                        <a:pt x="1416" y="225"/>
                      </a:lnTo>
                      <a:lnTo>
                        <a:pt x="1416" y="223"/>
                      </a:lnTo>
                      <a:lnTo>
                        <a:pt x="1414" y="221"/>
                      </a:lnTo>
                      <a:lnTo>
                        <a:pt x="1412" y="217"/>
                      </a:lnTo>
                      <a:lnTo>
                        <a:pt x="1410" y="214"/>
                      </a:lnTo>
                      <a:lnTo>
                        <a:pt x="1407" y="210"/>
                      </a:lnTo>
                      <a:lnTo>
                        <a:pt x="1403" y="208"/>
                      </a:lnTo>
                      <a:lnTo>
                        <a:pt x="1399" y="204"/>
                      </a:lnTo>
                      <a:lnTo>
                        <a:pt x="1396" y="203"/>
                      </a:lnTo>
                      <a:lnTo>
                        <a:pt x="1392" y="201"/>
                      </a:lnTo>
                      <a:lnTo>
                        <a:pt x="1392" y="201"/>
                      </a:lnTo>
                      <a:lnTo>
                        <a:pt x="1386" y="197"/>
                      </a:lnTo>
                      <a:lnTo>
                        <a:pt x="1385" y="195"/>
                      </a:lnTo>
                      <a:lnTo>
                        <a:pt x="1381" y="192"/>
                      </a:lnTo>
                      <a:lnTo>
                        <a:pt x="1377" y="188"/>
                      </a:lnTo>
                      <a:lnTo>
                        <a:pt x="1377" y="188"/>
                      </a:lnTo>
                      <a:lnTo>
                        <a:pt x="1374" y="184"/>
                      </a:lnTo>
                      <a:lnTo>
                        <a:pt x="1372" y="180"/>
                      </a:lnTo>
                      <a:lnTo>
                        <a:pt x="1370" y="177"/>
                      </a:lnTo>
                      <a:lnTo>
                        <a:pt x="1362" y="175"/>
                      </a:lnTo>
                      <a:lnTo>
                        <a:pt x="1353" y="173"/>
                      </a:lnTo>
                      <a:lnTo>
                        <a:pt x="1346" y="171"/>
                      </a:lnTo>
                      <a:lnTo>
                        <a:pt x="1338" y="171"/>
                      </a:lnTo>
                      <a:close/>
                      <a:moveTo>
                        <a:pt x="824" y="86"/>
                      </a:moveTo>
                      <a:lnTo>
                        <a:pt x="814" y="90"/>
                      </a:lnTo>
                      <a:lnTo>
                        <a:pt x="807" y="96"/>
                      </a:lnTo>
                      <a:lnTo>
                        <a:pt x="798" y="99"/>
                      </a:lnTo>
                      <a:lnTo>
                        <a:pt x="790" y="103"/>
                      </a:lnTo>
                      <a:lnTo>
                        <a:pt x="790" y="107"/>
                      </a:lnTo>
                      <a:lnTo>
                        <a:pt x="790" y="114"/>
                      </a:lnTo>
                      <a:lnTo>
                        <a:pt x="788" y="114"/>
                      </a:lnTo>
                      <a:lnTo>
                        <a:pt x="785" y="112"/>
                      </a:lnTo>
                      <a:lnTo>
                        <a:pt x="783" y="112"/>
                      </a:lnTo>
                      <a:lnTo>
                        <a:pt x="779" y="112"/>
                      </a:lnTo>
                      <a:lnTo>
                        <a:pt x="777" y="112"/>
                      </a:lnTo>
                      <a:lnTo>
                        <a:pt x="770" y="112"/>
                      </a:lnTo>
                      <a:lnTo>
                        <a:pt x="757" y="114"/>
                      </a:lnTo>
                      <a:lnTo>
                        <a:pt x="755" y="118"/>
                      </a:lnTo>
                      <a:lnTo>
                        <a:pt x="755" y="121"/>
                      </a:lnTo>
                      <a:lnTo>
                        <a:pt x="753" y="127"/>
                      </a:lnTo>
                      <a:lnTo>
                        <a:pt x="752" y="131"/>
                      </a:lnTo>
                      <a:lnTo>
                        <a:pt x="752" y="131"/>
                      </a:lnTo>
                      <a:lnTo>
                        <a:pt x="750" y="133"/>
                      </a:lnTo>
                      <a:lnTo>
                        <a:pt x="746" y="133"/>
                      </a:lnTo>
                      <a:lnTo>
                        <a:pt x="742" y="134"/>
                      </a:lnTo>
                      <a:lnTo>
                        <a:pt x="739" y="136"/>
                      </a:lnTo>
                      <a:lnTo>
                        <a:pt x="739" y="134"/>
                      </a:lnTo>
                      <a:lnTo>
                        <a:pt x="737" y="131"/>
                      </a:lnTo>
                      <a:lnTo>
                        <a:pt x="737" y="131"/>
                      </a:lnTo>
                      <a:lnTo>
                        <a:pt x="735" y="127"/>
                      </a:lnTo>
                      <a:lnTo>
                        <a:pt x="733" y="125"/>
                      </a:lnTo>
                      <a:lnTo>
                        <a:pt x="735" y="125"/>
                      </a:lnTo>
                      <a:lnTo>
                        <a:pt x="737" y="134"/>
                      </a:lnTo>
                      <a:lnTo>
                        <a:pt x="739" y="142"/>
                      </a:lnTo>
                      <a:lnTo>
                        <a:pt x="741" y="149"/>
                      </a:lnTo>
                      <a:lnTo>
                        <a:pt x="755" y="147"/>
                      </a:lnTo>
                      <a:lnTo>
                        <a:pt x="774" y="145"/>
                      </a:lnTo>
                      <a:lnTo>
                        <a:pt x="783" y="145"/>
                      </a:lnTo>
                      <a:lnTo>
                        <a:pt x="790" y="144"/>
                      </a:lnTo>
                      <a:lnTo>
                        <a:pt x="800" y="142"/>
                      </a:lnTo>
                      <a:lnTo>
                        <a:pt x="807" y="138"/>
                      </a:lnTo>
                      <a:lnTo>
                        <a:pt x="809" y="136"/>
                      </a:lnTo>
                      <a:lnTo>
                        <a:pt x="812" y="134"/>
                      </a:lnTo>
                      <a:lnTo>
                        <a:pt x="816" y="133"/>
                      </a:lnTo>
                      <a:lnTo>
                        <a:pt x="818" y="131"/>
                      </a:lnTo>
                      <a:lnTo>
                        <a:pt x="822" y="129"/>
                      </a:lnTo>
                      <a:lnTo>
                        <a:pt x="824" y="127"/>
                      </a:lnTo>
                      <a:lnTo>
                        <a:pt x="825" y="123"/>
                      </a:lnTo>
                      <a:lnTo>
                        <a:pt x="827" y="121"/>
                      </a:lnTo>
                      <a:lnTo>
                        <a:pt x="827" y="118"/>
                      </a:lnTo>
                      <a:lnTo>
                        <a:pt x="827" y="114"/>
                      </a:lnTo>
                      <a:lnTo>
                        <a:pt x="829" y="110"/>
                      </a:lnTo>
                      <a:lnTo>
                        <a:pt x="827" y="107"/>
                      </a:lnTo>
                      <a:lnTo>
                        <a:pt x="827" y="101"/>
                      </a:lnTo>
                      <a:lnTo>
                        <a:pt x="827" y="97"/>
                      </a:lnTo>
                      <a:lnTo>
                        <a:pt x="825" y="92"/>
                      </a:lnTo>
                      <a:lnTo>
                        <a:pt x="824" y="86"/>
                      </a:lnTo>
                      <a:close/>
                      <a:moveTo>
                        <a:pt x="711" y="18"/>
                      </a:moveTo>
                      <a:lnTo>
                        <a:pt x="709" y="20"/>
                      </a:lnTo>
                      <a:lnTo>
                        <a:pt x="709" y="20"/>
                      </a:lnTo>
                      <a:lnTo>
                        <a:pt x="707" y="20"/>
                      </a:lnTo>
                      <a:lnTo>
                        <a:pt x="705" y="20"/>
                      </a:lnTo>
                      <a:lnTo>
                        <a:pt x="705" y="22"/>
                      </a:lnTo>
                      <a:lnTo>
                        <a:pt x="704" y="24"/>
                      </a:lnTo>
                      <a:lnTo>
                        <a:pt x="704" y="25"/>
                      </a:lnTo>
                      <a:lnTo>
                        <a:pt x="702" y="27"/>
                      </a:lnTo>
                      <a:lnTo>
                        <a:pt x="702" y="29"/>
                      </a:lnTo>
                      <a:lnTo>
                        <a:pt x="704" y="29"/>
                      </a:lnTo>
                      <a:lnTo>
                        <a:pt x="707" y="27"/>
                      </a:lnTo>
                      <a:lnTo>
                        <a:pt x="709" y="27"/>
                      </a:lnTo>
                      <a:lnTo>
                        <a:pt x="709" y="27"/>
                      </a:lnTo>
                      <a:lnTo>
                        <a:pt x="713" y="25"/>
                      </a:lnTo>
                      <a:lnTo>
                        <a:pt x="711" y="22"/>
                      </a:lnTo>
                      <a:lnTo>
                        <a:pt x="711" y="22"/>
                      </a:lnTo>
                      <a:lnTo>
                        <a:pt x="711" y="18"/>
                      </a:lnTo>
                      <a:close/>
                      <a:moveTo>
                        <a:pt x="800" y="0"/>
                      </a:moveTo>
                      <a:lnTo>
                        <a:pt x="794" y="0"/>
                      </a:lnTo>
                      <a:lnTo>
                        <a:pt x="788" y="0"/>
                      </a:lnTo>
                      <a:lnTo>
                        <a:pt x="788" y="1"/>
                      </a:lnTo>
                      <a:lnTo>
                        <a:pt x="788" y="3"/>
                      </a:lnTo>
                      <a:lnTo>
                        <a:pt x="794" y="3"/>
                      </a:lnTo>
                      <a:lnTo>
                        <a:pt x="800" y="3"/>
                      </a:lnTo>
                      <a:lnTo>
                        <a:pt x="800" y="0"/>
                      </a:lnTo>
                      <a:lnTo>
                        <a:pt x="80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3" name="Freeform 3057"/>
                <p:cNvSpPr>
                  <a:spLocks/>
                </p:cNvSpPr>
                <p:nvPr/>
              </p:nvSpPr>
              <p:spPr bwMode="auto">
                <a:xfrm>
                  <a:off x="3329" y="845"/>
                  <a:ext cx="1482" cy="1645"/>
                </a:xfrm>
                <a:custGeom>
                  <a:avLst/>
                  <a:gdLst>
                    <a:gd name="T0" fmla="*/ 1270 w 1482"/>
                    <a:gd name="T1" fmla="*/ 33 h 1645"/>
                    <a:gd name="T2" fmla="*/ 1171 w 1482"/>
                    <a:gd name="T3" fmla="*/ 21 h 1645"/>
                    <a:gd name="T4" fmla="*/ 1097 w 1482"/>
                    <a:gd name="T5" fmla="*/ 122 h 1645"/>
                    <a:gd name="T6" fmla="*/ 1001 w 1482"/>
                    <a:gd name="T7" fmla="*/ 133 h 1645"/>
                    <a:gd name="T8" fmla="*/ 923 w 1482"/>
                    <a:gd name="T9" fmla="*/ 131 h 1645"/>
                    <a:gd name="T10" fmla="*/ 907 w 1482"/>
                    <a:gd name="T11" fmla="*/ 170 h 1645"/>
                    <a:gd name="T12" fmla="*/ 896 w 1482"/>
                    <a:gd name="T13" fmla="*/ 188 h 1645"/>
                    <a:gd name="T14" fmla="*/ 859 w 1482"/>
                    <a:gd name="T15" fmla="*/ 170 h 1645"/>
                    <a:gd name="T16" fmla="*/ 855 w 1482"/>
                    <a:gd name="T17" fmla="*/ 166 h 1645"/>
                    <a:gd name="T18" fmla="*/ 774 w 1482"/>
                    <a:gd name="T19" fmla="*/ 224 h 1645"/>
                    <a:gd name="T20" fmla="*/ 776 w 1482"/>
                    <a:gd name="T21" fmla="*/ 257 h 1645"/>
                    <a:gd name="T22" fmla="*/ 781 w 1482"/>
                    <a:gd name="T23" fmla="*/ 312 h 1645"/>
                    <a:gd name="T24" fmla="*/ 731 w 1482"/>
                    <a:gd name="T25" fmla="*/ 347 h 1645"/>
                    <a:gd name="T26" fmla="*/ 630 w 1482"/>
                    <a:gd name="T27" fmla="*/ 406 h 1645"/>
                    <a:gd name="T28" fmla="*/ 539 w 1482"/>
                    <a:gd name="T29" fmla="*/ 419 h 1645"/>
                    <a:gd name="T30" fmla="*/ 539 w 1482"/>
                    <a:gd name="T31" fmla="*/ 391 h 1645"/>
                    <a:gd name="T32" fmla="*/ 504 w 1482"/>
                    <a:gd name="T33" fmla="*/ 336 h 1645"/>
                    <a:gd name="T34" fmla="*/ 443 w 1482"/>
                    <a:gd name="T35" fmla="*/ 323 h 1645"/>
                    <a:gd name="T36" fmla="*/ 416 w 1482"/>
                    <a:gd name="T37" fmla="*/ 320 h 1645"/>
                    <a:gd name="T38" fmla="*/ 379 w 1482"/>
                    <a:gd name="T39" fmla="*/ 320 h 1645"/>
                    <a:gd name="T40" fmla="*/ 287 w 1482"/>
                    <a:gd name="T41" fmla="*/ 414 h 1645"/>
                    <a:gd name="T42" fmla="*/ 264 w 1482"/>
                    <a:gd name="T43" fmla="*/ 388 h 1645"/>
                    <a:gd name="T44" fmla="*/ 139 w 1482"/>
                    <a:gd name="T45" fmla="*/ 421 h 1645"/>
                    <a:gd name="T46" fmla="*/ 74 w 1482"/>
                    <a:gd name="T47" fmla="*/ 432 h 1645"/>
                    <a:gd name="T48" fmla="*/ 100 w 1482"/>
                    <a:gd name="T49" fmla="*/ 504 h 1645"/>
                    <a:gd name="T50" fmla="*/ 157 w 1482"/>
                    <a:gd name="T51" fmla="*/ 587 h 1645"/>
                    <a:gd name="T52" fmla="*/ 65 w 1482"/>
                    <a:gd name="T53" fmla="*/ 726 h 1645"/>
                    <a:gd name="T54" fmla="*/ 34 w 1482"/>
                    <a:gd name="T55" fmla="*/ 886 h 1645"/>
                    <a:gd name="T56" fmla="*/ 23 w 1482"/>
                    <a:gd name="T57" fmla="*/ 978 h 1645"/>
                    <a:gd name="T58" fmla="*/ 47 w 1482"/>
                    <a:gd name="T59" fmla="*/ 1084 h 1645"/>
                    <a:gd name="T60" fmla="*/ 109 w 1482"/>
                    <a:gd name="T61" fmla="*/ 1165 h 1645"/>
                    <a:gd name="T62" fmla="*/ 154 w 1482"/>
                    <a:gd name="T63" fmla="*/ 1215 h 1645"/>
                    <a:gd name="T64" fmla="*/ 194 w 1482"/>
                    <a:gd name="T65" fmla="*/ 1316 h 1645"/>
                    <a:gd name="T66" fmla="*/ 213 w 1482"/>
                    <a:gd name="T67" fmla="*/ 1486 h 1645"/>
                    <a:gd name="T68" fmla="*/ 299 w 1482"/>
                    <a:gd name="T69" fmla="*/ 1537 h 1645"/>
                    <a:gd name="T70" fmla="*/ 336 w 1482"/>
                    <a:gd name="T71" fmla="*/ 1567 h 1645"/>
                    <a:gd name="T72" fmla="*/ 390 w 1482"/>
                    <a:gd name="T73" fmla="*/ 1478 h 1645"/>
                    <a:gd name="T74" fmla="*/ 493 w 1482"/>
                    <a:gd name="T75" fmla="*/ 1425 h 1645"/>
                    <a:gd name="T76" fmla="*/ 576 w 1482"/>
                    <a:gd name="T77" fmla="*/ 1467 h 1645"/>
                    <a:gd name="T78" fmla="*/ 611 w 1482"/>
                    <a:gd name="T79" fmla="*/ 1526 h 1645"/>
                    <a:gd name="T80" fmla="*/ 674 w 1482"/>
                    <a:gd name="T81" fmla="*/ 1635 h 1645"/>
                    <a:gd name="T82" fmla="*/ 811 w 1482"/>
                    <a:gd name="T83" fmla="*/ 1621 h 1645"/>
                    <a:gd name="T84" fmla="*/ 949 w 1482"/>
                    <a:gd name="T85" fmla="*/ 1637 h 1645"/>
                    <a:gd name="T86" fmla="*/ 1067 w 1482"/>
                    <a:gd name="T87" fmla="*/ 1602 h 1645"/>
                    <a:gd name="T88" fmla="*/ 1156 w 1482"/>
                    <a:gd name="T89" fmla="*/ 1537 h 1645"/>
                    <a:gd name="T90" fmla="*/ 1143 w 1482"/>
                    <a:gd name="T91" fmla="*/ 1449 h 1645"/>
                    <a:gd name="T92" fmla="*/ 1091 w 1482"/>
                    <a:gd name="T93" fmla="*/ 1360 h 1645"/>
                    <a:gd name="T94" fmla="*/ 1204 w 1482"/>
                    <a:gd name="T95" fmla="*/ 1181 h 1645"/>
                    <a:gd name="T96" fmla="*/ 1250 w 1482"/>
                    <a:gd name="T97" fmla="*/ 1082 h 1645"/>
                    <a:gd name="T98" fmla="*/ 1226 w 1482"/>
                    <a:gd name="T99" fmla="*/ 895 h 1645"/>
                    <a:gd name="T100" fmla="*/ 1318 w 1482"/>
                    <a:gd name="T101" fmla="*/ 868 h 1645"/>
                    <a:gd name="T102" fmla="*/ 1357 w 1482"/>
                    <a:gd name="T103" fmla="*/ 796 h 1645"/>
                    <a:gd name="T104" fmla="*/ 1337 w 1482"/>
                    <a:gd name="T105" fmla="*/ 631 h 1645"/>
                    <a:gd name="T106" fmla="*/ 1362 w 1482"/>
                    <a:gd name="T107" fmla="*/ 576 h 1645"/>
                    <a:gd name="T108" fmla="*/ 1407 w 1482"/>
                    <a:gd name="T109" fmla="*/ 547 h 1645"/>
                    <a:gd name="T110" fmla="*/ 1409 w 1482"/>
                    <a:gd name="T111" fmla="*/ 449 h 1645"/>
                    <a:gd name="T112" fmla="*/ 1399 w 1482"/>
                    <a:gd name="T113" fmla="*/ 366 h 1645"/>
                    <a:gd name="T114" fmla="*/ 1438 w 1482"/>
                    <a:gd name="T115" fmla="*/ 312 h 1645"/>
                    <a:gd name="T116" fmla="*/ 1471 w 1482"/>
                    <a:gd name="T117" fmla="*/ 249 h 1645"/>
                    <a:gd name="T118" fmla="*/ 1364 w 1482"/>
                    <a:gd name="T119" fmla="*/ 176 h 1645"/>
                    <a:gd name="T120" fmla="*/ 1416 w 1482"/>
                    <a:gd name="T121" fmla="*/ 54 h 16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82" h="1645">
                      <a:moveTo>
                        <a:pt x="1338" y="0"/>
                      </a:moveTo>
                      <a:lnTo>
                        <a:pt x="1340" y="6"/>
                      </a:lnTo>
                      <a:lnTo>
                        <a:pt x="1340" y="11"/>
                      </a:lnTo>
                      <a:lnTo>
                        <a:pt x="1342" y="19"/>
                      </a:lnTo>
                      <a:lnTo>
                        <a:pt x="1342" y="19"/>
                      </a:lnTo>
                      <a:lnTo>
                        <a:pt x="1344" y="28"/>
                      </a:lnTo>
                      <a:lnTo>
                        <a:pt x="1342" y="26"/>
                      </a:lnTo>
                      <a:lnTo>
                        <a:pt x="1338" y="26"/>
                      </a:lnTo>
                      <a:lnTo>
                        <a:pt x="1331" y="24"/>
                      </a:lnTo>
                      <a:lnTo>
                        <a:pt x="1331" y="24"/>
                      </a:lnTo>
                      <a:lnTo>
                        <a:pt x="1331" y="22"/>
                      </a:lnTo>
                      <a:lnTo>
                        <a:pt x="1329" y="22"/>
                      </a:lnTo>
                      <a:lnTo>
                        <a:pt x="1326" y="26"/>
                      </a:lnTo>
                      <a:lnTo>
                        <a:pt x="1322" y="32"/>
                      </a:lnTo>
                      <a:lnTo>
                        <a:pt x="1322" y="32"/>
                      </a:lnTo>
                      <a:lnTo>
                        <a:pt x="1318" y="28"/>
                      </a:lnTo>
                      <a:lnTo>
                        <a:pt x="1313" y="24"/>
                      </a:lnTo>
                      <a:lnTo>
                        <a:pt x="1305" y="28"/>
                      </a:lnTo>
                      <a:lnTo>
                        <a:pt x="1298" y="33"/>
                      </a:lnTo>
                      <a:lnTo>
                        <a:pt x="1290" y="37"/>
                      </a:lnTo>
                      <a:lnTo>
                        <a:pt x="1281" y="43"/>
                      </a:lnTo>
                      <a:lnTo>
                        <a:pt x="1281" y="41"/>
                      </a:lnTo>
                      <a:lnTo>
                        <a:pt x="1278" y="39"/>
                      </a:lnTo>
                      <a:lnTo>
                        <a:pt x="1274" y="35"/>
                      </a:lnTo>
                      <a:lnTo>
                        <a:pt x="1274" y="35"/>
                      </a:lnTo>
                      <a:lnTo>
                        <a:pt x="1270" y="33"/>
                      </a:lnTo>
                      <a:lnTo>
                        <a:pt x="1270" y="33"/>
                      </a:lnTo>
                      <a:lnTo>
                        <a:pt x="1268" y="32"/>
                      </a:lnTo>
                      <a:lnTo>
                        <a:pt x="1266" y="28"/>
                      </a:lnTo>
                      <a:lnTo>
                        <a:pt x="1266" y="28"/>
                      </a:lnTo>
                      <a:lnTo>
                        <a:pt x="1263" y="22"/>
                      </a:lnTo>
                      <a:lnTo>
                        <a:pt x="1261" y="17"/>
                      </a:lnTo>
                      <a:lnTo>
                        <a:pt x="1255" y="9"/>
                      </a:lnTo>
                      <a:lnTo>
                        <a:pt x="1246" y="6"/>
                      </a:lnTo>
                      <a:lnTo>
                        <a:pt x="1235" y="4"/>
                      </a:lnTo>
                      <a:lnTo>
                        <a:pt x="1231" y="4"/>
                      </a:lnTo>
                      <a:lnTo>
                        <a:pt x="1228" y="4"/>
                      </a:lnTo>
                      <a:lnTo>
                        <a:pt x="1222" y="4"/>
                      </a:lnTo>
                      <a:lnTo>
                        <a:pt x="1218" y="4"/>
                      </a:lnTo>
                      <a:lnTo>
                        <a:pt x="1217" y="4"/>
                      </a:lnTo>
                      <a:lnTo>
                        <a:pt x="1213" y="4"/>
                      </a:lnTo>
                      <a:lnTo>
                        <a:pt x="1209" y="4"/>
                      </a:lnTo>
                      <a:lnTo>
                        <a:pt x="1206" y="6"/>
                      </a:lnTo>
                      <a:lnTo>
                        <a:pt x="1200" y="6"/>
                      </a:lnTo>
                      <a:lnTo>
                        <a:pt x="1196" y="8"/>
                      </a:lnTo>
                      <a:lnTo>
                        <a:pt x="1193" y="9"/>
                      </a:lnTo>
                      <a:lnTo>
                        <a:pt x="1189" y="9"/>
                      </a:lnTo>
                      <a:lnTo>
                        <a:pt x="1185" y="11"/>
                      </a:lnTo>
                      <a:lnTo>
                        <a:pt x="1182" y="13"/>
                      </a:lnTo>
                      <a:lnTo>
                        <a:pt x="1178" y="15"/>
                      </a:lnTo>
                      <a:lnTo>
                        <a:pt x="1174" y="19"/>
                      </a:lnTo>
                      <a:lnTo>
                        <a:pt x="1171" y="21"/>
                      </a:lnTo>
                      <a:lnTo>
                        <a:pt x="1167" y="22"/>
                      </a:lnTo>
                      <a:lnTo>
                        <a:pt x="1165" y="26"/>
                      </a:lnTo>
                      <a:lnTo>
                        <a:pt x="1161" y="30"/>
                      </a:lnTo>
                      <a:lnTo>
                        <a:pt x="1158" y="32"/>
                      </a:lnTo>
                      <a:lnTo>
                        <a:pt x="1152" y="39"/>
                      </a:lnTo>
                      <a:lnTo>
                        <a:pt x="1147" y="48"/>
                      </a:lnTo>
                      <a:lnTo>
                        <a:pt x="1141" y="56"/>
                      </a:lnTo>
                      <a:lnTo>
                        <a:pt x="1135" y="67"/>
                      </a:lnTo>
                      <a:lnTo>
                        <a:pt x="1135" y="67"/>
                      </a:lnTo>
                      <a:lnTo>
                        <a:pt x="1130" y="67"/>
                      </a:lnTo>
                      <a:lnTo>
                        <a:pt x="1124" y="67"/>
                      </a:lnTo>
                      <a:lnTo>
                        <a:pt x="1123" y="74"/>
                      </a:lnTo>
                      <a:lnTo>
                        <a:pt x="1121" y="83"/>
                      </a:lnTo>
                      <a:lnTo>
                        <a:pt x="1117" y="91"/>
                      </a:lnTo>
                      <a:lnTo>
                        <a:pt x="1115" y="98"/>
                      </a:lnTo>
                      <a:lnTo>
                        <a:pt x="1111" y="105"/>
                      </a:lnTo>
                      <a:lnTo>
                        <a:pt x="1111" y="105"/>
                      </a:lnTo>
                      <a:lnTo>
                        <a:pt x="1108" y="111"/>
                      </a:lnTo>
                      <a:lnTo>
                        <a:pt x="1108" y="111"/>
                      </a:lnTo>
                      <a:lnTo>
                        <a:pt x="1106" y="113"/>
                      </a:lnTo>
                      <a:lnTo>
                        <a:pt x="1104" y="117"/>
                      </a:lnTo>
                      <a:lnTo>
                        <a:pt x="1104" y="117"/>
                      </a:lnTo>
                      <a:lnTo>
                        <a:pt x="1100" y="118"/>
                      </a:lnTo>
                      <a:lnTo>
                        <a:pt x="1100" y="118"/>
                      </a:lnTo>
                      <a:lnTo>
                        <a:pt x="1099" y="120"/>
                      </a:lnTo>
                      <a:lnTo>
                        <a:pt x="1097" y="122"/>
                      </a:lnTo>
                      <a:lnTo>
                        <a:pt x="1097" y="122"/>
                      </a:lnTo>
                      <a:lnTo>
                        <a:pt x="1093" y="124"/>
                      </a:lnTo>
                      <a:lnTo>
                        <a:pt x="1093" y="124"/>
                      </a:lnTo>
                      <a:lnTo>
                        <a:pt x="1091" y="126"/>
                      </a:lnTo>
                      <a:lnTo>
                        <a:pt x="1091" y="126"/>
                      </a:lnTo>
                      <a:lnTo>
                        <a:pt x="1087" y="126"/>
                      </a:lnTo>
                      <a:lnTo>
                        <a:pt x="1086" y="128"/>
                      </a:lnTo>
                      <a:lnTo>
                        <a:pt x="1082" y="129"/>
                      </a:lnTo>
                      <a:lnTo>
                        <a:pt x="1082" y="129"/>
                      </a:lnTo>
                      <a:lnTo>
                        <a:pt x="1078" y="129"/>
                      </a:lnTo>
                      <a:lnTo>
                        <a:pt x="1075" y="131"/>
                      </a:lnTo>
                      <a:lnTo>
                        <a:pt x="1075" y="131"/>
                      </a:lnTo>
                      <a:lnTo>
                        <a:pt x="1067" y="131"/>
                      </a:lnTo>
                      <a:lnTo>
                        <a:pt x="1058" y="131"/>
                      </a:lnTo>
                      <a:lnTo>
                        <a:pt x="1058" y="131"/>
                      </a:lnTo>
                      <a:lnTo>
                        <a:pt x="1049" y="131"/>
                      </a:lnTo>
                      <a:lnTo>
                        <a:pt x="1039" y="129"/>
                      </a:lnTo>
                      <a:lnTo>
                        <a:pt x="1034" y="133"/>
                      </a:lnTo>
                      <a:lnTo>
                        <a:pt x="1028" y="135"/>
                      </a:lnTo>
                      <a:lnTo>
                        <a:pt x="1023" y="139"/>
                      </a:lnTo>
                      <a:lnTo>
                        <a:pt x="1017" y="144"/>
                      </a:lnTo>
                      <a:lnTo>
                        <a:pt x="1017" y="142"/>
                      </a:lnTo>
                      <a:lnTo>
                        <a:pt x="1014" y="137"/>
                      </a:lnTo>
                      <a:lnTo>
                        <a:pt x="1010" y="133"/>
                      </a:lnTo>
                      <a:lnTo>
                        <a:pt x="1006" y="133"/>
                      </a:lnTo>
                      <a:lnTo>
                        <a:pt x="1001" y="133"/>
                      </a:lnTo>
                      <a:lnTo>
                        <a:pt x="999" y="135"/>
                      </a:lnTo>
                      <a:lnTo>
                        <a:pt x="995" y="135"/>
                      </a:lnTo>
                      <a:lnTo>
                        <a:pt x="988" y="139"/>
                      </a:lnTo>
                      <a:lnTo>
                        <a:pt x="973" y="146"/>
                      </a:lnTo>
                      <a:lnTo>
                        <a:pt x="973" y="146"/>
                      </a:lnTo>
                      <a:lnTo>
                        <a:pt x="969" y="142"/>
                      </a:lnTo>
                      <a:lnTo>
                        <a:pt x="964" y="141"/>
                      </a:lnTo>
                      <a:lnTo>
                        <a:pt x="966" y="139"/>
                      </a:lnTo>
                      <a:lnTo>
                        <a:pt x="969" y="137"/>
                      </a:lnTo>
                      <a:lnTo>
                        <a:pt x="973" y="135"/>
                      </a:lnTo>
                      <a:lnTo>
                        <a:pt x="977" y="133"/>
                      </a:lnTo>
                      <a:lnTo>
                        <a:pt x="980" y="131"/>
                      </a:lnTo>
                      <a:lnTo>
                        <a:pt x="980" y="128"/>
                      </a:lnTo>
                      <a:lnTo>
                        <a:pt x="979" y="122"/>
                      </a:lnTo>
                      <a:lnTo>
                        <a:pt x="979" y="118"/>
                      </a:lnTo>
                      <a:lnTo>
                        <a:pt x="977" y="115"/>
                      </a:lnTo>
                      <a:lnTo>
                        <a:pt x="973" y="115"/>
                      </a:lnTo>
                      <a:lnTo>
                        <a:pt x="968" y="115"/>
                      </a:lnTo>
                      <a:lnTo>
                        <a:pt x="964" y="115"/>
                      </a:lnTo>
                      <a:lnTo>
                        <a:pt x="960" y="117"/>
                      </a:lnTo>
                      <a:lnTo>
                        <a:pt x="955" y="117"/>
                      </a:lnTo>
                      <a:lnTo>
                        <a:pt x="949" y="118"/>
                      </a:lnTo>
                      <a:lnTo>
                        <a:pt x="945" y="120"/>
                      </a:lnTo>
                      <a:lnTo>
                        <a:pt x="940" y="122"/>
                      </a:lnTo>
                      <a:lnTo>
                        <a:pt x="931" y="126"/>
                      </a:lnTo>
                      <a:lnTo>
                        <a:pt x="923" y="131"/>
                      </a:lnTo>
                      <a:lnTo>
                        <a:pt x="914" y="135"/>
                      </a:lnTo>
                      <a:lnTo>
                        <a:pt x="907" y="139"/>
                      </a:lnTo>
                      <a:lnTo>
                        <a:pt x="905" y="142"/>
                      </a:lnTo>
                      <a:lnTo>
                        <a:pt x="903" y="148"/>
                      </a:lnTo>
                      <a:lnTo>
                        <a:pt x="903" y="148"/>
                      </a:lnTo>
                      <a:lnTo>
                        <a:pt x="901" y="150"/>
                      </a:lnTo>
                      <a:lnTo>
                        <a:pt x="901" y="152"/>
                      </a:lnTo>
                      <a:lnTo>
                        <a:pt x="899" y="153"/>
                      </a:lnTo>
                      <a:lnTo>
                        <a:pt x="897" y="153"/>
                      </a:lnTo>
                      <a:lnTo>
                        <a:pt x="897" y="153"/>
                      </a:lnTo>
                      <a:lnTo>
                        <a:pt x="896" y="155"/>
                      </a:lnTo>
                      <a:lnTo>
                        <a:pt x="896" y="157"/>
                      </a:lnTo>
                      <a:lnTo>
                        <a:pt x="896" y="163"/>
                      </a:lnTo>
                      <a:lnTo>
                        <a:pt x="897" y="168"/>
                      </a:lnTo>
                      <a:lnTo>
                        <a:pt x="899" y="174"/>
                      </a:lnTo>
                      <a:lnTo>
                        <a:pt x="901" y="179"/>
                      </a:lnTo>
                      <a:lnTo>
                        <a:pt x="901" y="179"/>
                      </a:lnTo>
                      <a:lnTo>
                        <a:pt x="901" y="179"/>
                      </a:lnTo>
                      <a:lnTo>
                        <a:pt x="901" y="179"/>
                      </a:lnTo>
                      <a:lnTo>
                        <a:pt x="903" y="177"/>
                      </a:lnTo>
                      <a:lnTo>
                        <a:pt x="903" y="177"/>
                      </a:lnTo>
                      <a:lnTo>
                        <a:pt x="903" y="176"/>
                      </a:lnTo>
                      <a:lnTo>
                        <a:pt x="905" y="172"/>
                      </a:lnTo>
                      <a:lnTo>
                        <a:pt x="905" y="172"/>
                      </a:lnTo>
                      <a:lnTo>
                        <a:pt x="907" y="170"/>
                      </a:lnTo>
                      <a:lnTo>
                        <a:pt x="907" y="170"/>
                      </a:lnTo>
                      <a:lnTo>
                        <a:pt x="907" y="166"/>
                      </a:lnTo>
                      <a:lnTo>
                        <a:pt x="907" y="166"/>
                      </a:lnTo>
                      <a:lnTo>
                        <a:pt x="908" y="166"/>
                      </a:lnTo>
                      <a:lnTo>
                        <a:pt x="908" y="166"/>
                      </a:lnTo>
                      <a:lnTo>
                        <a:pt x="908" y="165"/>
                      </a:lnTo>
                      <a:lnTo>
                        <a:pt x="908" y="165"/>
                      </a:lnTo>
                      <a:lnTo>
                        <a:pt x="910" y="165"/>
                      </a:lnTo>
                      <a:lnTo>
                        <a:pt x="912" y="163"/>
                      </a:lnTo>
                      <a:lnTo>
                        <a:pt x="910" y="177"/>
                      </a:lnTo>
                      <a:lnTo>
                        <a:pt x="910" y="177"/>
                      </a:lnTo>
                      <a:lnTo>
                        <a:pt x="908" y="188"/>
                      </a:lnTo>
                      <a:lnTo>
                        <a:pt x="908" y="201"/>
                      </a:lnTo>
                      <a:lnTo>
                        <a:pt x="907" y="214"/>
                      </a:lnTo>
                      <a:lnTo>
                        <a:pt x="905" y="214"/>
                      </a:lnTo>
                      <a:lnTo>
                        <a:pt x="899" y="211"/>
                      </a:lnTo>
                      <a:lnTo>
                        <a:pt x="894" y="207"/>
                      </a:lnTo>
                      <a:lnTo>
                        <a:pt x="888" y="203"/>
                      </a:lnTo>
                      <a:lnTo>
                        <a:pt x="883" y="200"/>
                      </a:lnTo>
                      <a:lnTo>
                        <a:pt x="883" y="200"/>
                      </a:lnTo>
                      <a:lnTo>
                        <a:pt x="886" y="198"/>
                      </a:lnTo>
                      <a:lnTo>
                        <a:pt x="890" y="196"/>
                      </a:lnTo>
                      <a:lnTo>
                        <a:pt x="892" y="194"/>
                      </a:lnTo>
                      <a:lnTo>
                        <a:pt x="894" y="194"/>
                      </a:lnTo>
                      <a:lnTo>
                        <a:pt x="894" y="192"/>
                      </a:lnTo>
                      <a:lnTo>
                        <a:pt x="896" y="190"/>
                      </a:lnTo>
                      <a:lnTo>
                        <a:pt x="896" y="188"/>
                      </a:lnTo>
                      <a:lnTo>
                        <a:pt x="896" y="188"/>
                      </a:lnTo>
                      <a:lnTo>
                        <a:pt x="896" y="187"/>
                      </a:lnTo>
                      <a:lnTo>
                        <a:pt x="894" y="185"/>
                      </a:lnTo>
                      <a:lnTo>
                        <a:pt x="890" y="185"/>
                      </a:lnTo>
                      <a:lnTo>
                        <a:pt x="886" y="183"/>
                      </a:lnTo>
                      <a:lnTo>
                        <a:pt x="886" y="183"/>
                      </a:lnTo>
                      <a:lnTo>
                        <a:pt x="883" y="181"/>
                      </a:lnTo>
                      <a:lnTo>
                        <a:pt x="883" y="181"/>
                      </a:lnTo>
                      <a:lnTo>
                        <a:pt x="883" y="177"/>
                      </a:lnTo>
                      <a:lnTo>
                        <a:pt x="883" y="174"/>
                      </a:lnTo>
                      <a:lnTo>
                        <a:pt x="883" y="168"/>
                      </a:lnTo>
                      <a:lnTo>
                        <a:pt x="883" y="166"/>
                      </a:lnTo>
                      <a:lnTo>
                        <a:pt x="883" y="166"/>
                      </a:lnTo>
                      <a:lnTo>
                        <a:pt x="881" y="166"/>
                      </a:lnTo>
                      <a:lnTo>
                        <a:pt x="879" y="166"/>
                      </a:lnTo>
                      <a:lnTo>
                        <a:pt x="879" y="168"/>
                      </a:lnTo>
                      <a:lnTo>
                        <a:pt x="875" y="177"/>
                      </a:lnTo>
                      <a:lnTo>
                        <a:pt x="868" y="192"/>
                      </a:lnTo>
                      <a:lnTo>
                        <a:pt x="868" y="192"/>
                      </a:lnTo>
                      <a:lnTo>
                        <a:pt x="862" y="190"/>
                      </a:lnTo>
                      <a:lnTo>
                        <a:pt x="862" y="190"/>
                      </a:lnTo>
                      <a:lnTo>
                        <a:pt x="857" y="188"/>
                      </a:lnTo>
                      <a:lnTo>
                        <a:pt x="857" y="187"/>
                      </a:lnTo>
                      <a:lnTo>
                        <a:pt x="857" y="181"/>
                      </a:lnTo>
                      <a:lnTo>
                        <a:pt x="859" y="176"/>
                      </a:lnTo>
                      <a:lnTo>
                        <a:pt x="859" y="170"/>
                      </a:lnTo>
                      <a:lnTo>
                        <a:pt x="860" y="165"/>
                      </a:lnTo>
                      <a:lnTo>
                        <a:pt x="860" y="165"/>
                      </a:lnTo>
                      <a:lnTo>
                        <a:pt x="866" y="163"/>
                      </a:lnTo>
                      <a:lnTo>
                        <a:pt x="872" y="161"/>
                      </a:lnTo>
                      <a:lnTo>
                        <a:pt x="873" y="159"/>
                      </a:lnTo>
                      <a:lnTo>
                        <a:pt x="875" y="159"/>
                      </a:lnTo>
                      <a:lnTo>
                        <a:pt x="875" y="159"/>
                      </a:lnTo>
                      <a:lnTo>
                        <a:pt x="879" y="157"/>
                      </a:lnTo>
                      <a:lnTo>
                        <a:pt x="883" y="155"/>
                      </a:lnTo>
                      <a:lnTo>
                        <a:pt x="888" y="153"/>
                      </a:lnTo>
                      <a:lnTo>
                        <a:pt x="892" y="153"/>
                      </a:lnTo>
                      <a:lnTo>
                        <a:pt x="892" y="152"/>
                      </a:lnTo>
                      <a:lnTo>
                        <a:pt x="892" y="152"/>
                      </a:lnTo>
                      <a:lnTo>
                        <a:pt x="894" y="150"/>
                      </a:lnTo>
                      <a:lnTo>
                        <a:pt x="896" y="150"/>
                      </a:lnTo>
                      <a:lnTo>
                        <a:pt x="897" y="148"/>
                      </a:lnTo>
                      <a:lnTo>
                        <a:pt x="897" y="146"/>
                      </a:lnTo>
                      <a:lnTo>
                        <a:pt x="896" y="146"/>
                      </a:lnTo>
                      <a:lnTo>
                        <a:pt x="894" y="146"/>
                      </a:lnTo>
                      <a:lnTo>
                        <a:pt x="892" y="146"/>
                      </a:lnTo>
                      <a:lnTo>
                        <a:pt x="888" y="148"/>
                      </a:lnTo>
                      <a:lnTo>
                        <a:pt x="883" y="152"/>
                      </a:lnTo>
                      <a:lnTo>
                        <a:pt x="873" y="157"/>
                      </a:lnTo>
                      <a:lnTo>
                        <a:pt x="872" y="157"/>
                      </a:lnTo>
                      <a:lnTo>
                        <a:pt x="870" y="159"/>
                      </a:lnTo>
                      <a:lnTo>
                        <a:pt x="855" y="166"/>
                      </a:lnTo>
                      <a:lnTo>
                        <a:pt x="842" y="172"/>
                      </a:lnTo>
                      <a:lnTo>
                        <a:pt x="829" y="176"/>
                      </a:lnTo>
                      <a:lnTo>
                        <a:pt x="814" y="181"/>
                      </a:lnTo>
                      <a:lnTo>
                        <a:pt x="809" y="183"/>
                      </a:lnTo>
                      <a:lnTo>
                        <a:pt x="801" y="185"/>
                      </a:lnTo>
                      <a:lnTo>
                        <a:pt x="794" y="187"/>
                      </a:lnTo>
                      <a:lnTo>
                        <a:pt x="794" y="187"/>
                      </a:lnTo>
                      <a:lnTo>
                        <a:pt x="788" y="188"/>
                      </a:lnTo>
                      <a:lnTo>
                        <a:pt x="781" y="190"/>
                      </a:lnTo>
                      <a:lnTo>
                        <a:pt x="774" y="192"/>
                      </a:lnTo>
                      <a:lnTo>
                        <a:pt x="765" y="192"/>
                      </a:lnTo>
                      <a:lnTo>
                        <a:pt x="759" y="194"/>
                      </a:lnTo>
                      <a:lnTo>
                        <a:pt x="759" y="196"/>
                      </a:lnTo>
                      <a:lnTo>
                        <a:pt x="759" y="201"/>
                      </a:lnTo>
                      <a:lnTo>
                        <a:pt x="759" y="205"/>
                      </a:lnTo>
                      <a:lnTo>
                        <a:pt x="759" y="209"/>
                      </a:lnTo>
                      <a:lnTo>
                        <a:pt x="763" y="209"/>
                      </a:lnTo>
                      <a:lnTo>
                        <a:pt x="766" y="209"/>
                      </a:lnTo>
                      <a:lnTo>
                        <a:pt x="770" y="211"/>
                      </a:lnTo>
                      <a:lnTo>
                        <a:pt x="772" y="211"/>
                      </a:lnTo>
                      <a:lnTo>
                        <a:pt x="776" y="212"/>
                      </a:lnTo>
                      <a:lnTo>
                        <a:pt x="776" y="212"/>
                      </a:lnTo>
                      <a:lnTo>
                        <a:pt x="776" y="218"/>
                      </a:lnTo>
                      <a:lnTo>
                        <a:pt x="776" y="218"/>
                      </a:lnTo>
                      <a:lnTo>
                        <a:pt x="774" y="224"/>
                      </a:lnTo>
                      <a:lnTo>
                        <a:pt x="774" y="224"/>
                      </a:lnTo>
                      <a:lnTo>
                        <a:pt x="774" y="225"/>
                      </a:lnTo>
                      <a:lnTo>
                        <a:pt x="774" y="227"/>
                      </a:lnTo>
                      <a:lnTo>
                        <a:pt x="774" y="227"/>
                      </a:lnTo>
                      <a:lnTo>
                        <a:pt x="772" y="229"/>
                      </a:lnTo>
                      <a:lnTo>
                        <a:pt x="770" y="231"/>
                      </a:lnTo>
                      <a:lnTo>
                        <a:pt x="770" y="231"/>
                      </a:lnTo>
                      <a:lnTo>
                        <a:pt x="768" y="233"/>
                      </a:lnTo>
                      <a:lnTo>
                        <a:pt x="768" y="233"/>
                      </a:lnTo>
                      <a:lnTo>
                        <a:pt x="766" y="235"/>
                      </a:lnTo>
                      <a:lnTo>
                        <a:pt x="765" y="236"/>
                      </a:lnTo>
                      <a:lnTo>
                        <a:pt x="765" y="236"/>
                      </a:lnTo>
                      <a:lnTo>
                        <a:pt x="763" y="236"/>
                      </a:lnTo>
                      <a:lnTo>
                        <a:pt x="763" y="236"/>
                      </a:lnTo>
                      <a:lnTo>
                        <a:pt x="759" y="240"/>
                      </a:lnTo>
                      <a:lnTo>
                        <a:pt x="753" y="242"/>
                      </a:lnTo>
                      <a:lnTo>
                        <a:pt x="753" y="248"/>
                      </a:lnTo>
                      <a:lnTo>
                        <a:pt x="753" y="255"/>
                      </a:lnTo>
                      <a:lnTo>
                        <a:pt x="753" y="262"/>
                      </a:lnTo>
                      <a:lnTo>
                        <a:pt x="753" y="268"/>
                      </a:lnTo>
                      <a:lnTo>
                        <a:pt x="757" y="268"/>
                      </a:lnTo>
                      <a:lnTo>
                        <a:pt x="763" y="268"/>
                      </a:lnTo>
                      <a:lnTo>
                        <a:pt x="763" y="264"/>
                      </a:lnTo>
                      <a:lnTo>
                        <a:pt x="763" y="257"/>
                      </a:lnTo>
                      <a:lnTo>
                        <a:pt x="763" y="257"/>
                      </a:lnTo>
                      <a:lnTo>
                        <a:pt x="768" y="257"/>
                      </a:lnTo>
                      <a:lnTo>
                        <a:pt x="776" y="257"/>
                      </a:lnTo>
                      <a:lnTo>
                        <a:pt x="776" y="259"/>
                      </a:lnTo>
                      <a:lnTo>
                        <a:pt x="776" y="262"/>
                      </a:lnTo>
                      <a:lnTo>
                        <a:pt x="776" y="268"/>
                      </a:lnTo>
                      <a:lnTo>
                        <a:pt x="776" y="273"/>
                      </a:lnTo>
                      <a:lnTo>
                        <a:pt x="776" y="279"/>
                      </a:lnTo>
                      <a:lnTo>
                        <a:pt x="777" y="279"/>
                      </a:lnTo>
                      <a:lnTo>
                        <a:pt x="781" y="281"/>
                      </a:lnTo>
                      <a:lnTo>
                        <a:pt x="781" y="281"/>
                      </a:lnTo>
                      <a:lnTo>
                        <a:pt x="783" y="281"/>
                      </a:lnTo>
                      <a:lnTo>
                        <a:pt x="787" y="283"/>
                      </a:lnTo>
                      <a:lnTo>
                        <a:pt x="787" y="283"/>
                      </a:lnTo>
                      <a:lnTo>
                        <a:pt x="788" y="286"/>
                      </a:lnTo>
                      <a:lnTo>
                        <a:pt x="788" y="290"/>
                      </a:lnTo>
                      <a:lnTo>
                        <a:pt x="790" y="292"/>
                      </a:lnTo>
                      <a:lnTo>
                        <a:pt x="790" y="296"/>
                      </a:lnTo>
                      <a:lnTo>
                        <a:pt x="796" y="296"/>
                      </a:lnTo>
                      <a:lnTo>
                        <a:pt x="803" y="296"/>
                      </a:lnTo>
                      <a:lnTo>
                        <a:pt x="803" y="296"/>
                      </a:lnTo>
                      <a:lnTo>
                        <a:pt x="800" y="301"/>
                      </a:lnTo>
                      <a:lnTo>
                        <a:pt x="798" y="307"/>
                      </a:lnTo>
                      <a:lnTo>
                        <a:pt x="796" y="310"/>
                      </a:lnTo>
                      <a:lnTo>
                        <a:pt x="792" y="318"/>
                      </a:lnTo>
                      <a:lnTo>
                        <a:pt x="792" y="316"/>
                      </a:lnTo>
                      <a:lnTo>
                        <a:pt x="787" y="314"/>
                      </a:lnTo>
                      <a:lnTo>
                        <a:pt x="785" y="312"/>
                      </a:lnTo>
                      <a:lnTo>
                        <a:pt x="781" y="312"/>
                      </a:lnTo>
                      <a:lnTo>
                        <a:pt x="779" y="310"/>
                      </a:lnTo>
                      <a:lnTo>
                        <a:pt x="777" y="310"/>
                      </a:lnTo>
                      <a:lnTo>
                        <a:pt x="774" y="310"/>
                      </a:lnTo>
                      <a:lnTo>
                        <a:pt x="770" y="310"/>
                      </a:lnTo>
                      <a:lnTo>
                        <a:pt x="766" y="312"/>
                      </a:lnTo>
                      <a:lnTo>
                        <a:pt x="766" y="318"/>
                      </a:lnTo>
                      <a:lnTo>
                        <a:pt x="766" y="325"/>
                      </a:lnTo>
                      <a:lnTo>
                        <a:pt x="766" y="332"/>
                      </a:lnTo>
                      <a:lnTo>
                        <a:pt x="766" y="338"/>
                      </a:lnTo>
                      <a:lnTo>
                        <a:pt x="766" y="338"/>
                      </a:lnTo>
                      <a:lnTo>
                        <a:pt x="768" y="336"/>
                      </a:lnTo>
                      <a:lnTo>
                        <a:pt x="768" y="336"/>
                      </a:lnTo>
                      <a:lnTo>
                        <a:pt x="772" y="338"/>
                      </a:lnTo>
                      <a:lnTo>
                        <a:pt x="772" y="338"/>
                      </a:lnTo>
                      <a:lnTo>
                        <a:pt x="774" y="340"/>
                      </a:lnTo>
                      <a:lnTo>
                        <a:pt x="772" y="340"/>
                      </a:lnTo>
                      <a:lnTo>
                        <a:pt x="772" y="342"/>
                      </a:lnTo>
                      <a:lnTo>
                        <a:pt x="770" y="344"/>
                      </a:lnTo>
                      <a:lnTo>
                        <a:pt x="770" y="345"/>
                      </a:lnTo>
                      <a:lnTo>
                        <a:pt x="770" y="351"/>
                      </a:lnTo>
                      <a:lnTo>
                        <a:pt x="768" y="351"/>
                      </a:lnTo>
                      <a:lnTo>
                        <a:pt x="761" y="351"/>
                      </a:lnTo>
                      <a:lnTo>
                        <a:pt x="753" y="349"/>
                      </a:lnTo>
                      <a:lnTo>
                        <a:pt x="746" y="349"/>
                      </a:lnTo>
                      <a:lnTo>
                        <a:pt x="739" y="349"/>
                      </a:lnTo>
                      <a:lnTo>
                        <a:pt x="731" y="347"/>
                      </a:lnTo>
                      <a:lnTo>
                        <a:pt x="731" y="347"/>
                      </a:lnTo>
                      <a:lnTo>
                        <a:pt x="724" y="347"/>
                      </a:lnTo>
                      <a:lnTo>
                        <a:pt x="717" y="347"/>
                      </a:lnTo>
                      <a:lnTo>
                        <a:pt x="709" y="345"/>
                      </a:lnTo>
                      <a:lnTo>
                        <a:pt x="702" y="356"/>
                      </a:lnTo>
                      <a:lnTo>
                        <a:pt x="696" y="369"/>
                      </a:lnTo>
                      <a:lnTo>
                        <a:pt x="689" y="380"/>
                      </a:lnTo>
                      <a:lnTo>
                        <a:pt x="681" y="393"/>
                      </a:lnTo>
                      <a:lnTo>
                        <a:pt x="681" y="393"/>
                      </a:lnTo>
                      <a:lnTo>
                        <a:pt x="672" y="393"/>
                      </a:lnTo>
                      <a:lnTo>
                        <a:pt x="665" y="393"/>
                      </a:lnTo>
                      <a:lnTo>
                        <a:pt x="659" y="391"/>
                      </a:lnTo>
                      <a:lnTo>
                        <a:pt x="656" y="391"/>
                      </a:lnTo>
                      <a:lnTo>
                        <a:pt x="650" y="391"/>
                      </a:lnTo>
                      <a:lnTo>
                        <a:pt x="645" y="390"/>
                      </a:lnTo>
                      <a:lnTo>
                        <a:pt x="639" y="388"/>
                      </a:lnTo>
                      <a:lnTo>
                        <a:pt x="632" y="384"/>
                      </a:lnTo>
                      <a:lnTo>
                        <a:pt x="632" y="384"/>
                      </a:lnTo>
                      <a:lnTo>
                        <a:pt x="632" y="379"/>
                      </a:lnTo>
                      <a:lnTo>
                        <a:pt x="632" y="373"/>
                      </a:lnTo>
                      <a:lnTo>
                        <a:pt x="628" y="375"/>
                      </a:lnTo>
                      <a:lnTo>
                        <a:pt x="622" y="377"/>
                      </a:lnTo>
                      <a:lnTo>
                        <a:pt x="626" y="384"/>
                      </a:lnTo>
                      <a:lnTo>
                        <a:pt x="628" y="391"/>
                      </a:lnTo>
                      <a:lnTo>
                        <a:pt x="628" y="399"/>
                      </a:lnTo>
                      <a:lnTo>
                        <a:pt x="630" y="406"/>
                      </a:lnTo>
                      <a:lnTo>
                        <a:pt x="632" y="415"/>
                      </a:lnTo>
                      <a:lnTo>
                        <a:pt x="633" y="430"/>
                      </a:lnTo>
                      <a:lnTo>
                        <a:pt x="635" y="447"/>
                      </a:lnTo>
                      <a:lnTo>
                        <a:pt x="639" y="473"/>
                      </a:lnTo>
                      <a:lnTo>
                        <a:pt x="630" y="469"/>
                      </a:lnTo>
                      <a:lnTo>
                        <a:pt x="624" y="467"/>
                      </a:lnTo>
                      <a:lnTo>
                        <a:pt x="617" y="463"/>
                      </a:lnTo>
                      <a:lnTo>
                        <a:pt x="608" y="462"/>
                      </a:lnTo>
                      <a:lnTo>
                        <a:pt x="598" y="458"/>
                      </a:lnTo>
                      <a:lnTo>
                        <a:pt x="587" y="452"/>
                      </a:lnTo>
                      <a:lnTo>
                        <a:pt x="574" y="447"/>
                      </a:lnTo>
                      <a:lnTo>
                        <a:pt x="558" y="439"/>
                      </a:lnTo>
                      <a:lnTo>
                        <a:pt x="558" y="438"/>
                      </a:lnTo>
                      <a:lnTo>
                        <a:pt x="558" y="434"/>
                      </a:lnTo>
                      <a:lnTo>
                        <a:pt x="558" y="430"/>
                      </a:lnTo>
                      <a:lnTo>
                        <a:pt x="558" y="425"/>
                      </a:lnTo>
                      <a:lnTo>
                        <a:pt x="560" y="421"/>
                      </a:lnTo>
                      <a:lnTo>
                        <a:pt x="556" y="419"/>
                      </a:lnTo>
                      <a:lnTo>
                        <a:pt x="552" y="417"/>
                      </a:lnTo>
                      <a:lnTo>
                        <a:pt x="552" y="419"/>
                      </a:lnTo>
                      <a:lnTo>
                        <a:pt x="550" y="421"/>
                      </a:lnTo>
                      <a:lnTo>
                        <a:pt x="550" y="421"/>
                      </a:lnTo>
                      <a:lnTo>
                        <a:pt x="547" y="421"/>
                      </a:lnTo>
                      <a:lnTo>
                        <a:pt x="547" y="421"/>
                      </a:lnTo>
                      <a:lnTo>
                        <a:pt x="543" y="419"/>
                      </a:lnTo>
                      <a:lnTo>
                        <a:pt x="539" y="419"/>
                      </a:lnTo>
                      <a:lnTo>
                        <a:pt x="539" y="419"/>
                      </a:lnTo>
                      <a:lnTo>
                        <a:pt x="536" y="419"/>
                      </a:lnTo>
                      <a:lnTo>
                        <a:pt x="536" y="419"/>
                      </a:lnTo>
                      <a:lnTo>
                        <a:pt x="530" y="417"/>
                      </a:lnTo>
                      <a:lnTo>
                        <a:pt x="530" y="415"/>
                      </a:lnTo>
                      <a:lnTo>
                        <a:pt x="523" y="414"/>
                      </a:lnTo>
                      <a:lnTo>
                        <a:pt x="512" y="406"/>
                      </a:lnTo>
                      <a:lnTo>
                        <a:pt x="499" y="397"/>
                      </a:lnTo>
                      <a:lnTo>
                        <a:pt x="514" y="397"/>
                      </a:lnTo>
                      <a:lnTo>
                        <a:pt x="514" y="397"/>
                      </a:lnTo>
                      <a:lnTo>
                        <a:pt x="521" y="397"/>
                      </a:lnTo>
                      <a:lnTo>
                        <a:pt x="521" y="397"/>
                      </a:lnTo>
                      <a:lnTo>
                        <a:pt x="525" y="399"/>
                      </a:lnTo>
                      <a:lnTo>
                        <a:pt x="526" y="399"/>
                      </a:lnTo>
                      <a:lnTo>
                        <a:pt x="526" y="399"/>
                      </a:lnTo>
                      <a:lnTo>
                        <a:pt x="530" y="401"/>
                      </a:lnTo>
                      <a:lnTo>
                        <a:pt x="534" y="403"/>
                      </a:lnTo>
                      <a:lnTo>
                        <a:pt x="536" y="404"/>
                      </a:lnTo>
                      <a:lnTo>
                        <a:pt x="536" y="404"/>
                      </a:lnTo>
                      <a:lnTo>
                        <a:pt x="536" y="404"/>
                      </a:lnTo>
                      <a:lnTo>
                        <a:pt x="538" y="404"/>
                      </a:lnTo>
                      <a:lnTo>
                        <a:pt x="538" y="404"/>
                      </a:lnTo>
                      <a:lnTo>
                        <a:pt x="539" y="403"/>
                      </a:lnTo>
                      <a:lnTo>
                        <a:pt x="539" y="399"/>
                      </a:lnTo>
                      <a:lnTo>
                        <a:pt x="539" y="395"/>
                      </a:lnTo>
                      <a:lnTo>
                        <a:pt x="539" y="391"/>
                      </a:lnTo>
                      <a:lnTo>
                        <a:pt x="539" y="390"/>
                      </a:lnTo>
                      <a:lnTo>
                        <a:pt x="539" y="386"/>
                      </a:lnTo>
                      <a:lnTo>
                        <a:pt x="538" y="382"/>
                      </a:lnTo>
                      <a:lnTo>
                        <a:pt x="536" y="379"/>
                      </a:lnTo>
                      <a:lnTo>
                        <a:pt x="532" y="375"/>
                      </a:lnTo>
                      <a:lnTo>
                        <a:pt x="528" y="375"/>
                      </a:lnTo>
                      <a:lnTo>
                        <a:pt x="525" y="375"/>
                      </a:lnTo>
                      <a:lnTo>
                        <a:pt x="521" y="375"/>
                      </a:lnTo>
                      <a:lnTo>
                        <a:pt x="515" y="375"/>
                      </a:lnTo>
                      <a:lnTo>
                        <a:pt x="515" y="373"/>
                      </a:lnTo>
                      <a:lnTo>
                        <a:pt x="517" y="368"/>
                      </a:lnTo>
                      <a:lnTo>
                        <a:pt x="517" y="368"/>
                      </a:lnTo>
                      <a:lnTo>
                        <a:pt x="517" y="364"/>
                      </a:lnTo>
                      <a:lnTo>
                        <a:pt x="519" y="360"/>
                      </a:lnTo>
                      <a:lnTo>
                        <a:pt x="521" y="356"/>
                      </a:lnTo>
                      <a:lnTo>
                        <a:pt x="515" y="351"/>
                      </a:lnTo>
                      <a:lnTo>
                        <a:pt x="512" y="347"/>
                      </a:lnTo>
                      <a:lnTo>
                        <a:pt x="512" y="347"/>
                      </a:lnTo>
                      <a:lnTo>
                        <a:pt x="512" y="344"/>
                      </a:lnTo>
                      <a:lnTo>
                        <a:pt x="512" y="344"/>
                      </a:lnTo>
                      <a:lnTo>
                        <a:pt x="514" y="342"/>
                      </a:lnTo>
                      <a:lnTo>
                        <a:pt x="515" y="338"/>
                      </a:lnTo>
                      <a:lnTo>
                        <a:pt x="515" y="336"/>
                      </a:lnTo>
                      <a:lnTo>
                        <a:pt x="512" y="336"/>
                      </a:lnTo>
                      <a:lnTo>
                        <a:pt x="504" y="336"/>
                      </a:lnTo>
                      <a:lnTo>
                        <a:pt x="504" y="336"/>
                      </a:lnTo>
                      <a:lnTo>
                        <a:pt x="502" y="332"/>
                      </a:lnTo>
                      <a:lnTo>
                        <a:pt x="501" y="331"/>
                      </a:lnTo>
                      <a:lnTo>
                        <a:pt x="499" y="327"/>
                      </a:lnTo>
                      <a:lnTo>
                        <a:pt x="497" y="325"/>
                      </a:lnTo>
                      <a:lnTo>
                        <a:pt x="491" y="323"/>
                      </a:lnTo>
                      <a:lnTo>
                        <a:pt x="488" y="321"/>
                      </a:lnTo>
                      <a:lnTo>
                        <a:pt x="484" y="318"/>
                      </a:lnTo>
                      <a:lnTo>
                        <a:pt x="478" y="316"/>
                      </a:lnTo>
                      <a:lnTo>
                        <a:pt x="478" y="316"/>
                      </a:lnTo>
                      <a:lnTo>
                        <a:pt x="477" y="314"/>
                      </a:lnTo>
                      <a:lnTo>
                        <a:pt x="475" y="312"/>
                      </a:lnTo>
                      <a:lnTo>
                        <a:pt x="475" y="312"/>
                      </a:lnTo>
                      <a:lnTo>
                        <a:pt x="473" y="310"/>
                      </a:lnTo>
                      <a:lnTo>
                        <a:pt x="471" y="308"/>
                      </a:lnTo>
                      <a:lnTo>
                        <a:pt x="469" y="310"/>
                      </a:lnTo>
                      <a:lnTo>
                        <a:pt x="469" y="310"/>
                      </a:lnTo>
                      <a:lnTo>
                        <a:pt x="467" y="312"/>
                      </a:lnTo>
                      <a:lnTo>
                        <a:pt x="467" y="312"/>
                      </a:lnTo>
                      <a:lnTo>
                        <a:pt x="460" y="314"/>
                      </a:lnTo>
                      <a:lnTo>
                        <a:pt x="453" y="314"/>
                      </a:lnTo>
                      <a:lnTo>
                        <a:pt x="447" y="316"/>
                      </a:lnTo>
                      <a:lnTo>
                        <a:pt x="442" y="318"/>
                      </a:lnTo>
                      <a:lnTo>
                        <a:pt x="443" y="318"/>
                      </a:lnTo>
                      <a:lnTo>
                        <a:pt x="447" y="321"/>
                      </a:lnTo>
                      <a:lnTo>
                        <a:pt x="445" y="321"/>
                      </a:lnTo>
                      <a:lnTo>
                        <a:pt x="443" y="323"/>
                      </a:lnTo>
                      <a:lnTo>
                        <a:pt x="442" y="325"/>
                      </a:lnTo>
                      <a:lnTo>
                        <a:pt x="442" y="325"/>
                      </a:lnTo>
                      <a:lnTo>
                        <a:pt x="442" y="327"/>
                      </a:lnTo>
                      <a:lnTo>
                        <a:pt x="440" y="327"/>
                      </a:lnTo>
                      <a:lnTo>
                        <a:pt x="440" y="327"/>
                      </a:lnTo>
                      <a:lnTo>
                        <a:pt x="436" y="329"/>
                      </a:lnTo>
                      <a:lnTo>
                        <a:pt x="436" y="329"/>
                      </a:lnTo>
                      <a:lnTo>
                        <a:pt x="429" y="329"/>
                      </a:lnTo>
                      <a:lnTo>
                        <a:pt x="429" y="327"/>
                      </a:lnTo>
                      <a:lnTo>
                        <a:pt x="430" y="325"/>
                      </a:lnTo>
                      <a:lnTo>
                        <a:pt x="430" y="325"/>
                      </a:lnTo>
                      <a:lnTo>
                        <a:pt x="430" y="325"/>
                      </a:lnTo>
                      <a:lnTo>
                        <a:pt x="430" y="323"/>
                      </a:lnTo>
                      <a:lnTo>
                        <a:pt x="429" y="323"/>
                      </a:lnTo>
                      <a:lnTo>
                        <a:pt x="429" y="323"/>
                      </a:lnTo>
                      <a:lnTo>
                        <a:pt x="427" y="325"/>
                      </a:lnTo>
                      <a:lnTo>
                        <a:pt x="421" y="331"/>
                      </a:lnTo>
                      <a:lnTo>
                        <a:pt x="416" y="338"/>
                      </a:lnTo>
                      <a:lnTo>
                        <a:pt x="414" y="336"/>
                      </a:lnTo>
                      <a:lnTo>
                        <a:pt x="412" y="332"/>
                      </a:lnTo>
                      <a:lnTo>
                        <a:pt x="412" y="327"/>
                      </a:lnTo>
                      <a:lnTo>
                        <a:pt x="412" y="327"/>
                      </a:lnTo>
                      <a:lnTo>
                        <a:pt x="414" y="325"/>
                      </a:lnTo>
                      <a:lnTo>
                        <a:pt x="414" y="325"/>
                      </a:lnTo>
                      <a:lnTo>
                        <a:pt x="416" y="320"/>
                      </a:lnTo>
                      <a:lnTo>
                        <a:pt x="416" y="320"/>
                      </a:lnTo>
                      <a:lnTo>
                        <a:pt x="418" y="314"/>
                      </a:lnTo>
                      <a:lnTo>
                        <a:pt x="416" y="314"/>
                      </a:lnTo>
                      <a:lnTo>
                        <a:pt x="414" y="314"/>
                      </a:lnTo>
                      <a:lnTo>
                        <a:pt x="414" y="316"/>
                      </a:lnTo>
                      <a:lnTo>
                        <a:pt x="414" y="316"/>
                      </a:lnTo>
                      <a:lnTo>
                        <a:pt x="414" y="316"/>
                      </a:lnTo>
                      <a:lnTo>
                        <a:pt x="414" y="318"/>
                      </a:lnTo>
                      <a:lnTo>
                        <a:pt x="414" y="320"/>
                      </a:lnTo>
                      <a:lnTo>
                        <a:pt x="414" y="323"/>
                      </a:lnTo>
                      <a:lnTo>
                        <a:pt x="412" y="323"/>
                      </a:lnTo>
                      <a:lnTo>
                        <a:pt x="412" y="323"/>
                      </a:lnTo>
                      <a:lnTo>
                        <a:pt x="410" y="325"/>
                      </a:lnTo>
                      <a:lnTo>
                        <a:pt x="410" y="325"/>
                      </a:lnTo>
                      <a:lnTo>
                        <a:pt x="408" y="325"/>
                      </a:lnTo>
                      <a:lnTo>
                        <a:pt x="408" y="325"/>
                      </a:lnTo>
                      <a:lnTo>
                        <a:pt x="408" y="327"/>
                      </a:lnTo>
                      <a:lnTo>
                        <a:pt x="408" y="327"/>
                      </a:lnTo>
                      <a:lnTo>
                        <a:pt x="406" y="327"/>
                      </a:lnTo>
                      <a:lnTo>
                        <a:pt x="405" y="327"/>
                      </a:lnTo>
                      <a:lnTo>
                        <a:pt x="405" y="327"/>
                      </a:lnTo>
                      <a:lnTo>
                        <a:pt x="399" y="325"/>
                      </a:lnTo>
                      <a:lnTo>
                        <a:pt x="399" y="325"/>
                      </a:lnTo>
                      <a:lnTo>
                        <a:pt x="394" y="323"/>
                      </a:lnTo>
                      <a:lnTo>
                        <a:pt x="388" y="323"/>
                      </a:lnTo>
                      <a:lnTo>
                        <a:pt x="382" y="321"/>
                      </a:lnTo>
                      <a:lnTo>
                        <a:pt x="379" y="320"/>
                      </a:lnTo>
                      <a:lnTo>
                        <a:pt x="375" y="320"/>
                      </a:lnTo>
                      <a:lnTo>
                        <a:pt x="375" y="323"/>
                      </a:lnTo>
                      <a:lnTo>
                        <a:pt x="375" y="327"/>
                      </a:lnTo>
                      <a:lnTo>
                        <a:pt x="375" y="332"/>
                      </a:lnTo>
                      <a:lnTo>
                        <a:pt x="375" y="336"/>
                      </a:lnTo>
                      <a:lnTo>
                        <a:pt x="373" y="336"/>
                      </a:lnTo>
                      <a:lnTo>
                        <a:pt x="368" y="336"/>
                      </a:lnTo>
                      <a:lnTo>
                        <a:pt x="364" y="336"/>
                      </a:lnTo>
                      <a:lnTo>
                        <a:pt x="366" y="344"/>
                      </a:lnTo>
                      <a:lnTo>
                        <a:pt x="368" y="351"/>
                      </a:lnTo>
                      <a:lnTo>
                        <a:pt x="370" y="358"/>
                      </a:lnTo>
                      <a:lnTo>
                        <a:pt x="373" y="366"/>
                      </a:lnTo>
                      <a:lnTo>
                        <a:pt x="375" y="373"/>
                      </a:lnTo>
                      <a:lnTo>
                        <a:pt x="377" y="380"/>
                      </a:lnTo>
                      <a:lnTo>
                        <a:pt x="379" y="388"/>
                      </a:lnTo>
                      <a:lnTo>
                        <a:pt x="381" y="397"/>
                      </a:lnTo>
                      <a:lnTo>
                        <a:pt x="366" y="399"/>
                      </a:lnTo>
                      <a:lnTo>
                        <a:pt x="349" y="404"/>
                      </a:lnTo>
                      <a:lnTo>
                        <a:pt x="340" y="406"/>
                      </a:lnTo>
                      <a:lnTo>
                        <a:pt x="331" y="408"/>
                      </a:lnTo>
                      <a:lnTo>
                        <a:pt x="320" y="412"/>
                      </a:lnTo>
                      <a:lnTo>
                        <a:pt x="311" y="412"/>
                      </a:lnTo>
                      <a:lnTo>
                        <a:pt x="301" y="414"/>
                      </a:lnTo>
                      <a:lnTo>
                        <a:pt x="292" y="414"/>
                      </a:lnTo>
                      <a:lnTo>
                        <a:pt x="290" y="414"/>
                      </a:lnTo>
                      <a:lnTo>
                        <a:pt x="287" y="414"/>
                      </a:lnTo>
                      <a:lnTo>
                        <a:pt x="283" y="414"/>
                      </a:lnTo>
                      <a:lnTo>
                        <a:pt x="279" y="412"/>
                      </a:lnTo>
                      <a:lnTo>
                        <a:pt x="274" y="412"/>
                      </a:lnTo>
                      <a:lnTo>
                        <a:pt x="270" y="410"/>
                      </a:lnTo>
                      <a:lnTo>
                        <a:pt x="270" y="410"/>
                      </a:lnTo>
                      <a:lnTo>
                        <a:pt x="266" y="408"/>
                      </a:lnTo>
                      <a:lnTo>
                        <a:pt x="266" y="408"/>
                      </a:lnTo>
                      <a:lnTo>
                        <a:pt x="264" y="406"/>
                      </a:lnTo>
                      <a:lnTo>
                        <a:pt x="264" y="406"/>
                      </a:lnTo>
                      <a:lnTo>
                        <a:pt x="261" y="404"/>
                      </a:lnTo>
                      <a:lnTo>
                        <a:pt x="259" y="403"/>
                      </a:lnTo>
                      <a:lnTo>
                        <a:pt x="259" y="403"/>
                      </a:lnTo>
                      <a:lnTo>
                        <a:pt x="257" y="399"/>
                      </a:lnTo>
                      <a:lnTo>
                        <a:pt x="257" y="399"/>
                      </a:lnTo>
                      <a:lnTo>
                        <a:pt x="253" y="395"/>
                      </a:lnTo>
                      <a:lnTo>
                        <a:pt x="253" y="395"/>
                      </a:lnTo>
                      <a:lnTo>
                        <a:pt x="253" y="390"/>
                      </a:lnTo>
                      <a:lnTo>
                        <a:pt x="253" y="390"/>
                      </a:lnTo>
                      <a:lnTo>
                        <a:pt x="257" y="390"/>
                      </a:lnTo>
                      <a:lnTo>
                        <a:pt x="261" y="390"/>
                      </a:lnTo>
                      <a:lnTo>
                        <a:pt x="263" y="390"/>
                      </a:lnTo>
                      <a:lnTo>
                        <a:pt x="263" y="390"/>
                      </a:lnTo>
                      <a:lnTo>
                        <a:pt x="263" y="390"/>
                      </a:lnTo>
                      <a:lnTo>
                        <a:pt x="264" y="390"/>
                      </a:lnTo>
                      <a:lnTo>
                        <a:pt x="264" y="388"/>
                      </a:lnTo>
                      <a:lnTo>
                        <a:pt x="264" y="388"/>
                      </a:lnTo>
                      <a:lnTo>
                        <a:pt x="264" y="386"/>
                      </a:lnTo>
                      <a:lnTo>
                        <a:pt x="253" y="386"/>
                      </a:lnTo>
                      <a:lnTo>
                        <a:pt x="242" y="388"/>
                      </a:lnTo>
                      <a:lnTo>
                        <a:pt x="229" y="388"/>
                      </a:lnTo>
                      <a:lnTo>
                        <a:pt x="218" y="390"/>
                      </a:lnTo>
                      <a:lnTo>
                        <a:pt x="207" y="390"/>
                      </a:lnTo>
                      <a:lnTo>
                        <a:pt x="194" y="390"/>
                      </a:lnTo>
                      <a:lnTo>
                        <a:pt x="183" y="391"/>
                      </a:lnTo>
                      <a:lnTo>
                        <a:pt x="172" y="391"/>
                      </a:lnTo>
                      <a:lnTo>
                        <a:pt x="172" y="397"/>
                      </a:lnTo>
                      <a:lnTo>
                        <a:pt x="172" y="403"/>
                      </a:lnTo>
                      <a:lnTo>
                        <a:pt x="172" y="403"/>
                      </a:lnTo>
                      <a:lnTo>
                        <a:pt x="167" y="404"/>
                      </a:lnTo>
                      <a:lnTo>
                        <a:pt x="159" y="404"/>
                      </a:lnTo>
                      <a:lnTo>
                        <a:pt x="154" y="406"/>
                      </a:lnTo>
                      <a:lnTo>
                        <a:pt x="148" y="406"/>
                      </a:lnTo>
                      <a:lnTo>
                        <a:pt x="148" y="412"/>
                      </a:lnTo>
                      <a:lnTo>
                        <a:pt x="148" y="417"/>
                      </a:lnTo>
                      <a:lnTo>
                        <a:pt x="148" y="425"/>
                      </a:lnTo>
                      <a:lnTo>
                        <a:pt x="148" y="432"/>
                      </a:lnTo>
                      <a:lnTo>
                        <a:pt x="146" y="430"/>
                      </a:lnTo>
                      <a:lnTo>
                        <a:pt x="144" y="428"/>
                      </a:lnTo>
                      <a:lnTo>
                        <a:pt x="143" y="425"/>
                      </a:lnTo>
                      <a:lnTo>
                        <a:pt x="143" y="425"/>
                      </a:lnTo>
                      <a:lnTo>
                        <a:pt x="139" y="421"/>
                      </a:lnTo>
                      <a:lnTo>
                        <a:pt x="139" y="421"/>
                      </a:lnTo>
                      <a:lnTo>
                        <a:pt x="139" y="419"/>
                      </a:lnTo>
                      <a:lnTo>
                        <a:pt x="135" y="412"/>
                      </a:lnTo>
                      <a:lnTo>
                        <a:pt x="131" y="404"/>
                      </a:lnTo>
                      <a:lnTo>
                        <a:pt x="130" y="397"/>
                      </a:lnTo>
                      <a:lnTo>
                        <a:pt x="126" y="390"/>
                      </a:lnTo>
                      <a:lnTo>
                        <a:pt x="122" y="382"/>
                      </a:lnTo>
                      <a:lnTo>
                        <a:pt x="120" y="379"/>
                      </a:lnTo>
                      <a:lnTo>
                        <a:pt x="120" y="382"/>
                      </a:lnTo>
                      <a:lnTo>
                        <a:pt x="122" y="388"/>
                      </a:lnTo>
                      <a:lnTo>
                        <a:pt x="122" y="395"/>
                      </a:lnTo>
                      <a:lnTo>
                        <a:pt x="122" y="403"/>
                      </a:lnTo>
                      <a:lnTo>
                        <a:pt x="113" y="403"/>
                      </a:lnTo>
                      <a:lnTo>
                        <a:pt x="102" y="403"/>
                      </a:lnTo>
                      <a:lnTo>
                        <a:pt x="93" y="404"/>
                      </a:lnTo>
                      <a:lnTo>
                        <a:pt x="84" y="404"/>
                      </a:lnTo>
                      <a:lnTo>
                        <a:pt x="78" y="404"/>
                      </a:lnTo>
                      <a:lnTo>
                        <a:pt x="74" y="404"/>
                      </a:lnTo>
                      <a:lnTo>
                        <a:pt x="74" y="404"/>
                      </a:lnTo>
                      <a:lnTo>
                        <a:pt x="74" y="408"/>
                      </a:lnTo>
                      <a:lnTo>
                        <a:pt x="74" y="414"/>
                      </a:lnTo>
                      <a:lnTo>
                        <a:pt x="74" y="417"/>
                      </a:lnTo>
                      <a:lnTo>
                        <a:pt x="74" y="417"/>
                      </a:lnTo>
                      <a:lnTo>
                        <a:pt x="74" y="419"/>
                      </a:lnTo>
                      <a:lnTo>
                        <a:pt x="74" y="423"/>
                      </a:lnTo>
                      <a:lnTo>
                        <a:pt x="74" y="427"/>
                      </a:lnTo>
                      <a:lnTo>
                        <a:pt x="74" y="432"/>
                      </a:lnTo>
                      <a:lnTo>
                        <a:pt x="74" y="436"/>
                      </a:lnTo>
                      <a:lnTo>
                        <a:pt x="72" y="436"/>
                      </a:lnTo>
                      <a:lnTo>
                        <a:pt x="67" y="436"/>
                      </a:lnTo>
                      <a:lnTo>
                        <a:pt x="63" y="436"/>
                      </a:lnTo>
                      <a:lnTo>
                        <a:pt x="63" y="438"/>
                      </a:lnTo>
                      <a:lnTo>
                        <a:pt x="63" y="438"/>
                      </a:lnTo>
                      <a:lnTo>
                        <a:pt x="63" y="439"/>
                      </a:lnTo>
                      <a:lnTo>
                        <a:pt x="63" y="439"/>
                      </a:lnTo>
                      <a:lnTo>
                        <a:pt x="67" y="439"/>
                      </a:lnTo>
                      <a:lnTo>
                        <a:pt x="74" y="439"/>
                      </a:lnTo>
                      <a:lnTo>
                        <a:pt x="74" y="441"/>
                      </a:lnTo>
                      <a:lnTo>
                        <a:pt x="74" y="449"/>
                      </a:lnTo>
                      <a:lnTo>
                        <a:pt x="76" y="456"/>
                      </a:lnTo>
                      <a:lnTo>
                        <a:pt x="78" y="463"/>
                      </a:lnTo>
                      <a:lnTo>
                        <a:pt x="80" y="471"/>
                      </a:lnTo>
                      <a:lnTo>
                        <a:pt x="80" y="471"/>
                      </a:lnTo>
                      <a:lnTo>
                        <a:pt x="80" y="478"/>
                      </a:lnTo>
                      <a:lnTo>
                        <a:pt x="82" y="486"/>
                      </a:lnTo>
                      <a:lnTo>
                        <a:pt x="84" y="493"/>
                      </a:lnTo>
                      <a:lnTo>
                        <a:pt x="85" y="500"/>
                      </a:lnTo>
                      <a:lnTo>
                        <a:pt x="87" y="500"/>
                      </a:lnTo>
                      <a:lnTo>
                        <a:pt x="93" y="500"/>
                      </a:lnTo>
                      <a:lnTo>
                        <a:pt x="96" y="500"/>
                      </a:lnTo>
                      <a:lnTo>
                        <a:pt x="102" y="500"/>
                      </a:lnTo>
                      <a:lnTo>
                        <a:pt x="102" y="500"/>
                      </a:lnTo>
                      <a:lnTo>
                        <a:pt x="100" y="504"/>
                      </a:lnTo>
                      <a:lnTo>
                        <a:pt x="100" y="506"/>
                      </a:lnTo>
                      <a:lnTo>
                        <a:pt x="100" y="506"/>
                      </a:lnTo>
                      <a:lnTo>
                        <a:pt x="98" y="510"/>
                      </a:lnTo>
                      <a:lnTo>
                        <a:pt x="96" y="511"/>
                      </a:lnTo>
                      <a:lnTo>
                        <a:pt x="102" y="517"/>
                      </a:lnTo>
                      <a:lnTo>
                        <a:pt x="108" y="521"/>
                      </a:lnTo>
                      <a:lnTo>
                        <a:pt x="108" y="521"/>
                      </a:lnTo>
                      <a:lnTo>
                        <a:pt x="111" y="524"/>
                      </a:lnTo>
                      <a:lnTo>
                        <a:pt x="115" y="528"/>
                      </a:lnTo>
                      <a:lnTo>
                        <a:pt x="115" y="528"/>
                      </a:lnTo>
                      <a:lnTo>
                        <a:pt x="119" y="532"/>
                      </a:lnTo>
                      <a:lnTo>
                        <a:pt x="122" y="535"/>
                      </a:lnTo>
                      <a:lnTo>
                        <a:pt x="122" y="535"/>
                      </a:lnTo>
                      <a:lnTo>
                        <a:pt x="124" y="537"/>
                      </a:lnTo>
                      <a:lnTo>
                        <a:pt x="126" y="541"/>
                      </a:lnTo>
                      <a:lnTo>
                        <a:pt x="126" y="541"/>
                      </a:lnTo>
                      <a:lnTo>
                        <a:pt x="128" y="545"/>
                      </a:lnTo>
                      <a:lnTo>
                        <a:pt x="130" y="550"/>
                      </a:lnTo>
                      <a:lnTo>
                        <a:pt x="131" y="554"/>
                      </a:lnTo>
                      <a:lnTo>
                        <a:pt x="133" y="559"/>
                      </a:lnTo>
                      <a:lnTo>
                        <a:pt x="135" y="570"/>
                      </a:lnTo>
                      <a:lnTo>
                        <a:pt x="139" y="582"/>
                      </a:lnTo>
                      <a:lnTo>
                        <a:pt x="143" y="583"/>
                      </a:lnTo>
                      <a:lnTo>
                        <a:pt x="146" y="585"/>
                      </a:lnTo>
                      <a:lnTo>
                        <a:pt x="152" y="585"/>
                      </a:lnTo>
                      <a:lnTo>
                        <a:pt x="157" y="587"/>
                      </a:lnTo>
                      <a:lnTo>
                        <a:pt x="157" y="587"/>
                      </a:lnTo>
                      <a:lnTo>
                        <a:pt x="155" y="593"/>
                      </a:lnTo>
                      <a:lnTo>
                        <a:pt x="155" y="598"/>
                      </a:lnTo>
                      <a:lnTo>
                        <a:pt x="154" y="604"/>
                      </a:lnTo>
                      <a:lnTo>
                        <a:pt x="152" y="611"/>
                      </a:lnTo>
                      <a:lnTo>
                        <a:pt x="139" y="618"/>
                      </a:lnTo>
                      <a:lnTo>
                        <a:pt x="126" y="628"/>
                      </a:lnTo>
                      <a:lnTo>
                        <a:pt x="115" y="635"/>
                      </a:lnTo>
                      <a:lnTo>
                        <a:pt x="102" y="642"/>
                      </a:lnTo>
                      <a:lnTo>
                        <a:pt x="102" y="650"/>
                      </a:lnTo>
                      <a:lnTo>
                        <a:pt x="102" y="657"/>
                      </a:lnTo>
                      <a:lnTo>
                        <a:pt x="102" y="663"/>
                      </a:lnTo>
                      <a:lnTo>
                        <a:pt x="102" y="672"/>
                      </a:lnTo>
                      <a:lnTo>
                        <a:pt x="100" y="672"/>
                      </a:lnTo>
                      <a:lnTo>
                        <a:pt x="96" y="672"/>
                      </a:lnTo>
                      <a:lnTo>
                        <a:pt x="93" y="674"/>
                      </a:lnTo>
                      <a:lnTo>
                        <a:pt x="89" y="674"/>
                      </a:lnTo>
                      <a:lnTo>
                        <a:pt x="85" y="676"/>
                      </a:lnTo>
                      <a:lnTo>
                        <a:pt x="85" y="689"/>
                      </a:lnTo>
                      <a:lnTo>
                        <a:pt x="85" y="702"/>
                      </a:lnTo>
                      <a:lnTo>
                        <a:pt x="85" y="716"/>
                      </a:lnTo>
                      <a:lnTo>
                        <a:pt x="85" y="731"/>
                      </a:lnTo>
                      <a:lnTo>
                        <a:pt x="85" y="731"/>
                      </a:lnTo>
                      <a:lnTo>
                        <a:pt x="78" y="729"/>
                      </a:lnTo>
                      <a:lnTo>
                        <a:pt x="71" y="727"/>
                      </a:lnTo>
                      <a:lnTo>
                        <a:pt x="65" y="726"/>
                      </a:lnTo>
                      <a:lnTo>
                        <a:pt x="65" y="726"/>
                      </a:lnTo>
                      <a:lnTo>
                        <a:pt x="60" y="726"/>
                      </a:lnTo>
                      <a:lnTo>
                        <a:pt x="60" y="729"/>
                      </a:lnTo>
                      <a:lnTo>
                        <a:pt x="60" y="737"/>
                      </a:lnTo>
                      <a:lnTo>
                        <a:pt x="45" y="740"/>
                      </a:lnTo>
                      <a:lnTo>
                        <a:pt x="34" y="744"/>
                      </a:lnTo>
                      <a:lnTo>
                        <a:pt x="21" y="748"/>
                      </a:lnTo>
                      <a:lnTo>
                        <a:pt x="8" y="751"/>
                      </a:lnTo>
                      <a:lnTo>
                        <a:pt x="6" y="755"/>
                      </a:lnTo>
                      <a:lnTo>
                        <a:pt x="4" y="757"/>
                      </a:lnTo>
                      <a:lnTo>
                        <a:pt x="4" y="762"/>
                      </a:lnTo>
                      <a:lnTo>
                        <a:pt x="4" y="766"/>
                      </a:lnTo>
                      <a:lnTo>
                        <a:pt x="4" y="770"/>
                      </a:lnTo>
                      <a:lnTo>
                        <a:pt x="6" y="773"/>
                      </a:lnTo>
                      <a:lnTo>
                        <a:pt x="8" y="777"/>
                      </a:lnTo>
                      <a:lnTo>
                        <a:pt x="8" y="781"/>
                      </a:lnTo>
                      <a:lnTo>
                        <a:pt x="10" y="783"/>
                      </a:lnTo>
                      <a:lnTo>
                        <a:pt x="12" y="786"/>
                      </a:lnTo>
                      <a:lnTo>
                        <a:pt x="19" y="797"/>
                      </a:lnTo>
                      <a:lnTo>
                        <a:pt x="28" y="812"/>
                      </a:lnTo>
                      <a:lnTo>
                        <a:pt x="30" y="827"/>
                      </a:lnTo>
                      <a:lnTo>
                        <a:pt x="32" y="842"/>
                      </a:lnTo>
                      <a:lnTo>
                        <a:pt x="32" y="857"/>
                      </a:lnTo>
                      <a:lnTo>
                        <a:pt x="32" y="857"/>
                      </a:lnTo>
                      <a:lnTo>
                        <a:pt x="34" y="871"/>
                      </a:lnTo>
                      <a:lnTo>
                        <a:pt x="34" y="886"/>
                      </a:lnTo>
                      <a:lnTo>
                        <a:pt x="36" y="901"/>
                      </a:lnTo>
                      <a:lnTo>
                        <a:pt x="37" y="917"/>
                      </a:lnTo>
                      <a:lnTo>
                        <a:pt x="37" y="932"/>
                      </a:lnTo>
                      <a:lnTo>
                        <a:pt x="37" y="932"/>
                      </a:lnTo>
                      <a:lnTo>
                        <a:pt x="32" y="934"/>
                      </a:lnTo>
                      <a:lnTo>
                        <a:pt x="24" y="936"/>
                      </a:lnTo>
                      <a:lnTo>
                        <a:pt x="19" y="940"/>
                      </a:lnTo>
                      <a:lnTo>
                        <a:pt x="12" y="943"/>
                      </a:lnTo>
                      <a:lnTo>
                        <a:pt x="10" y="945"/>
                      </a:lnTo>
                      <a:lnTo>
                        <a:pt x="8" y="947"/>
                      </a:lnTo>
                      <a:lnTo>
                        <a:pt x="4" y="949"/>
                      </a:lnTo>
                      <a:lnTo>
                        <a:pt x="2" y="952"/>
                      </a:lnTo>
                      <a:lnTo>
                        <a:pt x="2" y="954"/>
                      </a:lnTo>
                      <a:lnTo>
                        <a:pt x="0" y="958"/>
                      </a:lnTo>
                      <a:lnTo>
                        <a:pt x="0" y="962"/>
                      </a:lnTo>
                      <a:lnTo>
                        <a:pt x="0" y="964"/>
                      </a:lnTo>
                      <a:lnTo>
                        <a:pt x="2" y="964"/>
                      </a:lnTo>
                      <a:lnTo>
                        <a:pt x="6" y="964"/>
                      </a:lnTo>
                      <a:lnTo>
                        <a:pt x="12" y="964"/>
                      </a:lnTo>
                      <a:lnTo>
                        <a:pt x="15" y="964"/>
                      </a:lnTo>
                      <a:lnTo>
                        <a:pt x="15" y="964"/>
                      </a:lnTo>
                      <a:lnTo>
                        <a:pt x="19" y="969"/>
                      </a:lnTo>
                      <a:lnTo>
                        <a:pt x="19" y="969"/>
                      </a:lnTo>
                      <a:lnTo>
                        <a:pt x="21" y="975"/>
                      </a:lnTo>
                      <a:lnTo>
                        <a:pt x="23" y="978"/>
                      </a:lnTo>
                      <a:lnTo>
                        <a:pt x="23" y="978"/>
                      </a:lnTo>
                      <a:lnTo>
                        <a:pt x="23" y="984"/>
                      </a:lnTo>
                      <a:lnTo>
                        <a:pt x="24" y="991"/>
                      </a:lnTo>
                      <a:lnTo>
                        <a:pt x="24" y="991"/>
                      </a:lnTo>
                      <a:lnTo>
                        <a:pt x="24" y="999"/>
                      </a:lnTo>
                      <a:lnTo>
                        <a:pt x="26" y="1010"/>
                      </a:lnTo>
                      <a:lnTo>
                        <a:pt x="28" y="1023"/>
                      </a:lnTo>
                      <a:lnTo>
                        <a:pt x="32" y="1023"/>
                      </a:lnTo>
                      <a:lnTo>
                        <a:pt x="39" y="1023"/>
                      </a:lnTo>
                      <a:lnTo>
                        <a:pt x="39" y="1024"/>
                      </a:lnTo>
                      <a:lnTo>
                        <a:pt x="39" y="1032"/>
                      </a:lnTo>
                      <a:lnTo>
                        <a:pt x="39" y="1041"/>
                      </a:lnTo>
                      <a:lnTo>
                        <a:pt x="39" y="1048"/>
                      </a:lnTo>
                      <a:lnTo>
                        <a:pt x="39" y="1056"/>
                      </a:lnTo>
                      <a:lnTo>
                        <a:pt x="41" y="1058"/>
                      </a:lnTo>
                      <a:lnTo>
                        <a:pt x="43" y="1058"/>
                      </a:lnTo>
                      <a:lnTo>
                        <a:pt x="47" y="1060"/>
                      </a:lnTo>
                      <a:lnTo>
                        <a:pt x="47" y="1060"/>
                      </a:lnTo>
                      <a:lnTo>
                        <a:pt x="50" y="1060"/>
                      </a:lnTo>
                      <a:lnTo>
                        <a:pt x="50" y="1061"/>
                      </a:lnTo>
                      <a:lnTo>
                        <a:pt x="50" y="1067"/>
                      </a:lnTo>
                      <a:lnTo>
                        <a:pt x="50" y="1067"/>
                      </a:lnTo>
                      <a:lnTo>
                        <a:pt x="50" y="1072"/>
                      </a:lnTo>
                      <a:lnTo>
                        <a:pt x="50" y="1072"/>
                      </a:lnTo>
                      <a:lnTo>
                        <a:pt x="48" y="1078"/>
                      </a:lnTo>
                      <a:lnTo>
                        <a:pt x="48" y="1078"/>
                      </a:lnTo>
                      <a:lnTo>
                        <a:pt x="47" y="1084"/>
                      </a:lnTo>
                      <a:lnTo>
                        <a:pt x="45" y="1089"/>
                      </a:lnTo>
                      <a:lnTo>
                        <a:pt x="43" y="1095"/>
                      </a:lnTo>
                      <a:lnTo>
                        <a:pt x="43" y="1095"/>
                      </a:lnTo>
                      <a:lnTo>
                        <a:pt x="41" y="1100"/>
                      </a:lnTo>
                      <a:lnTo>
                        <a:pt x="39" y="1104"/>
                      </a:lnTo>
                      <a:lnTo>
                        <a:pt x="34" y="1115"/>
                      </a:lnTo>
                      <a:lnTo>
                        <a:pt x="28" y="1126"/>
                      </a:lnTo>
                      <a:lnTo>
                        <a:pt x="26" y="1131"/>
                      </a:lnTo>
                      <a:lnTo>
                        <a:pt x="26" y="1137"/>
                      </a:lnTo>
                      <a:lnTo>
                        <a:pt x="24" y="1144"/>
                      </a:lnTo>
                      <a:lnTo>
                        <a:pt x="24" y="1150"/>
                      </a:lnTo>
                      <a:lnTo>
                        <a:pt x="34" y="1152"/>
                      </a:lnTo>
                      <a:lnTo>
                        <a:pt x="43" y="1155"/>
                      </a:lnTo>
                      <a:lnTo>
                        <a:pt x="54" y="1159"/>
                      </a:lnTo>
                      <a:lnTo>
                        <a:pt x="65" y="1161"/>
                      </a:lnTo>
                      <a:lnTo>
                        <a:pt x="71" y="1163"/>
                      </a:lnTo>
                      <a:lnTo>
                        <a:pt x="76" y="1165"/>
                      </a:lnTo>
                      <a:lnTo>
                        <a:pt x="82" y="1165"/>
                      </a:lnTo>
                      <a:lnTo>
                        <a:pt x="87" y="1165"/>
                      </a:lnTo>
                      <a:lnTo>
                        <a:pt x="93" y="1167"/>
                      </a:lnTo>
                      <a:lnTo>
                        <a:pt x="98" y="1167"/>
                      </a:lnTo>
                      <a:lnTo>
                        <a:pt x="104" y="1167"/>
                      </a:lnTo>
                      <a:lnTo>
                        <a:pt x="108" y="1165"/>
                      </a:lnTo>
                      <a:lnTo>
                        <a:pt x="108" y="1165"/>
                      </a:lnTo>
                      <a:lnTo>
                        <a:pt x="109" y="1165"/>
                      </a:lnTo>
                      <a:lnTo>
                        <a:pt x="109" y="1165"/>
                      </a:lnTo>
                      <a:lnTo>
                        <a:pt x="109" y="1165"/>
                      </a:lnTo>
                      <a:lnTo>
                        <a:pt x="115" y="1165"/>
                      </a:lnTo>
                      <a:lnTo>
                        <a:pt x="120" y="1165"/>
                      </a:lnTo>
                      <a:lnTo>
                        <a:pt x="120" y="1167"/>
                      </a:lnTo>
                      <a:lnTo>
                        <a:pt x="120" y="1170"/>
                      </a:lnTo>
                      <a:lnTo>
                        <a:pt x="120" y="1176"/>
                      </a:lnTo>
                      <a:lnTo>
                        <a:pt x="126" y="1176"/>
                      </a:lnTo>
                      <a:lnTo>
                        <a:pt x="131" y="1176"/>
                      </a:lnTo>
                      <a:lnTo>
                        <a:pt x="131" y="1176"/>
                      </a:lnTo>
                      <a:lnTo>
                        <a:pt x="133" y="1181"/>
                      </a:lnTo>
                      <a:lnTo>
                        <a:pt x="133" y="1185"/>
                      </a:lnTo>
                      <a:lnTo>
                        <a:pt x="135" y="1189"/>
                      </a:lnTo>
                      <a:lnTo>
                        <a:pt x="135" y="1194"/>
                      </a:lnTo>
                      <a:lnTo>
                        <a:pt x="135" y="1194"/>
                      </a:lnTo>
                      <a:lnTo>
                        <a:pt x="130" y="1196"/>
                      </a:lnTo>
                      <a:lnTo>
                        <a:pt x="126" y="1196"/>
                      </a:lnTo>
                      <a:lnTo>
                        <a:pt x="120" y="1198"/>
                      </a:lnTo>
                      <a:lnTo>
                        <a:pt x="115" y="1198"/>
                      </a:lnTo>
                      <a:lnTo>
                        <a:pt x="117" y="1203"/>
                      </a:lnTo>
                      <a:lnTo>
                        <a:pt x="117" y="1209"/>
                      </a:lnTo>
                      <a:lnTo>
                        <a:pt x="119" y="1213"/>
                      </a:lnTo>
                      <a:lnTo>
                        <a:pt x="120" y="1218"/>
                      </a:lnTo>
                      <a:lnTo>
                        <a:pt x="128" y="1216"/>
                      </a:lnTo>
                      <a:lnTo>
                        <a:pt x="135" y="1216"/>
                      </a:lnTo>
                      <a:lnTo>
                        <a:pt x="144" y="1215"/>
                      </a:lnTo>
                      <a:lnTo>
                        <a:pt x="154" y="1215"/>
                      </a:lnTo>
                      <a:lnTo>
                        <a:pt x="154" y="1215"/>
                      </a:lnTo>
                      <a:lnTo>
                        <a:pt x="155" y="1222"/>
                      </a:lnTo>
                      <a:lnTo>
                        <a:pt x="157" y="1229"/>
                      </a:lnTo>
                      <a:lnTo>
                        <a:pt x="161" y="1239"/>
                      </a:lnTo>
                      <a:lnTo>
                        <a:pt x="163" y="1248"/>
                      </a:lnTo>
                      <a:lnTo>
                        <a:pt x="167" y="1255"/>
                      </a:lnTo>
                      <a:lnTo>
                        <a:pt x="170" y="1263"/>
                      </a:lnTo>
                      <a:lnTo>
                        <a:pt x="172" y="1266"/>
                      </a:lnTo>
                      <a:lnTo>
                        <a:pt x="174" y="1270"/>
                      </a:lnTo>
                      <a:lnTo>
                        <a:pt x="176" y="1272"/>
                      </a:lnTo>
                      <a:lnTo>
                        <a:pt x="179" y="1274"/>
                      </a:lnTo>
                      <a:lnTo>
                        <a:pt x="179" y="1275"/>
                      </a:lnTo>
                      <a:lnTo>
                        <a:pt x="176" y="1281"/>
                      </a:lnTo>
                      <a:lnTo>
                        <a:pt x="176" y="1281"/>
                      </a:lnTo>
                      <a:lnTo>
                        <a:pt x="172" y="1287"/>
                      </a:lnTo>
                      <a:lnTo>
                        <a:pt x="170" y="1292"/>
                      </a:lnTo>
                      <a:lnTo>
                        <a:pt x="170" y="1292"/>
                      </a:lnTo>
                      <a:lnTo>
                        <a:pt x="167" y="1298"/>
                      </a:lnTo>
                      <a:lnTo>
                        <a:pt x="174" y="1299"/>
                      </a:lnTo>
                      <a:lnTo>
                        <a:pt x="181" y="1303"/>
                      </a:lnTo>
                      <a:lnTo>
                        <a:pt x="191" y="1307"/>
                      </a:lnTo>
                      <a:lnTo>
                        <a:pt x="200" y="1309"/>
                      </a:lnTo>
                      <a:lnTo>
                        <a:pt x="198" y="1310"/>
                      </a:lnTo>
                      <a:lnTo>
                        <a:pt x="198" y="1312"/>
                      </a:lnTo>
                      <a:lnTo>
                        <a:pt x="196" y="1314"/>
                      </a:lnTo>
                      <a:lnTo>
                        <a:pt x="194" y="1316"/>
                      </a:lnTo>
                      <a:lnTo>
                        <a:pt x="194" y="1320"/>
                      </a:lnTo>
                      <a:lnTo>
                        <a:pt x="194" y="1327"/>
                      </a:lnTo>
                      <a:lnTo>
                        <a:pt x="192" y="1340"/>
                      </a:lnTo>
                      <a:lnTo>
                        <a:pt x="192" y="1340"/>
                      </a:lnTo>
                      <a:lnTo>
                        <a:pt x="187" y="1340"/>
                      </a:lnTo>
                      <a:lnTo>
                        <a:pt x="181" y="1340"/>
                      </a:lnTo>
                      <a:lnTo>
                        <a:pt x="187" y="1351"/>
                      </a:lnTo>
                      <a:lnTo>
                        <a:pt x="191" y="1360"/>
                      </a:lnTo>
                      <a:lnTo>
                        <a:pt x="192" y="1366"/>
                      </a:lnTo>
                      <a:lnTo>
                        <a:pt x="196" y="1370"/>
                      </a:lnTo>
                      <a:lnTo>
                        <a:pt x="198" y="1373"/>
                      </a:lnTo>
                      <a:lnTo>
                        <a:pt x="200" y="1377"/>
                      </a:lnTo>
                      <a:lnTo>
                        <a:pt x="202" y="1381"/>
                      </a:lnTo>
                      <a:lnTo>
                        <a:pt x="205" y="1382"/>
                      </a:lnTo>
                      <a:lnTo>
                        <a:pt x="207" y="1386"/>
                      </a:lnTo>
                      <a:lnTo>
                        <a:pt x="211" y="1388"/>
                      </a:lnTo>
                      <a:lnTo>
                        <a:pt x="216" y="1392"/>
                      </a:lnTo>
                      <a:lnTo>
                        <a:pt x="220" y="1394"/>
                      </a:lnTo>
                      <a:lnTo>
                        <a:pt x="226" y="1397"/>
                      </a:lnTo>
                      <a:lnTo>
                        <a:pt x="231" y="1399"/>
                      </a:lnTo>
                      <a:lnTo>
                        <a:pt x="231" y="1410"/>
                      </a:lnTo>
                      <a:lnTo>
                        <a:pt x="229" y="1419"/>
                      </a:lnTo>
                      <a:lnTo>
                        <a:pt x="226" y="1430"/>
                      </a:lnTo>
                      <a:lnTo>
                        <a:pt x="224" y="1442"/>
                      </a:lnTo>
                      <a:lnTo>
                        <a:pt x="218" y="1464"/>
                      </a:lnTo>
                      <a:lnTo>
                        <a:pt x="213" y="1486"/>
                      </a:lnTo>
                      <a:lnTo>
                        <a:pt x="211" y="1497"/>
                      </a:lnTo>
                      <a:lnTo>
                        <a:pt x="209" y="1508"/>
                      </a:lnTo>
                      <a:lnTo>
                        <a:pt x="207" y="1519"/>
                      </a:lnTo>
                      <a:lnTo>
                        <a:pt x="207" y="1530"/>
                      </a:lnTo>
                      <a:lnTo>
                        <a:pt x="207" y="1536"/>
                      </a:lnTo>
                      <a:lnTo>
                        <a:pt x="207" y="1541"/>
                      </a:lnTo>
                      <a:lnTo>
                        <a:pt x="209" y="1545"/>
                      </a:lnTo>
                      <a:lnTo>
                        <a:pt x="209" y="1550"/>
                      </a:lnTo>
                      <a:lnTo>
                        <a:pt x="211" y="1554"/>
                      </a:lnTo>
                      <a:lnTo>
                        <a:pt x="213" y="1560"/>
                      </a:lnTo>
                      <a:lnTo>
                        <a:pt x="215" y="1563"/>
                      </a:lnTo>
                      <a:lnTo>
                        <a:pt x="215" y="1563"/>
                      </a:lnTo>
                      <a:lnTo>
                        <a:pt x="216" y="1569"/>
                      </a:lnTo>
                      <a:lnTo>
                        <a:pt x="224" y="1569"/>
                      </a:lnTo>
                      <a:lnTo>
                        <a:pt x="224" y="1569"/>
                      </a:lnTo>
                      <a:lnTo>
                        <a:pt x="231" y="1569"/>
                      </a:lnTo>
                      <a:lnTo>
                        <a:pt x="240" y="1571"/>
                      </a:lnTo>
                      <a:lnTo>
                        <a:pt x="248" y="1571"/>
                      </a:lnTo>
                      <a:lnTo>
                        <a:pt x="250" y="1569"/>
                      </a:lnTo>
                      <a:lnTo>
                        <a:pt x="251" y="1567"/>
                      </a:lnTo>
                      <a:lnTo>
                        <a:pt x="253" y="1565"/>
                      </a:lnTo>
                      <a:lnTo>
                        <a:pt x="253" y="1563"/>
                      </a:lnTo>
                      <a:lnTo>
                        <a:pt x="255" y="1556"/>
                      </a:lnTo>
                      <a:lnTo>
                        <a:pt x="259" y="1547"/>
                      </a:lnTo>
                      <a:lnTo>
                        <a:pt x="285" y="1541"/>
                      </a:lnTo>
                      <a:lnTo>
                        <a:pt x="299" y="1537"/>
                      </a:lnTo>
                      <a:lnTo>
                        <a:pt x="303" y="1536"/>
                      </a:lnTo>
                      <a:lnTo>
                        <a:pt x="307" y="1536"/>
                      </a:lnTo>
                      <a:lnTo>
                        <a:pt x="311" y="1532"/>
                      </a:lnTo>
                      <a:lnTo>
                        <a:pt x="314" y="1530"/>
                      </a:lnTo>
                      <a:lnTo>
                        <a:pt x="316" y="1521"/>
                      </a:lnTo>
                      <a:lnTo>
                        <a:pt x="316" y="1521"/>
                      </a:lnTo>
                      <a:lnTo>
                        <a:pt x="318" y="1515"/>
                      </a:lnTo>
                      <a:lnTo>
                        <a:pt x="318" y="1515"/>
                      </a:lnTo>
                      <a:lnTo>
                        <a:pt x="320" y="1513"/>
                      </a:lnTo>
                      <a:lnTo>
                        <a:pt x="320" y="1513"/>
                      </a:lnTo>
                      <a:lnTo>
                        <a:pt x="322" y="1513"/>
                      </a:lnTo>
                      <a:lnTo>
                        <a:pt x="322" y="1513"/>
                      </a:lnTo>
                      <a:lnTo>
                        <a:pt x="323" y="1513"/>
                      </a:lnTo>
                      <a:lnTo>
                        <a:pt x="325" y="1513"/>
                      </a:lnTo>
                      <a:lnTo>
                        <a:pt x="325" y="1513"/>
                      </a:lnTo>
                      <a:lnTo>
                        <a:pt x="325" y="1517"/>
                      </a:lnTo>
                      <a:lnTo>
                        <a:pt x="325" y="1521"/>
                      </a:lnTo>
                      <a:lnTo>
                        <a:pt x="325" y="1526"/>
                      </a:lnTo>
                      <a:lnTo>
                        <a:pt x="325" y="1530"/>
                      </a:lnTo>
                      <a:lnTo>
                        <a:pt x="331" y="1530"/>
                      </a:lnTo>
                      <a:lnTo>
                        <a:pt x="336" y="1530"/>
                      </a:lnTo>
                      <a:lnTo>
                        <a:pt x="336" y="1530"/>
                      </a:lnTo>
                      <a:lnTo>
                        <a:pt x="336" y="1539"/>
                      </a:lnTo>
                      <a:lnTo>
                        <a:pt x="336" y="1549"/>
                      </a:lnTo>
                      <a:lnTo>
                        <a:pt x="336" y="1558"/>
                      </a:lnTo>
                      <a:lnTo>
                        <a:pt x="336" y="1567"/>
                      </a:lnTo>
                      <a:lnTo>
                        <a:pt x="338" y="1567"/>
                      </a:lnTo>
                      <a:lnTo>
                        <a:pt x="338" y="1567"/>
                      </a:lnTo>
                      <a:lnTo>
                        <a:pt x="340" y="1567"/>
                      </a:lnTo>
                      <a:lnTo>
                        <a:pt x="340" y="1565"/>
                      </a:lnTo>
                      <a:lnTo>
                        <a:pt x="340" y="1560"/>
                      </a:lnTo>
                      <a:lnTo>
                        <a:pt x="340" y="1545"/>
                      </a:lnTo>
                      <a:lnTo>
                        <a:pt x="340" y="1545"/>
                      </a:lnTo>
                      <a:lnTo>
                        <a:pt x="347" y="1545"/>
                      </a:lnTo>
                      <a:lnTo>
                        <a:pt x="351" y="1545"/>
                      </a:lnTo>
                      <a:lnTo>
                        <a:pt x="351" y="1541"/>
                      </a:lnTo>
                      <a:lnTo>
                        <a:pt x="351" y="1534"/>
                      </a:lnTo>
                      <a:lnTo>
                        <a:pt x="351" y="1534"/>
                      </a:lnTo>
                      <a:lnTo>
                        <a:pt x="357" y="1534"/>
                      </a:lnTo>
                      <a:lnTo>
                        <a:pt x="360" y="1534"/>
                      </a:lnTo>
                      <a:lnTo>
                        <a:pt x="364" y="1534"/>
                      </a:lnTo>
                      <a:lnTo>
                        <a:pt x="368" y="1534"/>
                      </a:lnTo>
                      <a:lnTo>
                        <a:pt x="370" y="1525"/>
                      </a:lnTo>
                      <a:lnTo>
                        <a:pt x="370" y="1513"/>
                      </a:lnTo>
                      <a:lnTo>
                        <a:pt x="371" y="1502"/>
                      </a:lnTo>
                      <a:lnTo>
                        <a:pt x="373" y="1491"/>
                      </a:lnTo>
                      <a:lnTo>
                        <a:pt x="373" y="1491"/>
                      </a:lnTo>
                      <a:lnTo>
                        <a:pt x="379" y="1489"/>
                      </a:lnTo>
                      <a:lnTo>
                        <a:pt x="381" y="1486"/>
                      </a:lnTo>
                      <a:lnTo>
                        <a:pt x="384" y="1484"/>
                      </a:lnTo>
                      <a:lnTo>
                        <a:pt x="388" y="1482"/>
                      </a:lnTo>
                      <a:lnTo>
                        <a:pt x="390" y="1478"/>
                      </a:lnTo>
                      <a:lnTo>
                        <a:pt x="392" y="1477"/>
                      </a:lnTo>
                      <a:lnTo>
                        <a:pt x="394" y="1475"/>
                      </a:lnTo>
                      <a:lnTo>
                        <a:pt x="395" y="1471"/>
                      </a:lnTo>
                      <a:lnTo>
                        <a:pt x="395" y="1467"/>
                      </a:lnTo>
                      <a:lnTo>
                        <a:pt x="397" y="1466"/>
                      </a:lnTo>
                      <a:lnTo>
                        <a:pt x="397" y="1462"/>
                      </a:lnTo>
                      <a:lnTo>
                        <a:pt x="399" y="1458"/>
                      </a:lnTo>
                      <a:lnTo>
                        <a:pt x="399" y="1451"/>
                      </a:lnTo>
                      <a:lnTo>
                        <a:pt x="401" y="1442"/>
                      </a:lnTo>
                      <a:lnTo>
                        <a:pt x="401" y="1442"/>
                      </a:lnTo>
                      <a:lnTo>
                        <a:pt x="403" y="1440"/>
                      </a:lnTo>
                      <a:lnTo>
                        <a:pt x="406" y="1440"/>
                      </a:lnTo>
                      <a:lnTo>
                        <a:pt x="410" y="1438"/>
                      </a:lnTo>
                      <a:lnTo>
                        <a:pt x="410" y="1438"/>
                      </a:lnTo>
                      <a:lnTo>
                        <a:pt x="412" y="1438"/>
                      </a:lnTo>
                      <a:lnTo>
                        <a:pt x="414" y="1432"/>
                      </a:lnTo>
                      <a:lnTo>
                        <a:pt x="414" y="1427"/>
                      </a:lnTo>
                      <a:lnTo>
                        <a:pt x="416" y="1421"/>
                      </a:lnTo>
                      <a:lnTo>
                        <a:pt x="418" y="1414"/>
                      </a:lnTo>
                      <a:lnTo>
                        <a:pt x="430" y="1414"/>
                      </a:lnTo>
                      <a:lnTo>
                        <a:pt x="442" y="1414"/>
                      </a:lnTo>
                      <a:lnTo>
                        <a:pt x="453" y="1416"/>
                      </a:lnTo>
                      <a:lnTo>
                        <a:pt x="462" y="1418"/>
                      </a:lnTo>
                      <a:lnTo>
                        <a:pt x="473" y="1419"/>
                      </a:lnTo>
                      <a:lnTo>
                        <a:pt x="482" y="1423"/>
                      </a:lnTo>
                      <a:lnTo>
                        <a:pt x="493" y="1425"/>
                      </a:lnTo>
                      <a:lnTo>
                        <a:pt x="506" y="1430"/>
                      </a:lnTo>
                      <a:lnTo>
                        <a:pt x="508" y="1440"/>
                      </a:lnTo>
                      <a:lnTo>
                        <a:pt x="508" y="1449"/>
                      </a:lnTo>
                      <a:lnTo>
                        <a:pt x="510" y="1460"/>
                      </a:lnTo>
                      <a:lnTo>
                        <a:pt x="512" y="1469"/>
                      </a:lnTo>
                      <a:lnTo>
                        <a:pt x="519" y="1467"/>
                      </a:lnTo>
                      <a:lnTo>
                        <a:pt x="526" y="1467"/>
                      </a:lnTo>
                      <a:lnTo>
                        <a:pt x="536" y="1466"/>
                      </a:lnTo>
                      <a:lnTo>
                        <a:pt x="543" y="1466"/>
                      </a:lnTo>
                      <a:lnTo>
                        <a:pt x="539" y="1464"/>
                      </a:lnTo>
                      <a:lnTo>
                        <a:pt x="539" y="1464"/>
                      </a:lnTo>
                      <a:lnTo>
                        <a:pt x="536" y="1460"/>
                      </a:lnTo>
                      <a:lnTo>
                        <a:pt x="538" y="1460"/>
                      </a:lnTo>
                      <a:lnTo>
                        <a:pt x="541" y="1458"/>
                      </a:lnTo>
                      <a:lnTo>
                        <a:pt x="547" y="1456"/>
                      </a:lnTo>
                      <a:lnTo>
                        <a:pt x="550" y="1454"/>
                      </a:lnTo>
                      <a:lnTo>
                        <a:pt x="556" y="1451"/>
                      </a:lnTo>
                      <a:lnTo>
                        <a:pt x="556" y="1453"/>
                      </a:lnTo>
                      <a:lnTo>
                        <a:pt x="556" y="1458"/>
                      </a:lnTo>
                      <a:lnTo>
                        <a:pt x="556" y="1464"/>
                      </a:lnTo>
                      <a:lnTo>
                        <a:pt x="567" y="1464"/>
                      </a:lnTo>
                      <a:lnTo>
                        <a:pt x="567" y="1464"/>
                      </a:lnTo>
                      <a:lnTo>
                        <a:pt x="574" y="1466"/>
                      </a:lnTo>
                      <a:lnTo>
                        <a:pt x="574" y="1466"/>
                      </a:lnTo>
                      <a:lnTo>
                        <a:pt x="576" y="1467"/>
                      </a:lnTo>
                      <a:lnTo>
                        <a:pt x="576" y="1467"/>
                      </a:lnTo>
                      <a:lnTo>
                        <a:pt x="580" y="1467"/>
                      </a:lnTo>
                      <a:lnTo>
                        <a:pt x="580" y="1467"/>
                      </a:lnTo>
                      <a:lnTo>
                        <a:pt x="580" y="1469"/>
                      </a:lnTo>
                      <a:lnTo>
                        <a:pt x="580" y="1469"/>
                      </a:lnTo>
                      <a:lnTo>
                        <a:pt x="584" y="1471"/>
                      </a:lnTo>
                      <a:lnTo>
                        <a:pt x="582" y="1473"/>
                      </a:lnTo>
                      <a:lnTo>
                        <a:pt x="580" y="1475"/>
                      </a:lnTo>
                      <a:lnTo>
                        <a:pt x="578" y="1477"/>
                      </a:lnTo>
                      <a:lnTo>
                        <a:pt x="580" y="1480"/>
                      </a:lnTo>
                      <a:lnTo>
                        <a:pt x="580" y="1480"/>
                      </a:lnTo>
                      <a:lnTo>
                        <a:pt x="584" y="1484"/>
                      </a:lnTo>
                      <a:lnTo>
                        <a:pt x="584" y="1484"/>
                      </a:lnTo>
                      <a:lnTo>
                        <a:pt x="585" y="1488"/>
                      </a:lnTo>
                      <a:lnTo>
                        <a:pt x="585" y="1488"/>
                      </a:lnTo>
                      <a:lnTo>
                        <a:pt x="587" y="1491"/>
                      </a:lnTo>
                      <a:lnTo>
                        <a:pt x="591" y="1497"/>
                      </a:lnTo>
                      <a:lnTo>
                        <a:pt x="591" y="1497"/>
                      </a:lnTo>
                      <a:lnTo>
                        <a:pt x="593" y="1504"/>
                      </a:lnTo>
                      <a:lnTo>
                        <a:pt x="593" y="1508"/>
                      </a:lnTo>
                      <a:lnTo>
                        <a:pt x="595" y="1512"/>
                      </a:lnTo>
                      <a:lnTo>
                        <a:pt x="597" y="1513"/>
                      </a:lnTo>
                      <a:lnTo>
                        <a:pt x="598" y="1517"/>
                      </a:lnTo>
                      <a:lnTo>
                        <a:pt x="600" y="1519"/>
                      </a:lnTo>
                      <a:lnTo>
                        <a:pt x="602" y="1523"/>
                      </a:lnTo>
                      <a:lnTo>
                        <a:pt x="606" y="1525"/>
                      </a:lnTo>
                      <a:lnTo>
                        <a:pt x="611" y="1526"/>
                      </a:lnTo>
                      <a:lnTo>
                        <a:pt x="611" y="1526"/>
                      </a:lnTo>
                      <a:lnTo>
                        <a:pt x="613" y="1532"/>
                      </a:lnTo>
                      <a:lnTo>
                        <a:pt x="617" y="1537"/>
                      </a:lnTo>
                      <a:lnTo>
                        <a:pt x="619" y="1545"/>
                      </a:lnTo>
                      <a:lnTo>
                        <a:pt x="621" y="1549"/>
                      </a:lnTo>
                      <a:lnTo>
                        <a:pt x="622" y="1549"/>
                      </a:lnTo>
                      <a:lnTo>
                        <a:pt x="622" y="1550"/>
                      </a:lnTo>
                      <a:lnTo>
                        <a:pt x="622" y="1550"/>
                      </a:lnTo>
                      <a:lnTo>
                        <a:pt x="622" y="1550"/>
                      </a:lnTo>
                      <a:lnTo>
                        <a:pt x="622" y="1550"/>
                      </a:lnTo>
                      <a:lnTo>
                        <a:pt x="622" y="1550"/>
                      </a:lnTo>
                      <a:lnTo>
                        <a:pt x="626" y="1569"/>
                      </a:lnTo>
                      <a:lnTo>
                        <a:pt x="630" y="1580"/>
                      </a:lnTo>
                      <a:lnTo>
                        <a:pt x="632" y="1585"/>
                      </a:lnTo>
                      <a:lnTo>
                        <a:pt x="633" y="1587"/>
                      </a:lnTo>
                      <a:lnTo>
                        <a:pt x="635" y="1591"/>
                      </a:lnTo>
                      <a:lnTo>
                        <a:pt x="637" y="1595"/>
                      </a:lnTo>
                      <a:lnTo>
                        <a:pt x="641" y="1593"/>
                      </a:lnTo>
                      <a:lnTo>
                        <a:pt x="646" y="1587"/>
                      </a:lnTo>
                      <a:lnTo>
                        <a:pt x="652" y="1600"/>
                      </a:lnTo>
                      <a:lnTo>
                        <a:pt x="659" y="1615"/>
                      </a:lnTo>
                      <a:lnTo>
                        <a:pt x="663" y="1622"/>
                      </a:lnTo>
                      <a:lnTo>
                        <a:pt x="669" y="1628"/>
                      </a:lnTo>
                      <a:lnTo>
                        <a:pt x="670" y="1632"/>
                      </a:lnTo>
                      <a:lnTo>
                        <a:pt x="672" y="1633"/>
                      </a:lnTo>
                      <a:lnTo>
                        <a:pt x="674" y="1635"/>
                      </a:lnTo>
                      <a:lnTo>
                        <a:pt x="676" y="1637"/>
                      </a:lnTo>
                      <a:lnTo>
                        <a:pt x="680" y="1635"/>
                      </a:lnTo>
                      <a:lnTo>
                        <a:pt x="681" y="1635"/>
                      </a:lnTo>
                      <a:lnTo>
                        <a:pt x="685" y="1633"/>
                      </a:lnTo>
                      <a:lnTo>
                        <a:pt x="685" y="1633"/>
                      </a:lnTo>
                      <a:lnTo>
                        <a:pt x="687" y="1632"/>
                      </a:lnTo>
                      <a:lnTo>
                        <a:pt x="689" y="1630"/>
                      </a:lnTo>
                      <a:lnTo>
                        <a:pt x="689" y="1626"/>
                      </a:lnTo>
                      <a:lnTo>
                        <a:pt x="691" y="1624"/>
                      </a:lnTo>
                      <a:lnTo>
                        <a:pt x="693" y="1621"/>
                      </a:lnTo>
                      <a:lnTo>
                        <a:pt x="707" y="1621"/>
                      </a:lnTo>
                      <a:lnTo>
                        <a:pt x="722" y="1619"/>
                      </a:lnTo>
                      <a:lnTo>
                        <a:pt x="737" y="1619"/>
                      </a:lnTo>
                      <a:lnTo>
                        <a:pt x="750" y="1619"/>
                      </a:lnTo>
                      <a:lnTo>
                        <a:pt x="757" y="1621"/>
                      </a:lnTo>
                      <a:lnTo>
                        <a:pt x="765" y="1621"/>
                      </a:lnTo>
                      <a:lnTo>
                        <a:pt x="765" y="1621"/>
                      </a:lnTo>
                      <a:lnTo>
                        <a:pt x="772" y="1622"/>
                      </a:lnTo>
                      <a:lnTo>
                        <a:pt x="779" y="1622"/>
                      </a:lnTo>
                      <a:lnTo>
                        <a:pt x="779" y="1622"/>
                      </a:lnTo>
                      <a:lnTo>
                        <a:pt x="787" y="1624"/>
                      </a:lnTo>
                      <a:lnTo>
                        <a:pt x="794" y="1626"/>
                      </a:lnTo>
                      <a:lnTo>
                        <a:pt x="801" y="1628"/>
                      </a:lnTo>
                      <a:lnTo>
                        <a:pt x="807" y="1630"/>
                      </a:lnTo>
                      <a:lnTo>
                        <a:pt x="809" y="1626"/>
                      </a:lnTo>
                      <a:lnTo>
                        <a:pt x="811" y="1621"/>
                      </a:lnTo>
                      <a:lnTo>
                        <a:pt x="822" y="1622"/>
                      </a:lnTo>
                      <a:lnTo>
                        <a:pt x="833" y="1622"/>
                      </a:lnTo>
                      <a:lnTo>
                        <a:pt x="844" y="1622"/>
                      </a:lnTo>
                      <a:lnTo>
                        <a:pt x="857" y="1624"/>
                      </a:lnTo>
                      <a:lnTo>
                        <a:pt x="862" y="1626"/>
                      </a:lnTo>
                      <a:lnTo>
                        <a:pt x="870" y="1628"/>
                      </a:lnTo>
                      <a:lnTo>
                        <a:pt x="870" y="1628"/>
                      </a:lnTo>
                      <a:lnTo>
                        <a:pt x="875" y="1630"/>
                      </a:lnTo>
                      <a:lnTo>
                        <a:pt x="879" y="1632"/>
                      </a:lnTo>
                      <a:lnTo>
                        <a:pt x="879" y="1632"/>
                      </a:lnTo>
                      <a:lnTo>
                        <a:pt x="884" y="1633"/>
                      </a:lnTo>
                      <a:lnTo>
                        <a:pt x="884" y="1633"/>
                      </a:lnTo>
                      <a:lnTo>
                        <a:pt x="888" y="1637"/>
                      </a:lnTo>
                      <a:lnTo>
                        <a:pt x="888" y="1637"/>
                      </a:lnTo>
                      <a:lnTo>
                        <a:pt x="890" y="1639"/>
                      </a:lnTo>
                      <a:lnTo>
                        <a:pt x="890" y="1639"/>
                      </a:lnTo>
                      <a:lnTo>
                        <a:pt x="892" y="1641"/>
                      </a:lnTo>
                      <a:lnTo>
                        <a:pt x="894" y="1643"/>
                      </a:lnTo>
                      <a:lnTo>
                        <a:pt x="894" y="1643"/>
                      </a:lnTo>
                      <a:lnTo>
                        <a:pt x="896" y="1645"/>
                      </a:lnTo>
                      <a:lnTo>
                        <a:pt x="903" y="1645"/>
                      </a:lnTo>
                      <a:lnTo>
                        <a:pt x="912" y="1643"/>
                      </a:lnTo>
                      <a:lnTo>
                        <a:pt x="921" y="1641"/>
                      </a:lnTo>
                      <a:lnTo>
                        <a:pt x="931" y="1641"/>
                      </a:lnTo>
                      <a:lnTo>
                        <a:pt x="940" y="1639"/>
                      </a:lnTo>
                      <a:lnTo>
                        <a:pt x="949" y="1637"/>
                      </a:lnTo>
                      <a:lnTo>
                        <a:pt x="958" y="1637"/>
                      </a:lnTo>
                      <a:lnTo>
                        <a:pt x="968" y="1635"/>
                      </a:lnTo>
                      <a:lnTo>
                        <a:pt x="968" y="1635"/>
                      </a:lnTo>
                      <a:lnTo>
                        <a:pt x="969" y="1641"/>
                      </a:lnTo>
                      <a:lnTo>
                        <a:pt x="971" y="1645"/>
                      </a:lnTo>
                      <a:lnTo>
                        <a:pt x="975" y="1645"/>
                      </a:lnTo>
                      <a:lnTo>
                        <a:pt x="979" y="1643"/>
                      </a:lnTo>
                      <a:lnTo>
                        <a:pt x="979" y="1643"/>
                      </a:lnTo>
                      <a:lnTo>
                        <a:pt x="984" y="1643"/>
                      </a:lnTo>
                      <a:lnTo>
                        <a:pt x="988" y="1641"/>
                      </a:lnTo>
                      <a:lnTo>
                        <a:pt x="988" y="1635"/>
                      </a:lnTo>
                      <a:lnTo>
                        <a:pt x="988" y="1630"/>
                      </a:lnTo>
                      <a:lnTo>
                        <a:pt x="990" y="1630"/>
                      </a:lnTo>
                      <a:lnTo>
                        <a:pt x="993" y="1630"/>
                      </a:lnTo>
                      <a:lnTo>
                        <a:pt x="999" y="1630"/>
                      </a:lnTo>
                      <a:lnTo>
                        <a:pt x="999" y="1626"/>
                      </a:lnTo>
                      <a:lnTo>
                        <a:pt x="999" y="1619"/>
                      </a:lnTo>
                      <a:lnTo>
                        <a:pt x="1012" y="1617"/>
                      </a:lnTo>
                      <a:lnTo>
                        <a:pt x="1025" y="1613"/>
                      </a:lnTo>
                      <a:lnTo>
                        <a:pt x="1034" y="1609"/>
                      </a:lnTo>
                      <a:lnTo>
                        <a:pt x="1045" y="1608"/>
                      </a:lnTo>
                      <a:lnTo>
                        <a:pt x="1051" y="1606"/>
                      </a:lnTo>
                      <a:lnTo>
                        <a:pt x="1056" y="1604"/>
                      </a:lnTo>
                      <a:lnTo>
                        <a:pt x="1056" y="1604"/>
                      </a:lnTo>
                      <a:lnTo>
                        <a:pt x="1062" y="1604"/>
                      </a:lnTo>
                      <a:lnTo>
                        <a:pt x="1067" y="1602"/>
                      </a:lnTo>
                      <a:lnTo>
                        <a:pt x="1073" y="1602"/>
                      </a:lnTo>
                      <a:lnTo>
                        <a:pt x="1073" y="1602"/>
                      </a:lnTo>
                      <a:lnTo>
                        <a:pt x="1080" y="1602"/>
                      </a:lnTo>
                      <a:lnTo>
                        <a:pt x="1086" y="1602"/>
                      </a:lnTo>
                      <a:lnTo>
                        <a:pt x="1086" y="1602"/>
                      </a:lnTo>
                      <a:lnTo>
                        <a:pt x="1091" y="1602"/>
                      </a:lnTo>
                      <a:lnTo>
                        <a:pt x="1091" y="1598"/>
                      </a:lnTo>
                      <a:lnTo>
                        <a:pt x="1089" y="1595"/>
                      </a:lnTo>
                      <a:lnTo>
                        <a:pt x="1089" y="1589"/>
                      </a:lnTo>
                      <a:lnTo>
                        <a:pt x="1087" y="1584"/>
                      </a:lnTo>
                      <a:lnTo>
                        <a:pt x="1087" y="1584"/>
                      </a:lnTo>
                      <a:lnTo>
                        <a:pt x="1093" y="1580"/>
                      </a:lnTo>
                      <a:lnTo>
                        <a:pt x="1097" y="1578"/>
                      </a:lnTo>
                      <a:lnTo>
                        <a:pt x="1097" y="1578"/>
                      </a:lnTo>
                      <a:lnTo>
                        <a:pt x="1100" y="1574"/>
                      </a:lnTo>
                      <a:lnTo>
                        <a:pt x="1106" y="1571"/>
                      </a:lnTo>
                      <a:lnTo>
                        <a:pt x="1115" y="1567"/>
                      </a:lnTo>
                      <a:lnTo>
                        <a:pt x="1124" y="1561"/>
                      </a:lnTo>
                      <a:lnTo>
                        <a:pt x="1134" y="1558"/>
                      </a:lnTo>
                      <a:lnTo>
                        <a:pt x="1143" y="1554"/>
                      </a:lnTo>
                      <a:lnTo>
                        <a:pt x="1152" y="1550"/>
                      </a:lnTo>
                      <a:lnTo>
                        <a:pt x="1163" y="1547"/>
                      </a:lnTo>
                      <a:lnTo>
                        <a:pt x="1161" y="1545"/>
                      </a:lnTo>
                      <a:lnTo>
                        <a:pt x="1161" y="1545"/>
                      </a:lnTo>
                      <a:lnTo>
                        <a:pt x="1158" y="1541"/>
                      </a:lnTo>
                      <a:lnTo>
                        <a:pt x="1156" y="1537"/>
                      </a:lnTo>
                      <a:lnTo>
                        <a:pt x="1156" y="1537"/>
                      </a:lnTo>
                      <a:lnTo>
                        <a:pt x="1154" y="1532"/>
                      </a:lnTo>
                      <a:lnTo>
                        <a:pt x="1154" y="1532"/>
                      </a:lnTo>
                      <a:lnTo>
                        <a:pt x="1152" y="1526"/>
                      </a:lnTo>
                      <a:lnTo>
                        <a:pt x="1150" y="1517"/>
                      </a:lnTo>
                      <a:lnTo>
                        <a:pt x="1147" y="1504"/>
                      </a:lnTo>
                      <a:lnTo>
                        <a:pt x="1143" y="1488"/>
                      </a:lnTo>
                      <a:lnTo>
                        <a:pt x="1143" y="1488"/>
                      </a:lnTo>
                      <a:lnTo>
                        <a:pt x="1147" y="1486"/>
                      </a:lnTo>
                      <a:lnTo>
                        <a:pt x="1148" y="1484"/>
                      </a:lnTo>
                      <a:lnTo>
                        <a:pt x="1148" y="1484"/>
                      </a:lnTo>
                      <a:lnTo>
                        <a:pt x="1150" y="1482"/>
                      </a:lnTo>
                      <a:lnTo>
                        <a:pt x="1152" y="1480"/>
                      </a:lnTo>
                      <a:lnTo>
                        <a:pt x="1152" y="1480"/>
                      </a:lnTo>
                      <a:lnTo>
                        <a:pt x="1156" y="1478"/>
                      </a:lnTo>
                      <a:lnTo>
                        <a:pt x="1156" y="1478"/>
                      </a:lnTo>
                      <a:lnTo>
                        <a:pt x="1163" y="1477"/>
                      </a:lnTo>
                      <a:lnTo>
                        <a:pt x="1161" y="1473"/>
                      </a:lnTo>
                      <a:lnTo>
                        <a:pt x="1159" y="1469"/>
                      </a:lnTo>
                      <a:lnTo>
                        <a:pt x="1158" y="1466"/>
                      </a:lnTo>
                      <a:lnTo>
                        <a:pt x="1154" y="1462"/>
                      </a:lnTo>
                      <a:lnTo>
                        <a:pt x="1152" y="1458"/>
                      </a:lnTo>
                      <a:lnTo>
                        <a:pt x="1150" y="1454"/>
                      </a:lnTo>
                      <a:lnTo>
                        <a:pt x="1148" y="1453"/>
                      </a:lnTo>
                      <a:lnTo>
                        <a:pt x="1145" y="1451"/>
                      </a:lnTo>
                      <a:lnTo>
                        <a:pt x="1143" y="1449"/>
                      </a:lnTo>
                      <a:lnTo>
                        <a:pt x="1139" y="1447"/>
                      </a:lnTo>
                      <a:lnTo>
                        <a:pt x="1135" y="1445"/>
                      </a:lnTo>
                      <a:lnTo>
                        <a:pt x="1132" y="1443"/>
                      </a:lnTo>
                      <a:lnTo>
                        <a:pt x="1128" y="1443"/>
                      </a:lnTo>
                      <a:lnTo>
                        <a:pt x="1124" y="1442"/>
                      </a:lnTo>
                      <a:lnTo>
                        <a:pt x="1119" y="1442"/>
                      </a:lnTo>
                      <a:lnTo>
                        <a:pt x="1113" y="1440"/>
                      </a:lnTo>
                      <a:lnTo>
                        <a:pt x="1113" y="1440"/>
                      </a:lnTo>
                      <a:lnTo>
                        <a:pt x="1113" y="1434"/>
                      </a:lnTo>
                      <a:lnTo>
                        <a:pt x="1115" y="1430"/>
                      </a:lnTo>
                      <a:lnTo>
                        <a:pt x="1115" y="1430"/>
                      </a:lnTo>
                      <a:lnTo>
                        <a:pt x="1115" y="1427"/>
                      </a:lnTo>
                      <a:lnTo>
                        <a:pt x="1115" y="1427"/>
                      </a:lnTo>
                      <a:lnTo>
                        <a:pt x="1117" y="1423"/>
                      </a:lnTo>
                      <a:lnTo>
                        <a:pt x="1117" y="1423"/>
                      </a:lnTo>
                      <a:lnTo>
                        <a:pt x="1123" y="1423"/>
                      </a:lnTo>
                      <a:lnTo>
                        <a:pt x="1128" y="1423"/>
                      </a:lnTo>
                      <a:lnTo>
                        <a:pt x="1128" y="1412"/>
                      </a:lnTo>
                      <a:lnTo>
                        <a:pt x="1128" y="1401"/>
                      </a:lnTo>
                      <a:lnTo>
                        <a:pt x="1128" y="1390"/>
                      </a:lnTo>
                      <a:lnTo>
                        <a:pt x="1130" y="1381"/>
                      </a:lnTo>
                      <a:lnTo>
                        <a:pt x="1121" y="1375"/>
                      </a:lnTo>
                      <a:lnTo>
                        <a:pt x="1111" y="1370"/>
                      </a:lnTo>
                      <a:lnTo>
                        <a:pt x="1100" y="1366"/>
                      </a:lnTo>
                      <a:lnTo>
                        <a:pt x="1089" y="1360"/>
                      </a:lnTo>
                      <a:lnTo>
                        <a:pt x="1091" y="1360"/>
                      </a:lnTo>
                      <a:lnTo>
                        <a:pt x="1099" y="1357"/>
                      </a:lnTo>
                      <a:lnTo>
                        <a:pt x="1104" y="1355"/>
                      </a:lnTo>
                      <a:lnTo>
                        <a:pt x="1111" y="1353"/>
                      </a:lnTo>
                      <a:lnTo>
                        <a:pt x="1117" y="1353"/>
                      </a:lnTo>
                      <a:lnTo>
                        <a:pt x="1115" y="1340"/>
                      </a:lnTo>
                      <a:lnTo>
                        <a:pt x="1113" y="1329"/>
                      </a:lnTo>
                      <a:lnTo>
                        <a:pt x="1113" y="1318"/>
                      </a:lnTo>
                      <a:lnTo>
                        <a:pt x="1111" y="1307"/>
                      </a:lnTo>
                      <a:lnTo>
                        <a:pt x="1113" y="1294"/>
                      </a:lnTo>
                      <a:lnTo>
                        <a:pt x="1113" y="1283"/>
                      </a:lnTo>
                      <a:lnTo>
                        <a:pt x="1113" y="1272"/>
                      </a:lnTo>
                      <a:lnTo>
                        <a:pt x="1115" y="1259"/>
                      </a:lnTo>
                      <a:lnTo>
                        <a:pt x="1124" y="1251"/>
                      </a:lnTo>
                      <a:lnTo>
                        <a:pt x="1134" y="1246"/>
                      </a:lnTo>
                      <a:lnTo>
                        <a:pt x="1143" y="1240"/>
                      </a:lnTo>
                      <a:lnTo>
                        <a:pt x="1152" y="1237"/>
                      </a:lnTo>
                      <a:lnTo>
                        <a:pt x="1163" y="1233"/>
                      </a:lnTo>
                      <a:lnTo>
                        <a:pt x="1172" y="1229"/>
                      </a:lnTo>
                      <a:lnTo>
                        <a:pt x="1183" y="1227"/>
                      </a:lnTo>
                      <a:lnTo>
                        <a:pt x="1195" y="1226"/>
                      </a:lnTo>
                      <a:lnTo>
                        <a:pt x="1195" y="1215"/>
                      </a:lnTo>
                      <a:lnTo>
                        <a:pt x="1195" y="1205"/>
                      </a:lnTo>
                      <a:lnTo>
                        <a:pt x="1195" y="1194"/>
                      </a:lnTo>
                      <a:lnTo>
                        <a:pt x="1195" y="1181"/>
                      </a:lnTo>
                      <a:lnTo>
                        <a:pt x="1195" y="1181"/>
                      </a:lnTo>
                      <a:lnTo>
                        <a:pt x="1204" y="1181"/>
                      </a:lnTo>
                      <a:lnTo>
                        <a:pt x="1213" y="1181"/>
                      </a:lnTo>
                      <a:lnTo>
                        <a:pt x="1224" y="1181"/>
                      </a:lnTo>
                      <a:lnTo>
                        <a:pt x="1233" y="1181"/>
                      </a:lnTo>
                      <a:lnTo>
                        <a:pt x="1233" y="1178"/>
                      </a:lnTo>
                      <a:lnTo>
                        <a:pt x="1233" y="1170"/>
                      </a:lnTo>
                      <a:lnTo>
                        <a:pt x="1233" y="1170"/>
                      </a:lnTo>
                      <a:lnTo>
                        <a:pt x="1239" y="1170"/>
                      </a:lnTo>
                      <a:lnTo>
                        <a:pt x="1244" y="1170"/>
                      </a:lnTo>
                      <a:lnTo>
                        <a:pt x="1248" y="1155"/>
                      </a:lnTo>
                      <a:lnTo>
                        <a:pt x="1252" y="1141"/>
                      </a:lnTo>
                      <a:lnTo>
                        <a:pt x="1252" y="1141"/>
                      </a:lnTo>
                      <a:lnTo>
                        <a:pt x="1254" y="1139"/>
                      </a:lnTo>
                      <a:lnTo>
                        <a:pt x="1255" y="1135"/>
                      </a:lnTo>
                      <a:lnTo>
                        <a:pt x="1255" y="1135"/>
                      </a:lnTo>
                      <a:lnTo>
                        <a:pt x="1257" y="1131"/>
                      </a:lnTo>
                      <a:lnTo>
                        <a:pt x="1257" y="1131"/>
                      </a:lnTo>
                      <a:lnTo>
                        <a:pt x="1259" y="1128"/>
                      </a:lnTo>
                      <a:lnTo>
                        <a:pt x="1259" y="1128"/>
                      </a:lnTo>
                      <a:lnTo>
                        <a:pt x="1261" y="1126"/>
                      </a:lnTo>
                      <a:lnTo>
                        <a:pt x="1265" y="1124"/>
                      </a:lnTo>
                      <a:lnTo>
                        <a:pt x="1265" y="1122"/>
                      </a:lnTo>
                      <a:lnTo>
                        <a:pt x="1266" y="1120"/>
                      </a:lnTo>
                      <a:lnTo>
                        <a:pt x="1270" y="1119"/>
                      </a:lnTo>
                      <a:lnTo>
                        <a:pt x="1261" y="1104"/>
                      </a:lnTo>
                      <a:lnTo>
                        <a:pt x="1255" y="1091"/>
                      </a:lnTo>
                      <a:lnTo>
                        <a:pt x="1250" y="1082"/>
                      </a:lnTo>
                      <a:lnTo>
                        <a:pt x="1246" y="1074"/>
                      </a:lnTo>
                      <a:lnTo>
                        <a:pt x="1246" y="1074"/>
                      </a:lnTo>
                      <a:lnTo>
                        <a:pt x="1242" y="1067"/>
                      </a:lnTo>
                      <a:lnTo>
                        <a:pt x="1241" y="1061"/>
                      </a:lnTo>
                      <a:lnTo>
                        <a:pt x="1239" y="1054"/>
                      </a:lnTo>
                      <a:lnTo>
                        <a:pt x="1239" y="1054"/>
                      </a:lnTo>
                      <a:lnTo>
                        <a:pt x="1237" y="1047"/>
                      </a:lnTo>
                      <a:lnTo>
                        <a:pt x="1235" y="1047"/>
                      </a:lnTo>
                      <a:lnTo>
                        <a:pt x="1230" y="1047"/>
                      </a:lnTo>
                      <a:lnTo>
                        <a:pt x="1226" y="1047"/>
                      </a:lnTo>
                      <a:lnTo>
                        <a:pt x="1220" y="1047"/>
                      </a:lnTo>
                      <a:lnTo>
                        <a:pt x="1220" y="1037"/>
                      </a:lnTo>
                      <a:lnTo>
                        <a:pt x="1220" y="1028"/>
                      </a:lnTo>
                      <a:lnTo>
                        <a:pt x="1220" y="1019"/>
                      </a:lnTo>
                      <a:lnTo>
                        <a:pt x="1220" y="1012"/>
                      </a:lnTo>
                      <a:lnTo>
                        <a:pt x="1220" y="1004"/>
                      </a:lnTo>
                      <a:lnTo>
                        <a:pt x="1220" y="1004"/>
                      </a:lnTo>
                      <a:lnTo>
                        <a:pt x="1222" y="997"/>
                      </a:lnTo>
                      <a:lnTo>
                        <a:pt x="1226" y="989"/>
                      </a:lnTo>
                      <a:lnTo>
                        <a:pt x="1230" y="980"/>
                      </a:lnTo>
                      <a:lnTo>
                        <a:pt x="1228" y="958"/>
                      </a:lnTo>
                      <a:lnTo>
                        <a:pt x="1228" y="941"/>
                      </a:lnTo>
                      <a:lnTo>
                        <a:pt x="1228" y="927"/>
                      </a:lnTo>
                      <a:lnTo>
                        <a:pt x="1226" y="914"/>
                      </a:lnTo>
                      <a:lnTo>
                        <a:pt x="1226" y="905"/>
                      </a:lnTo>
                      <a:lnTo>
                        <a:pt x="1226" y="895"/>
                      </a:lnTo>
                      <a:lnTo>
                        <a:pt x="1226" y="895"/>
                      </a:lnTo>
                      <a:lnTo>
                        <a:pt x="1226" y="886"/>
                      </a:lnTo>
                      <a:lnTo>
                        <a:pt x="1226" y="877"/>
                      </a:lnTo>
                      <a:lnTo>
                        <a:pt x="1226" y="877"/>
                      </a:lnTo>
                      <a:lnTo>
                        <a:pt x="1235" y="877"/>
                      </a:lnTo>
                      <a:lnTo>
                        <a:pt x="1242" y="877"/>
                      </a:lnTo>
                      <a:lnTo>
                        <a:pt x="1250" y="877"/>
                      </a:lnTo>
                      <a:lnTo>
                        <a:pt x="1257" y="879"/>
                      </a:lnTo>
                      <a:lnTo>
                        <a:pt x="1257" y="879"/>
                      </a:lnTo>
                      <a:lnTo>
                        <a:pt x="1265" y="881"/>
                      </a:lnTo>
                      <a:lnTo>
                        <a:pt x="1272" y="882"/>
                      </a:lnTo>
                      <a:lnTo>
                        <a:pt x="1279" y="884"/>
                      </a:lnTo>
                      <a:lnTo>
                        <a:pt x="1287" y="886"/>
                      </a:lnTo>
                      <a:lnTo>
                        <a:pt x="1289" y="882"/>
                      </a:lnTo>
                      <a:lnTo>
                        <a:pt x="1290" y="877"/>
                      </a:lnTo>
                      <a:lnTo>
                        <a:pt x="1290" y="877"/>
                      </a:lnTo>
                      <a:lnTo>
                        <a:pt x="1296" y="879"/>
                      </a:lnTo>
                      <a:lnTo>
                        <a:pt x="1300" y="879"/>
                      </a:lnTo>
                      <a:lnTo>
                        <a:pt x="1303" y="881"/>
                      </a:lnTo>
                      <a:lnTo>
                        <a:pt x="1309" y="882"/>
                      </a:lnTo>
                      <a:lnTo>
                        <a:pt x="1309" y="877"/>
                      </a:lnTo>
                      <a:lnTo>
                        <a:pt x="1309" y="871"/>
                      </a:lnTo>
                      <a:lnTo>
                        <a:pt x="1309" y="871"/>
                      </a:lnTo>
                      <a:lnTo>
                        <a:pt x="1314" y="871"/>
                      </a:lnTo>
                      <a:lnTo>
                        <a:pt x="1318" y="871"/>
                      </a:lnTo>
                      <a:lnTo>
                        <a:pt x="1318" y="868"/>
                      </a:lnTo>
                      <a:lnTo>
                        <a:pt x="1318" y="864"/>
                      </a:lnTo>
                      <a:lnTo>
                        <a:pt x="1318" y="858"/>
                      </a:lnTo>
                      <a:lnTo>
                        <a:pt x="1318" y="855"/>
                      </a:lnTo>
                      <a:lnTo>
                        <a:pt x="1335" y="853"/>
                      </a:lnTo>
                      <a:lnTo>
                        <a:pt x="1344" y="851"/>
                      </a:lnTo>
                      <a:lnTo>
                        <a:pt x="1355" y="853"/>
                      </a:lnTo>
                      <a:lnTo>
                        <a:pt x="1368" y="855"/>
                      </a:lnTo>
                      <a:lnTo>
                        <a:pt x="1368" y="847"/>
                      </a:lnTo>
                      <a:lnTo>
                        <a:pt x="1368" y="838"/>
                      </a:lnTo>
                      <a:lnTo>
                        <a:pt x="1368" y="831"/>
                      </a:lnTo>
                      <a:lnTo>
                        <a:pt x="1368" y="823"/>
                      </a:lnTo>
                      <a:lnTo>
                        <a:pt x="1366" y="821"/>
                      </a:lnTo>
                      <a:lnTo>
                        <a:pt x="1366" y="821"/>
                      </a:lnTo>
                      <a:lnTo>
                        <a:pt x="1366" y="820"/>
                      </a:lnTo>
                      <a:lnTo>
                        <a:pt x="1366" y="820"/>
                      </a:lnTo>
                      <a:lnTo>
                        <a:pt x="1366" y="818"/>
                      </a:lnTo>
                      <a:lnTo>
                        <a:pt x="1366" y="818"/>
                      </a:lnTo>
                      <a:lnTo>
                        <a:pt x="1368" y="816"/>
                      </a:lnTo>
                      <a:lnTo>
                        <a:pt x="1368" y="816"/>
                      </a:lnTo>
                      <a:lnTo>
                        <a:pt x="1368" y="810"/>
                      </a:lnTo>
                      <a:lnTo>
                        <a:pt x="1368" y="807"/>
                      </a:lnTo>
                      <a:lnTo>
                        <a:pt x="1368" y="799"/>
                      </a:lnTo>
                      <a:lnTo>
                        <a:pt x="1368" y="796"/>
                      </a:lnTo>
                      <a:lnTo>
                        <a:pt x="1364" y="796"/>
                      </a:lnTo>
                      <a:lnTo>
                        <a:pt x="1357" y="796"/>
                      </a:lnTo>
                      <a:lnTo>
                        <a:pt x="1357" y="796"/>
                      </a:lnTo>
                      <a:lnTo>
                        <a:pt x="1357" y="788"/>
                      </a:lnTo>
                      <a:lnTo>
                        <a:pt x="1357" y="781"/>
                      </a:lnTo>
                      <a:lnTo>
                        <a:pt x="1357" y="773"/>
                      </a:lnTo>
                      <a:lnTo>
                        <a:pt x="1359" y="766"/>
                      </a:lnTo>
                      <a:lnTo>
                        <a:pt x="1350" y="759"/>
                      </a:lnTo>
                      <a:lnTo>
                        <a:pt x="1342" y="753"/>
                      </a:lnTo>
                      <a:lnTo>
                        <a:pt x="1337" y="746"/>
                      </a:lnTo>
                      <a:lnTo>
                        <a:pt x="1331" y="740"/>
                      </a:lnTo>
                      <a:lnTo>
                        <a:pt x="1327" y="733"/>
                      </a:lnTo>
                      <a:lnTo>
                        <a:pt x="1324" y="727"/>
                      </a:lnTo>
                      <a:lnTo>
                        <a:pt x="1320" y="720"/>
                      </a:lnTo>
                      <a:lnTo>
                        <a:pt x="1316" y="714"/>
                      </a:lnTo>
                      <a:lnTo>
                        <a:pt x="1316" y="714"/>
                      </a:lnTo>
                      <a:lnTo>
                        <a:pt x="1314" y="707"/>
                      </a:lnTo>
                      <a:lnTo>
                        <a:pt x="1313" y="702"/>
                      </a:lnTo>
                      <a:lnTo>
                        <a:pt x="1313" y="702"/>
                      </a:lnTo>
                      <a:lnTo>
                        <a:pt x="1311" y="694"/>
                      </a:lnTo>
                      <a:lnTo>
                        <a:pt x="1311" y="687"/>
                      </a:lnTo>
                      <a:lnTo>
                        <a:pt x="1307" y="672"/>
                      </a:lnTo>
                      <a:lnTo>
                        <a:pt x="1305" y="654"/>
                      </a:lnTo>
                      <a:lnTo>
                        <a:pt x="1314" y="648"/>
                      </a:lnTo>
                      <a:lnTo>
                        <a:pt x="1326" y="642"/>
                      </a:lnTo>
                      <a:lnTo>
                        <a:pt x="1329" y="639"/>
                      </a:lnTo>
                      <a:lnTo>
                        <a:pt x="1333" y="635"/>
                      </a:lnTo>
                      <a:lnTo>
                        <a:pt x="1335" y="633"/>
                      </a:lnTo>
                      <a:lnTo>
                        <a:pt x="1337" y="631"/>
                      </a:lnTo>
                      <a:lnTo>
                        <a:pt x="1337" y="630"/>
                      </a:lnTo>
                      <a:lnTo>
                        <a:pt x="1338" y="626"/>
                      </a:lnTo>
                      <a:lnTo>
                        <a:pt x="1340" y="626"/>
                      </a:lnTo>
                      <a:lnTo>
                        <a:pt x="1344" y="628"/>
                      </a:lnTo>
                      <a:lnTo>
                        <a:pt x="1344" y="628"/>
                      </a:lnTo>
                      <a:lnTo>
                        <a:pt x="1348" y="628"/>
                      </a:lnTo>
                      <a:lnTo>
                        <a:pt x="1353" y="630"/>
                      </a:lnTo>
                      <a:lnTo>
                        <a:pt x="1357" y="630"/>
                      </a:lnTo>
                      <a:lnTo>
                        <a:pt x="1357" y="624"/>
                      </a:lnTo>
                      <a:lnTo>
                        <a:pt x="1357" y="617"/>
                      </a:lnTo>
                      <a:lnTo>
                        <a:pt x="1357" y="611"/>
                      </a:lnTo>
                      <a:lnTo>
                        <a:pt x="1357" y="604"/>
                      </a:lnTo>
                      <a:lnTo>
                        <a:pt x="1351" y="604"/>
                      </a:lnTo>
                      <a:lnTo>
                        <a:pt x="1346" y="602"/>
                      </a:lnTo>
                      <a:lnTo>
                        <a:pt x="1340" y="602"/>
                      </a:lnTo>
                      <a:lnTo>
                        <a:pt x="1335" y="600"/>
                      </a:lnTo>
                      <a:lnTo>
                        <a:pt x="1335" y="600"/>
                      </a:lnTo>
                      <a:lnTo>
                        <a:pt x="1337" y="594"/>
                      </a:lnTo>
                      <a:lnTo>
                        <a:pt x="1338" y="591"/>
                      </a:lnTo>
                      <a:lnTo>
                        <a:pt x="1338" y="587"/>
                      </a:lnTo>
                      <a:lnTo>
                        <a:pt x="1340" y="582"/>
                      </a:lnTo>
                      <a:lnTo>
                        <a:pt x="1340" y="582"/>
                      </a:lnTo>
                      <a:lnTo>
                        <a:pt x="1346" y="580"/>
                      </a:lnTo>
                      <a:lnTo>
                        <a:pt x="1351" y="580"/>
                      </a:lnTo>
                      <a:lnTo>
                        <a:pt x="1357" y="578"/>
                      </a:lnTo>
                      <a:lnTo>
                        <a:pt x="1362" y="576"/>
                      </a:lnTo>
                      <a:lnTo>
                        <a:pt x="1368" y="567"/>
                      </a:lnTo>
                      <a:lnTo>
                        <a:pt x="1374" y="559"/>
                      </a:lnTo>
                      <a:lnTo>
                        <a:pt x="1374" y="559"/>
                      </a:lnTo>
                      <a:lnTo>
                        <a:pt x="1375" y="556"/>
                      </a:lnTo>
                      <a:lnTo>
                        <a:pt x="1379" y="552"/>
                      </a:lnTo>
                      <a:lnTo>
                        <a:pt x="1379" y="552"/>
                      </a:lnTo>
                      <a:lnTo>
                        <a:pt x="1381" y="552"/>
                      </a:lnTo>
                      <a:lnTo>
                        <a:pt x="1381" y="552"/>
                      </a:lnTo>
                      <a:lnTo>
                        <a:pt x="1383" y="550"/>
                      </a:lnTo>
                      <a:lnTo>
                        <a:pt x="1383" y="550"/>
                      </a:lnTo>
                      <a:lnTo>
                        <a:pt x="1386" y="548"/>
                      </a:lnTo>
                      <a:lnTo>
                        <a:pt x="1386" y="548"/>
                      </a:lnTo>
                      <a:lnTo>
                        <a:pt x="1390" y="548"/>
                      </a:lnTo>
                      <a:lnTo>
                        <a:pt x="1390" y="548"/>
                      </a:lnTo>
                      <a:lnTo>
                        <a:pt x="1390" y="556"/>
                      </a:lnTo>
                      <a:lnTo>
                        <a:pt x="1390" y="559"/>
                      </a:lnTo>
                      <a:lnTo>
                        <a:pt x="1396" y="561"/>
                      </a:lnTo>
                      <a:lnTo>
                        <a:pt x="1401" y="561"/>
                      </a:lnTo>
                      <a:lnTo>
                        <a:pt x="1401" y="561"/>
                      </a:lnTo>
                      <a:lnTo>
                        <a:pt x="1407" y="563"/>
                      </a:lnTo>
                      <a:lnTo>
                        <a:pt x="1410" y="565"/>
                      </a:lnTo>
                      <a:lnTo>
                        <a:pt x="1409" y="561"/>
                      </a:lnTo>
                      <a:lnTo>
                        <a:pt x="1409" y="556"/>
                      </a:lnTo>
                      <a:lnTo>
                        <a:pt x="1407" y="552"/>
                      </a:lnTo>
                      <a:lnTo>
                        <a:pt x="1407" y="547"/>
                      </a:lnTo>
                      <a:lnTo>
                        <a:pt x="1407" y="547"/>
                      </a:lnTo>
                      <a:lnTo>
                        <a:pt x="1412" y="543"/>
                      </a:lnTo>
                      <a:lnTo>
                        <a:pt x="1416" y="539"/>
                      </a:lnTo>
                      <a:lnTo>
                        <a:pt x="1418" y="534"/>
                      </a:lnTo>
                      <a:lnTo>
                        <a:pt x="1420" y="528"/>
                      </a:lnTo>
                      <a:lnTo>
                        <a:pt x="1423" y="519"/>
                      </a:lnTo>
                      <a:lnTo>
                        <a:pt x="1427" y="506"/>
                      </a:lnTo>
                      <a:lnTo>
                        <a:pt x="1427" y="506"/>
                      </a:lnTo>
                      <a:lnTo>
                        <a:pt x="1433" y="504"/>
                      </a:lnTo>
                      <a:lnTo>
                        <a:pt x="1438" y="502"/>
                      </a:lnTo>
                      <a:lnTo>
                        <a:pt x="1444" y="500"/>
                      </a:lnTo>
                      <a:lnTo>
                        <a:pt x="1445" y="500"/>
                      </a:lnTo>
                      <a:lnTo>
                        <a:pt x="1445" y="499"/>
                      </a:lnTo>
                      <a:lnTo>
                        <a:pt x="1444" y="497"/>
                      </a:lnTo>
                      <a:lnTo>
                        <a:pt x="1442" y="495"/>
                      </a:lnTo>
                      <a:lnTo>
                        <a:pt x="1442" y="495"/>
                      </a:lnTo>
                      <a:lnTo>
                        <a:pt x="1440" y="493"/>
                      </a:lnTo>
                      <a:lnTo>
                        <a:pt x="1438" y="486"/>
                      </a:lnTo>
                      <a:lnTo>
                        <a:pt x="1434" y="471"/>
                      </a:lnTo>
                      <a:lnTo>
                        <a:pt x="1429" y="469"/>
                      </a:lnTo>
                      <a:lnTo>
                        <a:pt x="1429" y="469"/>
                      </a:lnTo>
                      <a:lnTo>
                        <a:pt x="1425" y="467"/>
                      </a:lnTo>
                      <a:lnTo>
                        <a:pt x="1423" y="465"/>
                      </a:lnTo>
                      <a:lnTo>
                        <a:pt x="1423" y="465"/>
                      </a:lnTo>
                      <a:lnTo>
                        <a:pt x="1420" y="463"/>
                      </a:lnTo>
                      <a:lnTo>
                        <a:pt x="1414" y="458"/>
                      </a:lnTo>
                      <a:lnTo>
                        <a:pt x="1409" y="449"/>
                      </a:lnTo>
                      <a:lnTo>
                        <a:pt x="1410" y="439"/>
                      </a:lnTo>
                      <a:lnTo>
                        <a:pt x="1412" y="430"/>
                      </a:lnTo>
                      <a:lnTo>
                        <a:pt x="1414" y="421"/>
                      </a:lnTo>
                      <a:lnTo>
                        <a:pt x="1416" y="414"/>
                      </a:lnTo>
                      <a:lnTo>
                        <a:pt x="1412" y="412"/>
                      </a:lnTo>
                      <a:lnTo>
                        <a:pt x="1410" y="412"/>
                      </a:lnTo>
                      <a:lnTo>
                        <a:pt x="1407" y="410"/>
                      </a:lnTo>
                      <a:lnTo>
                        <a:pt x="1403" y="408"/>
                      </a:lnTo>
                      <a:lnTo>
                        <a:pt x="1403" y="408"/>
                      </a:lnTo>
                      <a:lnTo>
                        <a:pt x="1401" y="403"/>
                      </a:lnTo>
                      <a:lnTo>
                        <a:pt x="1401" y="403"/>
                      </a:lnTo>
                      <a:lnTo>
                        <a:pt x="1399" y="397"/>
                      </a:lnTo>
                      <a:lnTo>
                        <a:pt x="1399" y="397"/>
                      </a:lnTo>
                      <a:lnTo>
                        <a:pt x="1399" y="393"/>
                      </a:lnTo>
                      <a:lnTo>
                        <a:pt x="1398" y="391"/>
                      </a:lnTo>
                      <a:lnTo>
                        <a:pt x="1398" y="391"/>
                      </a:lnTo>
                      <a:lnTo>
                        <a:pt x="1398" y="390"/>
                      </a:lnTo>
                      <a:lnTo>
                        <a:pt x="1398" y="390"/>
                      </a:lnTo>
                      <a:lnTo>
                        <a:pt x="1399" y="386"/>
                      </a:lnTo>
                      <a:lnTo>
                        <a:pt x="1399" y="382"/>
                      </a:lnTo>
                      <a:lnTo>
                        <a:pt x="1399" y="382"/>
                      </a:lnTo>
                      <a:lnTo>
                        <a:pt x="1401" y="377"/>
                      </a:lnTo>
                      <a:lnTo>
                        <a:pt x="1403" y="369"/>
                      </a:lnTo>
                      <a:lnTo>
                        <a:pt x="1403" y="369"/>
                      </a:lnTo>
                      <a:lnTo>
                        <a:pt x="1405" y="364"/>
                      </a:lnTo>
                      <a:lnTo>
                        <a:pt x="1399" y="366"/>
                      </a:lnTo>
                      <a:lnTo>
                        <a:pt x="1394" y="366"/>
                      </a:lnTo>
                      <a:lnTo>
                        <a:pt x="1394" y="364"/>
                      </a:lnTo>
                      <a:lnTo>
                        <a:pt x="1392" y="358"/>
                      </a:lnTo>
                      <a:lnTo>
                        <a:pt x="1390" y="353"/>
                      </a:lnTo>
                      <a:lnTo>
                        <a:pt x="1388" y="347"/>
                      </a:lnTo>
                      <a:lnTo>
                        <a:pt x="1388" y="342"/>
                      </a:lnTo>
                      <a:lnTo>
                        <a:pt x="1388" y="342"/>
                      </a:lnTo>
                      <a:lnTo>
                        <a:pt x="1392" y="342"/>
                      </a:lnTo>
                      <a:lnTo>
                        <a:pt x="1396" y="342"/>
                      </a:lnTo>
                      <a:lnTo>
                        <a:pt x="1401" y="342"/>
                      </a:lnTo>
                      <a:lnTo>
                        <a:pt x="1405" y="342"/>
                      </a:lnTo>
                      <a:lnTo>
                        <a:pt x="1405" y="336"/>
                      </a:lnTo>
                      <a:lnTo>
                        <a:pt x="1405" y="331"/>
                      </a:lnTo>
                      <a:lnTo>
                        <a:pt x="1405" y="331"/>
                      </a:lnTo>
                      <a:lnTo>
                        <a:pt x="1409" y="331"/>
                      </a:lnTo>
                      <a:lnTo>
                        <a:pt x="1412" y="331"/>
                      </a:lnTo>
                      <a:lnTo>
                        <a:pt x="1418" y="331"/>
                      </a:lnTo>
                      <a:lnTo>
                        <a:pt x="1422" y="331"/>
                      </a:lnTo>
                      <a:lnTo>
                        <a:pt x="1422" y="327"/>
                      </a:lnTo>
                      <a:lnTo>
                        <a:pt x="1422" y="320"/>
                      </a:lnTo>
                      <a:lnTo>
                        <a:pt x="1422" y="320"/>
                      </a:lnTo>
                      <a:lnTo>
                        <a:pt x="1425" y="318"/>
                      </a:lnTo>
                      <a:lnTo>
                        <a:pt x="1431" y="318"/>
                      </a:lnTo>
                      <a:lnTo>
                        <a:pt x="1434" y="316"/>
                      </a:lnTo>
                      <a:lnTo>
                        <a:pt x="1438" y="316"/>
                      </a:lnTo>
                      <a:lnTo>
                        <a:pt x="1438" y="312"/>
                      </a:lnTo>
                      <a:lnTo>
                        <a:pt x="1436" y="307"/>
                      </a:lnTo>
                      <a:lnTo>
                        <a:pt x="1436" y="307"/>
                      </a:lnTo>
                      <a:lnTo>
                        <a:pt x="1436" y="303"/>
                      </a:lnTo>
                      <a:lnTo>
                        <a:pt x="1436" y="297"/>
                      </a:lnTo>
                      <a:lnTo>
                        <a:pt x="1438" y="297"/>
                      </a:lnTo>
                      <a:lnTo>
                        <a:pt x="1445" y="297"/>
                      </a:lnTo>
                      <a:lnTo>
                        <a:pt x="1455" y="297"/>
                      </a:lnTo>
                      <a:lnTo>
                        <a:pt x="1464" y="299"/>
                      </a:lnTo>
                      <a:lnTo>
                        <a:pt x="1471" y="299"/>
                      </a:lnTo>
                      <a:lnTo>
                        <a:pt x="1471" y="292"/>
                      </a:lnTo>
                      <a:lnTo>
                        <a:pt x="1471" y="284"/>
                      </a:lnTo>
                      <a:lnTo>
                        <a:pt x="1469" y="277"/>
                      </a:lnTo>
                      <a:lnTo>
                        <a:pt x="1469" y="272"/>
                      </a:lnTo>
                      <a:lnTo>
                        <a:pt x="1469" y="270"/>
                      </a:lnTo>
                      <a:lnTo>
                        <a:pt x="1473" y="268"/>
                      </a:lnTo>
                      <a:lnTo>
                        <a:pt x="1477" y="266"/>
                      </a:lnTo>
                      <a:lnTo>
                        <a:pt x="1477" y="266"/>
                      </a:lnTo>
                      <a:lnTo>
                        <a:pt x="1481" y="264"/>
                      </a:lnTo>
                      <a:lnTo>
                        <a:pt x="1482" y="262"/>
                      </a:lnTo>
                      <a:lnTo>
                        <a:pt x="1481" y="260"/>
                      </a:lnTo>
                      <a:lnTo>
                        <a:pt x="1481" y="259"/>
                      </a:lnTo>
                      <a:lnTo>
                        <a:pt x="1479" y="255"/>
                      </a:lnTo>
                      <a:lnTo>
                        <a:pt x="1477" y="253"/>
                      </a:lnTo>
                      <a:lnTo>
                        <a:pt x="1477" y="253"/>
                      </a:lnTo>
                      <a:lnTo>
                        <a:pt x="1475" y="249"/>
                      </a:lnTo>
                      <a:lnTo>
                        <a:pt x="1471" y="249"/>
                      </a:lnTo>
                      <a:lnTo>
                        <a:pt x="1468" y="249"/>
                      </a:lnTo>
                      <a:lnTo>
                        <a:pt x="1464" y="249"/>
                      </a:lnTo>
                      <a:lnTo>
                        <a:pt x="1458" y="249"/>
                      </a:lnTo>
                      <a:lnTo>
                        <a:pt x="1457" y="236"/>
                      </a:lnTo>
                      <a:lnTo>
                        <a:pt x="1455" y="229"/>
                      </a:lnTo>
                      <a:lnTo>
                        <a:pt x="1455" y="225"/>
                      </a:lnTo>
                      <a:lnTo>
                        <a:pt x="1453" y="224"/>
                      </a:lnTo>
                      <a:lnTo>
                        <a:pt x="1451" y="220"/>
                      </a:lnTo>
                      <a:lnTo>
                        <a:pt x="1449" y="216"/>
                      </a:lnTo>
                      <a:lnTo>
                        <a:pt x="1438" y="216"/>
                      </a:lnTo>
                      <a:lnTo>
                        <a:pt x="1429" y="214"/>
                      </a:lnTo>
                      <a:lnTo>
                        <a:pt x="1420" y="214"/>
                      </a:lnTo>
                      <a:lnTo>
                        <a:pt x="1410" y="212"/>
                      </a:lnTo>
                      <a:lnTo>
                        <a:pt x="1403" y="212"/>
                      </a:lnTo>
                      <a:lnTo>
                        <a:pt x="1394" y="209"/>
                      </a:lnTo>
                      <a:lnTo>
                        <a:pt x="1385" y="207"/>
                      </a:lnTo>
                      <a:lnTo>
                        <a:pt x="1375" y="203"/>
                      </a:lnTo>
                      <a:lnTo>
                        <a:pt x="1375" y="201"/>
                      </a:lnTo>
                      <a:lnTo>
                        <a:pt x="1375" y="196"/>
                      </a:lnTo>
                      <a:lnTo>
                        <a:pt x="1375" y="190"/>
                      </a:lnTo>
                      <a:lnTo>
                        <a:pt x="1375" y="185"/>
                      </a:lnTo>
                      <a:lnTo>
                        <a:pt x="1377" y="179"/>
                      </a:lnTo>
                      <a:lnTo>
                        <a:pt x="1372" y="179"/>
                      </a:lnTo>
                      <a:lnTo>
                        <a:pt x="1366" y="179"/>
                      </a:lnTo>
                      <a:lnTo>
                        <a:pt x="1366" y="179"/>
                      </a:lnTo>
                      <a:lnTo>
                        <a:pt x="1364" y="176"/>
                      </a:lnTo>
                      <a:lnTo>
                        <a:pt x="1364" y="172"/>
                      </a:lnTo>
                      <a:lnTo>
                        <a:pt x="1364" y="168"/>
                      </a:lnTo>
                      <a:lnTo>
                        <a:pt x="1364" y="165"/>
                      </a:lnTo>
                      <a:lnTo>
                        <a:pt x="1366" y="157"/>
                      </a:lnTo>
                      <a:lnTo>
                        <a:pt x="1368" y="150"/>
                      </a:lnTo>
                      <a:lnTo>
                        <a:pt x="1370" y="144"/>
                      </a:lnTo>
                      <a:lnTo>
                        <a:pt x="1372" y="139"/>
                      </a:lnTo>
                      <a:lnTo>
                        <a:pt x="1375" y="131"/>
                      </a:lnTo>
                      <a:lnTo>
                        <a:pt x="1377" y="126"/>
                      </a:lnTo>
                      <a:lnTo>
                        <a:pt x="1381" y="120"/>
                      </a:lnTo>
                      <a:lnTo>
                        <a:pt x="1385" y="115"/>
                      </a:lnTo>
                      <a:lnTo>
                        <a:pt x="1386" y="109"/>
                      </a:lnTo>
                      <a:lnTo>
                        <a:pt x="1390" y="102"/>
                      </a:lnTo>
                      <a:lnTo>
                        <a:pt x="1392" y="96"/>
                      </a:lnTo>
                      <a:lnTo>
                        <a:pt x="1394" y="89"/>
                      </a:lnTo>
                      <a:lnTo>
                        <a:pt x="1394" y="87"/>
                      </a:lnTo>
                      <a:lnTo>
                        <a:pt x="1394" y="83"/>
                      </a:lnTo>
                      <a:lnTo>
                        <a:pt x="1396" y="80"/>
                      </a:lnTo>
                      <a:lnTo>
                        <a:pt x="1396" y="74"/>
                      </a:lnTo>
                      <a:lnTo>
                        <a:pt x="1401" y="70"/>
                      </a:lnTo>
                      <a:lnTo>
                        <a:pt x="1401" y="70"/>
                      </a:lnTo>
                      <a:lnTo>
                        <a:pt x="1407" y="67"/>
                      </a:lnTo>
                      <a:lnTo>
                        <a:pt x="1412" y="61"/>
                      </a:lnTo>
                      <a:lnTo>
                        <a:pt x="1416" y="57"/>
                      </a:lnTo>
                      <a:lnTo>
                        <a:pt x="1416" y="56"/>
                      </a:lnTo>
                      <a:lnTo>
                        <a:pt x="1416" y="54"/>
                      </a:lnTo>
                      <a:lnTo>
                        <a:pt x="1416" y="52"/>
                      </a:lnTo>
                      <a:lnTo>
                        <a:pt x="1414" y="50"/>
                      </a:lnTo>
                      <a:lnTo>
                        <a:pt x="1412" y="46"/>
                      </a:lnTo>
                      <a:lnTo>
                        <a:pt x="1410" y="43"/>
                      </a:lnTo>
                      <a:lnTo>
                        <a:pt x="1407" y="39"/>
                      </a:lnTo>
                      <a:lnTo>
                        <a:pt x="1403" y="37"/>
                      </a:lnTo>
                      <a:lnTo>
                        <a:pt x="1399" y="33"/>
                      </a:lnTo>
                      <a:lnTo>
                        <a:pt x="1396" y="32"/>
                      </a:lnTo>
                      <a:lnTo>
                        <a:pt x="1392" y="30"/>
                      </a:lnTo>
                      <a:lnTo>
                        <a:pt x="1392" y="30"/>
                      </a:lnTo>
                      <a:lnTo>
                        <a:pt x="1386" y="26"/>
                      </a:lnTo>
                      <a:lnTo>
                        <a:pt x="1385" y="24"/>
                      </a:lnTo>
                      <a:lnTo>
                        <a:pt x="1381" y="21"/>
                      </a:lnTo>
                      <a:lnTo>
                        <a:pt x="1377" y="17"/>
                      </a:lnTo>
                      <a:lnTo>
                        <a:pt x="1377" y="17"/>
                      </a:lnTo>
                      <a:lnTo>
                        <a:pt x="1374" y="13"/>
                      </a:lnTo>
                      <a:lnTo>
                        <a:pt x="1372" y="9"/>
                      </a:lnTo>
                      <a:lnTo>
                        <a:pt x="1370" y="6"/>
                      </a:lnTo>
                      <a:lnTo>
                        <a:pt x="1362" y="4"/>
                      </a:lnTo>
                      <a:lnTo>
                        <a:pt x="1353" y="2"/>
                      </a:lnTo>
                      <a:lnTo>
                        <a:pt x="1346" y="0"/>
                      </a:lnTo>
                      <a:lnTo>
                        <a:pt x="1338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4" name="Freeform 3058"/>
                <p:cNvSpPr>
                  <a:spLocks/>
                </p:cNvSpPr>
                <p:nvPr/>
              </p:nvSpPr>
              <p:spPr bwMode="auto">
                <a:xfrm>
                  <a:off x="4062" y="760"/>
                  <a:ext cx="96" cy="63"/>
                </a:xfrm>
                <a:custGeom>
                  <a:avLst/>
                  <a:gdLst>
                    <a:gd name="T0" fmla="*/ 91 w 96"/>
                    <a:gd name="T1" fmla="*/ 0 h 63"/>
                    <a:gd name="T2" fmla="*/ 81 w 96"/>
                    <a:gd name="T3" fmla="*/ 4 h 63"/>
                    <a:gd name="T4" fmla="*/ 74 w 96"/>
                    <a:gd name="T5" fmla="*/ 10 h 63"/>
                    <a:gd name="T6" fmla="*/ 65 w 96"/>
                    <a:gd name="T7" fmla="*/ 13 h 63"/>
                    <a:gd name="T8" fmla="*/ 57 w 96"/>
                    <a:gd name="T9" fmla="*/ 17 h 63"/>
                    <a:gd name="T10" fmla="*/ 57 w 96"/>
                    <a:gd name="T11" fmla="*/ 21 h 63"/>
                    <a:gd name="T12" fmla="*/ 57 w 96"/>
                    <a:gd name="T13" fmla="*/ 28 h 63"/>
                    <a:gd name="T14" fmla="*/ 55 w 96"/>
                    <a:gd name="T15" fmla="*/ 28 h 63"/>
                    <a:gd name="T16" fmla="*/ 52 w 96"/>
                    <a:gd name="T17" fmla="*/ 26 h 63"/>
                    <a:gd name="T18" fmla="*/ 50 w 96"/>
                    <a:gd name="T19" fmla="*/ 26 h 63"/>
                    <a:gd name="T20" fmla="*/ 46 w 96"/>
                    <a:gd name="T21" fmla="*/ 26 h 63"/>
                    <a:gd name="T22" fmla="*/ 44 w 96"/>
                    <a:gd name="T23" fmla="*/ 26 h 63"/>
                    <a:gd name="T24" fmla="*/ 37 w 96"/>
                    <a:gd name="T25" fmla="*/ 26 h 63"/>
                    <a:gd name="T26" fmla="*/ 24 w 96"/>
                    <a:gd name="T27" fmla="*/ 28 h 63"/>
                    <a:gd name="T28" fmla="*/ 22 w 96"/>
                    <a:gd name="T29" fmla="*/ 32 h 63"/>
                    <a:gd name="T30" fmla="*/ 22 w 96"/>
                    <a:gd name="T31" fmla="*/ 35 h 63"/>
                    <a:gd name="T32" fmla="*/ 20 w 96"/>
                    <a:gd name="T33" fmla="*/ 41 h 63"/>
                    <a:gd name="T34" fmla="*/ 19 w 96"/>
                    <a:gd name="T35" fmla="*/ 45 h 63"/>
                    <a:gd name="T36" fmla="*/ 19 w 96"/>
                    <a:gd name="T37" fmla="*/ 45 h 63"/>
                    <a:gd name="T38" fmla="*/ 17 w 96"/>
                    <a:gd name="T39" fmla="*/ 47 h 63"/>
                    <a:gd name="T40" fmla="*/ 13 w 96"/>
                    <a:gd name="T41" fmla="*/ 47 h 63"/>
                    <a:gd name="T42" fmla="*/ 9 w 96"/>
                    <a:gd name="T43" fmla="*/ 48 h 63"/>
                    <a:gd name="T44" fmla="*/ 6 w 96"/>
                    <a:gd name="T45" fmla="*/ 50 h 63"/>
                    <a:gd name="T46" fmla="*/ 6 w 96"/>
                    <a:gd name="T47" fmla="*/ 48 h 63"/>
                    <a:gd name="T48" fmla="*/ 4 w 96"/>
                    <a:gd name="T49" fmla="*/ 45 h 63"/>
                    <a:gd name="T50" fmla="*/ 4 w 96"/>
                    <a:gd name="T51" fmla="*/ 45 h 63"/>
                    <a:gd name="T52" fmla="*/ 2 w 96"/>
                    <a:gd name="T53" fmla="*/ 41 h 63"/>
                    <a:gd name="T54" fmla="*/ 0 w 96"/>
                    <a:gd name="T55" fmla="*/ 39 h 63"/>
                    <a:gd name="T56" fmla="*/ 2 w 96"/>
                    <a:gd name="T57" fmla="*/ 39 h 63"/>
                    <a:gd name="T58" fmla="*/ 4 w 96"/>
                    <a:gd name="T59" fmla="*/ 48 h 63"/>
                    <a:gd name="T60" fmla="*/ 6 w 96"/>
                    <a:gd name="T61" fmla="*/ 56 h 63"/>
                    <a:gd name="T62" fmla="*/ 8 w 96"/>
                    <a:gd name="T63" fmla="*/ 63 h 63"/>
                    <a:gd name="T64" fmla="*/ 22 w 96"/>
                    <a:gd name="T65" fmla="*/ 61 h 63"/>
                    <a:gd name="T66" fmla="*/ 41 w 96"/>
                    <a:gd name="T67" fmla="*/ 59 h 63"/>
                    <a:gd name="T68" fmla="*/ 50 w 96"/>
                    <a:gd name="T69" fmla="*/ 59 h 63"/>
                    <a:gd name="T70" fmla="*/ 57 w 96"/>
                    <a:gd name="T71" fmla="*/ 58 h 63"/>
                    <a:gd name="T72" fmla="*/ 67 w 96"/>
                    <a:gd name="T73" fmla="*/ 56 h 63"/>
                    <a:gd name="T74" fmla="*/ 74 w 96"/>
                    <a:gd name="T75" fmla="*/ 52 h 63"/>
                    <a:gd name="T76" fmla="*/ 76 w 96"/>
                    <a:gd name="T77" fmla="*/ 50 h 63"/>
                    <a:gd name="T78" fmla="*/ 79 w 96"/>
                    <a:gd name="T79" fmla="*/ 48 h 63"/>
                    <a:gd name="T80" fmla="*/ 83 w 96"/>
                    <a:gd name="T81" fmla="*/ 47 h 63"/>
                    <a:gd name="T82" fmla="*/ 85 w 96"/>
                    <a:gd name="T83" fmla="*/ 45 h 63"/>
                    <a:gd name="T84" fmla="*/ 89 w 96"/>
                    <a:gd name="T85" fmla="*/ 43 h 63"/>
                    <a:gd name="T86" fmla="*/ 91 w 96"/>
                    <a:gd name="T87" fmla="*/ 41 h 63"/>
                    <a:gd name="T88" fmla="*/ 92 w 96"/>
                    <a:gd name="T89" fmla="*/ 37 h 63"/>
                    <a:gd name="T90" fmla="*/ 94 w 96"/>
                    <a:gd name="T91" fmla="*/ 35 h 63"/>
                    <a:gd name="T92" fmla="*/ 94 w 96"/>
                    <a:gd name="T93" fmla="*/ 32 h 63"/>
                    <a:gd name="T94" fmla="*/ 94 w 96"/>
                    <a:gd name="T95" fmla="*/ 28 h 63"/>
                    <a:gd name="T96" fmla="*/ 96 w 96"/>
                    <a:gd name="T97" fmla="*/ 24 h 63"/>
                    <a:gd name="T98" fmla="*/ 94 w 96"/>
                    <a:gd name="T99" fmla="*/ 21 h 63"/>
                    <a:gd name="T100" fmla="*/ 94 w 96"/>
                    <a:gd name="T101" fmla="*/ 15 h 63"/>
                    <a:gd name="T102" fmla="*/ 94 w 96"/>
                    <a:gd name="T103" fmla="*/ 11 h 63"/>
                    <a:gd name="T104" fmla="*/ 92 w 96"/>
                    <a:gd name="T105" fmla="*/ 6 h 63"/>
                    <a:gd name="T106" fmla="*/ 91 w 96"/>
                    <a:gd name="T10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6" h="63">
                      <a:moveTo>
                        <a:pt x="91" y="0"/>
                      </a:moveTo>
                      <a:lnTo>
                        <a:pt x="81" y="4"/>
                      </a:lnTo>
                      <a:lnTo>
                        <a:pt x="74" y="10"/>
                      </a:lnTo>
                      <a:lnTo>
                        <a:pt x="65" y="13"/>
                      </a:lnTo>
                      <a:lnTo>
                        <a:pt x="57" y="17"/>
                      </a:lnTo>
                      <a:lnTo>
                        <a:pt x="57" y="21"/>
                      </a:lnTo>
                      <a:lnTo>
                        <a:pt x="57" y="28"/>
                      </a:lnTo>
                      <a:lnTo>
                        <a:pt x="55" y="28"/>
                      </a:lnTo>
                      <a:lnTo>
                        <a:pt x="52" y="26"/>
                      </a:lnTo>
                      <a:lnTo>
                        <a:pt x="50" y="26"/>
                      </a:lnTo>
                      <a:lnTo>
                        <a:pt x="46" y="26"/>
                      </a:lnTo>
                      <a:lnTo>
                        <a:pt x="44" y="26"/>
                      </a:lnTo>
                      <a:lnTo>
                        <a:pt x="37" y="26"/>
                      </a:lnTo>
                      <a:lnTo>
                        <a:pt x="24" y="28"/>
                      </a:lnTo>
                      <a:lnTo>
                        <a:pt x="22" y="32"/>
                      </a:lnTo>
                      <a:lnTo>
                        <a:pt x="22" y="35"/>
                      </a:lnTo>
                      <a:lnTo>
                        <a:pt x="20" y="41"/>
                      </a:lnTo>
                      <a:lnTo>
                        <a:pt x="19" y="45"/>
                      </a:lnTo>
                      <a:lnTo>
                        <a:pt x="19" y="45"/>
                      </a:lnTo>
                      <a:lnTo>
                        <a:pt x="17" y="47"/>
                      </a:lnTo>
                      <a:lnTo>
                        <a:pt x="13" y="47"/>
                      </a:lnTo>
                      <a:lnTo>
                        <a:pt x="9" y="48"/>
                      </a:lnTo>
                      <a:lnTo>
                        <a:pt x="6" y="50"/>
                      </a:lnTo>
                      <a:lnTo>
                        <a:pt x="6" y="48"/>
                      </a:lnTo>
                      <a:lnTo>
                        <a:pt x="4" y="45"/>
                      </a:lnTo>
                      <a:lnTo>
                        <a:pt x="4" y="45"/>
                      </a:lnTo>
                      <a:lnTo>
                        <a:pt x="2" y="41"/>
                      </a:lnTo>
                      <a:lnTo>
                        <a:pt x="0" y="39"/>
                      </a:lnTo>
                      <a:lnTo>
                        <a:pt x="2" y="39"/>
                      </a:lnTo>
                      <a:lnTo>
                        <a:pt x="4" y="48"/>
                      </a:lnTo>
                      <a:lnTo>
                        <a:pt x="6" y="56"/>
                      </a:lnTo>
                      <a:lnTo>
                        <a:pt x="8" y="63"/>
                      </a:lnTo>
                      <a:lnTo>
                        <a:pt x="22" y="61"/>
                      </a:lnTo>
                      <a:lnTo>
                        <a:pt x="41" y="59"/>
                      </a:lnTo>
                      <a:lnTo>
                        <a:pt x="50" y="59"/>
                      </a:lnTo>
                      <a:lnTo>
                        <a:pt x="57" y="58"/>
                      </a:lnTo>
                      <a:lnTo>
                        <a:pt x="67" y="56"/>
                      </a:lnTo>
                      <a:lnTo>
                        <a:pt x="74" y="52"/>
                      </a:lnTo>
                      <a:lnTo>
                        <a:pt x="76" y="50"/>
                      </a:lnTo>
                      <a:lnTo>
                        <a:pt x="79" y="48"/>
                      </a:lnTo>
                      <a:lnTo>
                        <a:pt x="83" y="47"/>
                      </a:lnTo>
                      <a:lnTo>
                        <a:pt x="85" y="45"/>
                      </a:lnTo>
                      <a:lnTo>
                        <a:pt x="89" y="43"/>
                      </a:lnTo>
                      <a:lnTo>
                        <a:pt x="91" y="41"/>
                      </a:lnTo>
                      <a:lnTo>
                        <a:pt x="92" y="37"/>
                      </a:lnTo>
                      <a:lnTo>
                        <a:pt x="94" y="35"/>
                      </a:lnTo>
                      <a:lnTo>
                        <a:pt x="94" y="32"/>
                      </a:lnTo>
                      <a:lnTo>
                        <a:pt x="94" y="28"/>
                      </a:lnTo>
                      <a:lnTo>
                        <a:pt x="96" y="24"/>
                      </a:lnTo>
                      <a:lnTo>
                        <a:pt x="94" y="21"/>
                      </a:lnTo>
                      <a:lnTo>
                        <a:pt x="94" y="15"/>
                      </a:lnTo>
                      <a:lnTo>
                        <a:pt x="94" y="11"/>
                      </a:lnTo>
                      <a:lnTo>
                        <a:pt x="92" y="6"/>
                      </a:lnTo>
                      <a:lnTo>
                        <a:pt x="9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5" name="Freeform 3059"/>
                <p:cNvSpPr>
                  <a:spLocks/>
                </p:cNvSpPr>
                <p:nvPr/>
              </p:nvSpPr>
              <p:spPr bwMode="auto">
                <a:xfrm>
                  <a:off x="4031" y="692"/>
                  <a:ext cx="11" cy="11"/>
                </a:xfrm>
                <a:custGeom>
                  <a:avLst/>
                  <a:gdLst>
                    <a:gd name="T0" fmla="*/ 9 w 11"/>
                    <a:gd name="T1" fmla="*/ 0 h 11"/>
                    <a:gd name="T2" fmla="*/ 7 w 11"/>
                    <a:gd name="T3" fmla="*/ 2 h 11"/>
                    <a:gd name="T4" fmla="*/ 7 w 11"/>
                    <a:gd name="T5" fmla="*/ 2 h 11"/>
                    <a:gd name="T6" fmla="*/ 5 w 11"/>
                    <a:gd name="T7" fmla="*/ 2 h 11"/>
                    <a:gd name="T8" fmla="*/ 3 w 11"/>
                    <a:gd name="T9" fmla="*/ 2 h 11"/>
                    <a:gd name="T10" fmla="*/ 3 w 11"/>
                    <a:gd name="T11" fmla="*/ 4 h 11"/>
                    <a:gd name="T12" fmla="*/ 2 w 11"/>
                    <a:gd name="T13" fmla="*/ 6 h 11"/>
                    <a:gd name="T14" fmla="*/ 2 w 11"/>
                    <a:gd name="T15" fmla="*/ 7 h 11"/>
                    <a:gd name="T16" fmla="*/ 0 w 11"/>
                    <a:gd name="T17" fmla="*/ 9 h 11"/>
                    <a:gd name="T18" fmla="*/ 0 w 11"/>
                    <a:gd name="T19" fmla="*/ 11 h 11"/>
                    <a:gd name="T20" fmla="*/ 2 w 11"/>
                    <a:gd name="T21" fmla="*/ 11 h 11"/>
                    <a:gd name="T22" fmla="*/ 5 w 11"/>
                    <a:gd name="T23" fmla="*/ 9 h 11"/>
                    <a:gd name="T24" fmla="*/ 7 w 11"/>
                    <a:gd name="T25" fmla="*/ 9 h 11"/>
                    <a:gd name="T26" fmla="*/ 7 w 11"/>
                    <a:gd name="T27" fmla="*/ 9 h 11"/>
                    <a:gd name="T28" fmla="*/ 11 w 11"/>
                    <a:gd name="T29" fmla="*/ 7 h 11"/>
                    <a:gd name="T30" fmla="*/ 9 w 11"/>
                    <a:gd name="T31" fmla="*/ 4 h 11"/>
                    <a:gd name="T32" fmla="*/ 9 w 11"/>
                    <a:gd name="T33" fmla="*/ 4 h 11"/>
                    <a:gd name="T34" fmla="*/ 9 w 11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11">
                      <a:moveTo>
                        <a:pt x="9" y="0"/>
                      </a:move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2" y="11"/>
                      </a:lnTo>
                      <a:lnTo>
                        <a:pt x="5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11" y="7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6" name="Freeform 3060"/>
                <p:cNvSpPr>
                  <a:spLocks/>
                </p:cNvSpPr>
                <p:nvPr/>
              </p:nvSpPr>
              <p:spPr bwMode="auto">
                <a:xfrm>
                  <a:off x="4117" y="674"/>
                  <a:ext cx="12" cy="3"/>
                </a:xfrm>
                <a:custGeom>
                  <a:avLst/>
                  <a:gdLst>
                    <a:gd name="T0" fmla="*/ 12 w 12"/>
                    <a:gd name="T1" fmla="*/ 0 h 3"/>
                    <a:gd name="T2" fmla="*/ 6 w 12"/>
                    <a:gd name="T3" fmla="*/ 0 h 3"/>
                    <a:gd name="T4" fmla="*/ 0 w 12"/>
                    <a:gd name="T5" fmla="*/ 0 h 3"/>
                    <a:gd name="T6" fmla="*/ 0 w 12"/>
                    <a:gd name="T7" fmla="*/ 1 h 3"/>
                    <a:gd name="T8" fmla="*/ 0 w 12"/>
                    <a:gd name="T9" fmla="*/ 3 h 3"/>
                    <a:gd name="T10" fmla="*/ 6 w 12"/>
                    <a:gd name="T11" fmla="*/ 3 h 3"/>
                    <a:gd name="T12" fmla="*/ 12 w 12"/>
                    <a:gd name="T13" fmla="*/ 3 h 3"/>
                    <a:gd name="T14" fmla="*/ 12 w 12"/>
                    <a:gd name="T15" fmla="*/ 0 h 3"/>
                    <a:gd name="T16" fmla="*/ 12 w 12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3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6" y="3"/>
                      </a:lnTo>
                      <a:lnTo>
                        <a:pt x="12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7" name="Freeform 3061"/>
                <p:cNvSpPr>
                  <a:spLocks/>
                </p:cNvSpPr>
                <p:nvPr/>
              </p:nvSpPr>
              <p:spPr bwMode="auto">
                <a:xfrm>
                  <a:off x="3425" y="1345"/>
                  <a:ext cx="6" cy="11"/>
                </a:xfrm>
                <a:custGeom>
                  <a:avLst/>
                  <a:gdLst>
                    <a:gd name="T0" fmla="*/ 6 w 6"/>
                    <a:gd name="T1" fmla="*/ 0 h 11"/>
                    <a:gd name="T2" fmla="*/ 6 w 6"/>
                    <a:gd name="T3" fmla="*/ 0 h 11"/>
                    <a:gd name="T4" fmla="*/ 6 w 6"/>
                    <a:gd name="T5" fmla="*/ 0 h 11"/>
                    <a:gd name="T6" fmla="*/ 4 w 6"/>
                    <a:gd name="T7" fmla="*/ 4 h 11"/>
                    <a:gd name="T8" fmla="*/ 4 w 6"/>
                    <a:gd name="T9" fmla="*/ 6 h 11"/>
                    <a:gd name="T10" fmla="*/ 4 w 6"/>
                    <a:gd name="T11" fmla="*/ 6 h 11"/>
                    <a:gd name="T12" fmla="*/ 2 w 6"/>
                    <a:gd name="T13" fmla="*/ 10 h 11"/>
                    <a:gd name="T14" fmla="*/ 0 w 6"/>
                    <a:gd name="T15" fmla="*/ 11 h 11"/>
                    <a:gd name="T16" fmla="*/ 2 w 6"/>
                    <a:gd name="T17" fmla="*/ 10 h 11"/>
                    <a:gd name="T18" fmla="*/ 4 w 6"/>
                    <a:gd name="T19" fmla="*/ 6 h 11"/>
                    <a:gd name="T20" fmla="*/ 4 w 6"/>
                    <a:gd name="T21" fmla="*/ 6 h 11"/>
                    <a:gd name="T22" fmla="*/ 4 w 6"/>
                    <a:gd name="T23" fmla="*/ 4 h 11"/>
                    <a:gd name="T24" fmla="*/ 6 w 6"/>
                    <a:gd name="T25" fmla="*/ 0 h 11"/>
                    <a:gd name="T26" fmla="*/ 6 w 6"/>
                    <a:gd name="T2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1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2" y="10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6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8" name="Freeform 3062"/>
                <p:cNvSpPr>
                  <a:spLocks/>
                </p:cNvSpPr>
                <p:nvPr/>
              </p:nvSpPr>
              <p:spPr bwMode="auto">
                <a:xfrm>
                  <a:off x="3425" y="1345"/>
                  <a:ext cx="6" cy="11"/>
                </a:xfrm>
                <a:custGeom>
                  <a:avLst/>
                  <a:gdLst>
                    <a:gd name="T0" fmla="*/ 6 w 6"/>
                    <a:gd name="T1" fmla="*/ 0 h 11"/>
                    <a:gd name="T2" fmla="*/ 6 w 6"/>
                    <a:gd name="T3" fmla="*/ 0 h 11"/>
                    <a:gd name="T4" fmla="*/ 6 w 6"/>
                    <a:gd name="T5" fmla="*/ 0 h 11"/>
                    <a:gd name="T6" fmla="*/ 4 w 6"/>
                    <a:gd name="T7" fmla="*/ 4 h 11"/>
                    <a:gd name="T8" fmla="*/ 4 w 6"/>
                    <a:gd name="T9" fmla="*/ 6 h 11"/>
                    <a:gd name="T10" fmla="*/ 4 w 6"/>
                    <a:gd name="T11" fmla="*/ 6 h 11"/>
                    <a:gd name="T12" fmla="*/ 2 w 6"/>
                    <a:gd name="T13" fmla="*/ 10 h 11"/>
                    <a:gd name="T14" fmla="*/ 0 w 6"/>
                    <a:gd name="T15" fmla="*/ 11 h 11"/>
                    <a:gd name="T16" fmla="*/ 2 w 6"/>
                    <a:gd name="T17" fmla="*/ 10 h 11"/>
                    <a:gd name="T18" fmla="*/ 4 w 6"/>
                    <a:gd name="T19" fmla="*/ 6 h 11"/>
                    <a:gd name="T20" fmla="*/ 4 w 6"/>
                    <a:gd name="T21" fmla="*/ 6 h 11"/>
                    <a:gd name="T22" fmla="*/ 4 w 6"/>
                    <a:gd name="T23" fmla="*/ 4 h 11"/>
                    <a:gd name="T24" fmla="*/ 6 w 6"/>
                    <a:gd name="T25" fmla="*/ 0 h 11"/>
                    <a:gd name="T26" fmla="*/ 6 w 6"/>
                    <a:gd name="T2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1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2" y="10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6" y="0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49" name="Freeform 3063"/>
                <p:cNvSpPr>
                  <a:spLocks noEditPoints="1"/>
                </p:cNvSpPr>
                <p:nvPr/>
              </p:nvSpPr>
              <p:spPr bwMode="auto">
                <a:xfrm>
                  <a:off x="3437" y="2010"/>
                  <a:ext cx="514" cy="385"/>
                </a:xfrm>
                <a:custGeom>
                  <a:avLst/>
                  <a:gdLst>
                    <a:gd name="T0" fmla="*/ 514 w 514"/>
                    <a:gd name="T1" fmla="*/ 385 h 385"/>
                    <a:gd name="T2" fmla="*/ 514 w 514"/>
                    <a:gd name="T3" fmla="*/ 385 h 385"/>
                    <a:gd name="T4" fmla="*/ 514 w 514"/>
                    <a:gd name="T5" fmla="*/ 385 h 385"/>
                    <a:gd name="T6" fmla="*/ 514 w 514"/>
                    <a:gd name="T7" fmla="*/ 385 h 385"/>
                    <a:gd name="T8" fmla="*/ 1 w 514"/>
                    <a:gd name="T9" fmla="*/ 0 h 385"/>
                    <a:gd name="T10" fmla="*/ 0 w 514"/>
                    <a:gd name="T11" fmla="*/ 0 h 385"/>
                    <a:gd name="T12" fmla="*/ 0 w 514"/>
                    <a:gd name="T13" fmla="*/ 0 h 385"/>
                    <a:gd name="T14" fmla="*/ 1 w 514"/>
                    <a:gd name="T15" fmla="*/ 0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4" h="385">
                      <a:moveTo>
                        <a:pt x="514" y="385"/>
                      </a:moveTo>
                      <a:lnTo>
                        <a:pt x="514" y="385"/>
                      </a:lnTo>
                      <a:lnTo>
                        <a:pt x="514" y="385"/>
                      </a:lnTo>
                      <a:lnTo>
                        <a:pt x="514" y="385"/>
                      </a:lnTo>
                      <a:close/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0" name="Freeform 3064"/>
                <p:cNvSpPr>
                  <a:spLocks/>
                </p:cNvSpPr>
                <p:nvPr/>
              </p:nvSpPr>
              <p:spPr bwMode="auto">
                <a:xfrm>
                  <a:off x="3951" y="2395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1" name="Freeform 3065"/>
                <p:cNvSpPr>
                  <a:spLocks/>
                </p:cNvSpPr>
                <p:nvPr/>
              </p:nvSpPr>
              <p:spPr bwMode="auto">
                <a:xfrm>
                  <a:off x="3437" y="2010"/>
                  <a:ext cx="1" cy="1"/>
                </a:xfrm>
                <a:custGeom>
                  <a:avLst/>
                  <a:gdLst>
                    <a:gd name="T0" fmla="*/ 1 w 1"/>
                    <a:gd name="T1" fmla="*/ 0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2" name="Freeform 3066"/>
                <p:cNvSpPr>
                  <a:spLocks noEditPoints="1"/>
                </p:cNvSpPr>
                <p:nvPr/>
              </p:nvSpPr>
              <p:spPr bwMode="auto">
                <a:xfrm>
                  <a:off x="3333" y="1602"/>
                  <a:ext cx="105" cy="410"/>
                </a:xfrm>
                <a:custGeom>
                  <a:avLst/>
                  <a:gdLst>
                    <a:gd name="T0" fmla="*/ 105 w 105"/>
                    <a:gd name="T1" fmla="*/ 408 h 410"/>
                    <a:gd name="T2" fmla="*/ 105 w 105"/>
                    <a:gd name="T3" fmla="*/ 408 h 410"/>
                    <a:gd name="T4" fmla="*/ 104 w 105"/>
                    <a:gd name="T5" fmla="*/ 408 h 410"/>
                    <a:gd name="T6" fmla="*/ 100 w 105"/>
                    <a:gd name="T7" fmla="*/ 410 h 410"/>
                    <a:gd name="T8" fmla="*/ 105 w 105"/>
                    <a:gd name="T9" fmla="*/ 408 h 410"/>
                    <a:gd name="T10" fmla="*/ 105 w 105"/>
                    <a:gd name="T11" fmla="*/ 408 h 410"/>
                    <a:gd name="T12" fmla="*/ 105 w 105"/>
                    <a:gd name="T13" fmla="*/ 408 h 410"/>
                    <a:gd name="T14" fmla="*/ 105 w 105"/>
                    <a:gd name="T15" fmla="*/ 408 h 410"/>
                    <a:gd name="T16" fmla="*/ 0 w 105"/>
                    <a:gd name="T17" fmla="*/ 0 h 410"/>
                    <a:gd name="T18" fmla="*/ 0 w 105"/>
                    <a:gd name="T19" fmla="*/ 0 h 410"/>
                    <a:gd name="T20" fmla="*/ 0 w 105"/>
                    <a:gd name="T21" fmla="*/ 5 h 410"/>
                    <a:gd name="T22" fmla="*/ 0 w 105"/>
                    <a:gd name="T23" fmla="*/ 0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5" h="410">
                      <a:moveTo>
                        <a:pt x="105" y="408"/>
                      </a:moveTo>
                      <a:lnTo>
                        <a:pt x="105" y="408"/>
                      </a:lnTo>
                      <a:lnTo>
                        <a:pt x="104" y="408"/>
                      </a:lnTo>
                      <a:lnTo>
                        <a:pt x="100" y="410"/>
                      </a:lnTo>
                      <a:lnTo>
                        <a:pt x="105" y="408"/>
                      </a:lnTo>
                      <a:lnTo>
                        <a:pt x="105" y="408"/>
                      </a:lnTo>
                      <a:lnTo>
                        <a:pt x="105" y="408"/>
                      </a:lnTo>
                      <a:lnTo>
                        <a:pt x="105" y="408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3" name="Freeform 3067"/>
                <p:cNvSpPr>
                  <a:spLocks/>
                </p:cNvSpPr>
                <p:nvPr/>
              </p:nvSpPr>
              <p:spPr bwMode="auto">
                <a:xfrm>
                  <a:off x="3433" y="2010"/>
                  <a:ext cx="5" cy="2"/>
                </a:xfrm>
                <a:custGeom>
                  <a:avLst/>
                  <a:gdLst>
                    <a:gd name="T0" fmla="*/ 5 w 5"/>
                    <a:gd name="T1" fmla="*/ 0 h 2"/>
                    <a:gd name="T2" fmla="*/ 5 w 5"/>
                    <a:gd name="T3" fmla="*/ 0 h 2"/>
                    <a:gd name="T4" fmla="*/ 4 w 5"/>
                    <a:gd name="T5" fmla="*/ 0 h 2"/>
                    <a:gd name="T6" fmla="*/ 0 w 5"/>
                    <a:gd name="T7" fmla="*/ 2 h 2"/>
                    <a:gd name="T8" fmla="*/ 5 w 5"/>
                    <a:gd name="T9" fmla="*/ 0 h 2"/>
                    <a:gd name="T10" fmla="*/ 5 w 5"/>
                    <a:gd name="T11" fmla="*/ 0 h 2"/>
                    <a:gd name="T12" fmla="*/ 5 w 5"/>
                    <a:gd name="T13" fmla="*/ 0 h 2"/>
                    <a:gd name="T14" fmla="*/ 5 w 5"/>
                    <a:gd name="T1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4" name="Freeform 3068"/>
                <p:cNvSpPr>
                  <a:spLocks/>
                </p:cNvSpPr>
                <p:nvPr/>
              </p:nvSpPr>
              <p:spPr bwMode="auto">
                <a:xfrm>
                  <a:off x="3333" y="1602"/>
                  <a:ext cx="1" cy="5"/>
                </a:xfrm>
                <a:custGeom>
                  <a:avLst/>
                  <a:gdLst>
                    <a:gd name="T0" fmla="*/ 0 h 5"/>
                    <a:gd name="T1" fmla="*/ 0 h 5"/>
                    <a:gd name="T2" fmla="*/ 5 h 5"/>
                    <a:gd name="T3" fmla="*/ 0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5" name="Freeform 3069"/>
                <p:cNvSpPr>
                  <a:spLocks noEditPoints="1"/>
                </p:cNvSpPr>
                <p:nvPr/>
              </p:nvSpPr>
              <p:spPr bwMode="auto">
                <a:xfrm>
                  <a:off x="3337" y="1262"/>
                  <a:ext cx="94" cy="334"/>
                </a:xfrm>
                <a:custGeom>
                  <a:avLst/>
                  <a:gdLst>
                    <a:gd name="T0" fmla="*/ 52 w 94"/>
                    <a:gd name="T1" fmla="*/ 320 h 334"/>
                    <a:gd name="T2" fmla="*/ 37 w 94"/>
                    <a:gd name="T3" fmla="*/ 323 h 334"/>
                    <a:gd name="T4" fmla="*/ 26 w 94"/>
                    <a:gd name="T5" fmla="*/ 327 h 334"/>
                    <a:gd name="T6" fmla="*/ 13 w 94"/>
                    <a:gd name="T7" fmla="*/ 331 h 334"/>
                    <a:gd name="T8" fmla="*/ 2 w 94"/>
                    <a:gd name="T9" fmla="*/ 334 h 334"/>
                    <a:gd name="T10" fmla="*/ 0 w 94"/>
                    <a:gd name="T11" fmla="*/ 334 h 334"/>
                    <a:gd name="T12" fmla="*/ 13 w 94"/>
                    <a:gd name="T13" fmla="*/ 331 h 334"/>
                    <a:gd name="T14" fmla="*/ 26 w 94"/>
                    <a:gd name="T15" fmla="*/ 327 h 334"/>
                    <a:gd name="T16" fmla="*/ 37 w 94"/>
                    <a:gd name="T17" fmla="*/ 323 h 334"/>
                    <a:gd name="T18" fmla="*/ 52 w 94"/>
                    <a:gd name="T19" fmla="*/ 320 h 334"/>
                    <a:gd name="T20" fmla="*/ 52 w 94"/>
                    <a:gd name="T21" fmla="*/ 309 h 334"/>
                    <a:gd name="T22" fmla="*/ 52 w 94"/>
                    <a:gd name="T23" fmla="*/ 309 h 334"/>
                    <a:gd name="T24" fmla="*/ 57 w 94"/>
                    <a:gd name="T25" fmla="*/ 309 h 334"/>
                    <a:gd name="T26" fmla="*/ 57 w 94"/>
                    <a:gd name="T27" fmla="*/ 309 h 334"/>
                    <a:gd name="T28" fmla="*/ 63 w 94"/>
                    <a:gd name="T29" fmla="*/ 310 h 334"/>
                    <a:gd name="T30" fmla="*/ 70 w 94"/>
                    <a:gd name="T31" fmla="*/ 312 h 334"/>
                    <a:gd name="T32" fmla="*/ 77 w 94"/>
                    <a:gd name="T33" fmla="*/ 314 h 334"/>
                    <a:gd name="T34" fmla="*/ 77 w 94"/>
                    <a:gd name="T35" fmla="*/ 314 h 334"/>
                    <a:gd name="T36" fmla="*/ 77 w 94"/>
                    <a:gd name="T37" fmla="*/ 314 h 334"/>
                    <a:gd name="T38" fmla="*/ 70 w 94"/>
                    <a:gd name="T39" fmla="*/ 312 h 334"/>
                    <a:gd name="T40" fmla="*/ 63 w 94"/>
                    <a:gd name="T41" fmla="*/ 310 h 334"/>
                    <a:gd name="T42" fmla="*/ 57 w 94"/>
                    <a:gd name="T43" fmla="*/ 309 h 334"/>
                    <a:gd name="T44" fmla="*/ 57 w 94"/>
                    <a:gd name="T45" fmla="*/ 309 h 334"/>
                    <a:gd name="T46" fmla="*/ 52 w 94"/>
                    <a:gd name="T47" fmla="*/ 309 h 334"/>
                    <a:gd name="T48" fmla="*/ 94 w 94"/>
                    <a:gd name="T49" fmla="*/ 83 h 334"/>
                    <a:gd name="T50" fmla="*/ 94 w 94"/>
                    <a:gd name="T51" fmla="*/ 83 h 334"/>
                    <a:gd name="T52" fmla="*/ 94 w 94"/>
                    <a:gd name="T53" fmla="*/ 83 h 334"/>
                    <a:gd name="T54" fmla="*/ 92 w 94"/>
                    <a:gd name="T55" fmla="*/ 87 h 334"/>
                    <a:gd name="T56" fmla="*/ 92 w 94"/>
                    <a:gd name="T57" fmla="*/ 89 h 334"/>
                    <a:gd name="T58" fmla="*/ 92 w 94"/>
                    <a:gd name="T59" fmla="*/ 89 h 334"/>
                    <a:gd name="T60" fmla="*/ 90 w 94"/>
                    <a:gd name="T61" fmla="*/ 93 h 334"/>
                    <a:gd name="T62" fmla="*/ 88 w 94"/>
                    <a:gd name="T63" fmla="*/ 94 h 334"/>
                    <a:gd name="T64" fmla="*/ 90 w 94"/>
                    <a:gd name="T65" fmla="*/ 93 h 334"/>
                    <a:gd name="T66" fmla="*/ 92 w 94"/>
                    <a:gd name="T67" fmla="*/ 89 h 334"/>
                    <a:gd name="T68" fmla="*/ 92 w 94"/>
                    <a:gd name="T69" fmla="*/ 89 h 334"/>
                    <a:gd name="T70" fmla="*/ 92 w 94"/>
                    <a:gd name="T71" fmla="*/ 87 h 334"/>
                    <a:gd name="T72" fmla="*/ 94 w 94"/>
                    <a:gd name="T73" fmla="*/ 83 h 334"/>
                    <a:gd name="T74" fmla="*/ 94 w 94"/>
                    <a:gd name="T75" fmla="*/ 83 h 334"/>
                    <a:gd name="T76" fmla="*/ 66 w 94"/>
                    <a:gd name="T77" fmla="*/ 0 h 334"/>
                    <a:gd name="T78" fmla="*/ 66 w 94"/>
                    <a:gd name="T79" fmla="*/ 0 h 334"/>
                    <a:gd name="T80" fmla="*/ 66 w 94"/>
                    <a:gd name="T81" fmla="*/ 2 h 334"/>
                    <a:gd name="T82" fmla="*/ 66 w 94"/>
                    <a:gd name="T83" fmla="*/ 0 h 3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4" h="334">
                      <a:moveTo>
                        <a:pt x="52" y="320"/>
                      </a:moveTo>
                      <a:lnTo>
                        <a:pt x="37" y="323"/>
                      </a:lnTo>
                      <a:lnTo>
                        <a:pt x="26" y="327"/>
                      </a:lnTo>
                      <a:lnTo>
                        <a:pt x="13" y="331"/>
                      </a:lnTo>
                      <a:lnTo>
                        <a:pt x="2" y="334"/>
                      </a:lnTo>
                      <a:lnTo>
                        <a:pt x="0" y="334"/>
                      </a:lnTo>
                      <a:lnTo>
                        <a:pt x="13" y="331"/>
                      </a:lnTo>
                      <a:lnTo>
                        <a:pt x="26" y="327"/>
                      </a:lnTo>
                      <a:lnTo>
                        <a:pt x="37" y="323"/>
                      </a:lnTo>
                      <a:lnTo>
                        <a:pt x="52" y="320"/>
                      </a:lnTo>
                      <a:close/>
                      <a:moveTo>
                        <a:pt x="52" y="309"/>
                      </a:moveTo>
                      <a:lnTo>
                        <a:pt x="52" y="309"/>
                      </a:lnTo>
                      <a:lnTo>
                        <a:pt x="57" y="309"/>
                      </a:lnTo>
                      <a:lnTo>
                        <a:pt x="57" y="309"/>
                      </a:lnTo>
                      <a:lnTo>
                        <a:pt x="63" y="310"/>
                      </a:lnTo>
                      <a:lnTo>
                        <a:pt x="70" y="312"/>
                      </a:lnTo>
                      <a:lnTo>
                        <a:pt x="77" y="314"/>
                      </a:lnTo>
                      <a:lnTo>
                        <a:pt x="77" y="314"/>
                      </a:lnTo>
                      <a:lnTo>
                        <a:pt x="77" y="314"/>
                      </a:lnTo>
                      <a:lnTo>
                        <a:pt x="70" y="312"/>
                      </a:lnTo>
                      <a:lnTo>
                        <a:pt x="63" y="310"/>
                      </a:lnTo>
                      <a:lnTo>
                        <a:pt x="57" y="309"/>
                      </a:lnTo>
                      <a:lnTo>
                        <a:pt x="57" y="309"/>
                      </a:lnTo>
                      <a:lnTo>
                        <a:pt x="52" y="309"/>
                      </a:lnTo>
                      <a:close/>
                      <a:moveTo>
                        <a:pt x="94" y="83"/>
                      </a:moveTo>
                      <a:lnTo>
                        <a:pt x="94" y="83"/>
                      </a:lnTo>
                      <a:lnTo>
                        <a:pt x="94" y="83"/>
                      </a:lnTo>
                      <a:lnTo>
                        <a:pt x="92" y="87"/>
                      </a:lnTo>
                      <a:lnTo>
                        <a:pt x="92" y="89"/>
                      </a:lnTo>
                      <a:lnTo>
                        <a:pt x="92" y="89"/>
                      </a:lnTo>
                      <a:lnTo>
                        <a:pt x="90" y="93"/>
                      </a:lnTo>
                      <a:lnTo>
                        <a:pt x="88" y="94"/>
                      </a:lnTo>
                      <a:lnTo>
                        <a:pt x="90" y="93"/>
                      </a:lnTo>
                      <a:lnTo>
                        <a:pt x="92" y="89"/>
                      </a:lnTo>
                      <a:lnTo>
                        <a:pt x="92" y="89"/>
                      </a:lnTo>
                      <a:lnTo>
                        <a:pt x="92" y="87"/>
                      </a:lnTo>
                      <a:lnTo>
                        <a:pt x="94" y="83"/>
                      </a:lnTo>
                      <a:lnTo>
                        <a:pt x="94" y="83"/>
                      </a:lnTo>
                      <a:close/>
                      <a:moveTo>
                        <a:pt x="66" y="0"/>
                      </a:moveTo>
                      <a:lnTo>
                        <a:pt x="66" y="0"/>
                      </a:lnTo>
                      <a:lnTo>
                        <a:pt x="66" y="2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6" name="Freeform 3070"/>
                <p:cNvSpPr>
                  <a:spLocks/>
                </p:cNvSpPr>
                <p:nvPr/>
              </p:nvSpPr>
              <p:spPr bwMode="auto">
                <a:xfrm>
                  <a:off x="3337" y="1582"/>
                  <a:ext cx="52" cy="14"/>
                </a:xfrm>
                <a:custGeom>
                  <a:avLst/>
                  <a:gdLst>
                    <a:gd name="T0" fmla="*/ 52 w 52"/>
                    <a:gd name="T1" fmla="*/ 0 h 14"/>
                    <a:gd name="T2" fmla="*/ 37 w 52"/>
                    <a:gd name="T3" fmla="*/ 3 h 14"/>
                    <a:gd name="T4" fmla="*/ 26 w 52"/>
                    <a:gd name="T5" fmla="*/ 7 h 14"/>
                    <a:gd name="T6" fmla="*/ 13 w 52"/>
                    <a:gd name="T7" fmla="*/ 11 h 14"/>
                    <a:gd name="T8" fmla="*/ 2 w 52"/>
                    <a:gd name="T9" fmla="*/ 14 h 14"/>
                    <a:gd name="T10" fmla="*/ 0 w 52"/>
                    <a:gd name="T11" fmla="*/ 14 h 14"/>
                    <a:gd name="T12" fmla="*/ 13 w 52"/>
                    <a:gd name="T13" fmla="*/ 11 h 14"/>
                    <a:gd name="T14" fmla="*/ 26 w 52"/>
                    <a:gd name="T15" fmla="*/ 7 h 14"/>
                    <a:gd name="T16" fmla="*/ 37 w 52"/>
                    <a:gd name="T17" fmla="*/ 3 h 14"/>
                    <a:gd name="T18" fmla="*/ 52 w 52"/>
                    <a:gd name="T1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2" h="14">
                      <a:moveTo>
                        <a:pt x="52" y="0"/>
                      </a:moveTo>
                      <a:lnTo>
                        <a:pt x="37" y="3"/>
                      </a:lnTo>
                      <a:lnTo>
                        <a:pt x="26" y="7"/>
                      </a:lnTo>
                      <a:lnTo>
                        <a:pt x="13" y="11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13" y="11"/>
                      </a:lnTo>
                      <a:lnTo>
                        <a:pt x="26" y="7"/>
                      </a:lnTo>
                      <a:lnTo>
                        <a:pt x="37" y="3"/>
                      </a:lnTo>
                      <a:lnTo>
                        <a:pt x="5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7" name="Freeform 3071"/>
                <p:cNvSpPr>
                  <a:spLocks/>
                </p:cNvSpPr>
                <p:nvPr/>
              </p:nvSpPr>
              <p:spPr bwMode="auto">
                <a:xfrm>
                  <a:off x="3389" y="1571"/>
                  <a:ext cx="25" cy="5"/>
                </a:xfrm>
                <a:custGeom>
                  <a:avLst/>
                  <a:gdLst>
                    <a:gd name="T0" fmla="*/ 0 w 25"/>
                    <a:gd name="T1" fmla="*/ 0 h 5"/>
                    <a:gd name="T2" fmla="*/ 0 w 25"/>
                    <a:gd name="T3" fmla="*/ 0 h 5"/>
                    <a:gd name="T4" fmla="*/ 5 w 25"/>
                    <a:gd name="T5" fmla="*/ 0 h 5"/>
                    <a:gd name="T6" fmla="*/ 5 w 25"/>
                    <a:gd name="T7" fmla="*/ 0 h 5"/>
                    <a:gd name="T8" fmla="*/ 11 w 25"/>
                    <a:gd name="T9" fmla="*/ 1 h 5"/>
                    <a:gd name="T10" fmla="*/ 18 w 25"/>
                    <a:gd name="T11" fmla="*/ 3 h 5"/>
                    <a:gd name="T12" fmla="*/ 25 w 25"/>
                    <a:gd name="T13" fmla="*/ 5 h 5"/>
                    <a:gd name="T14" fmla="*/ 25 w 25"/>
                    <a:gd name="T15" fmla="*/ 5 h 5"/>
                    <a:gd name="T16" fmla="*/ 25 w 25"/>
                    <a:gd name="T17" fmla="*/ 5 h 5"/>
                    <a:gd name="T18" fmla="*/ 18 w 25"/>
                    <a:gd name="T19" fmla="*/ 3 h 5"/>
                    <a:gd name="T20" fmla="*/ 11 w 25"/>
                    <a:gd name="T21" fmla="*/ 1 h 5"/>
                    <a:gd name="T22" fmla="*/ 5 w 25"/>
                    <a:gd name="T23" fmla="*/ 0 h 5"/>
                    <a:gd name="T24" fmla="*/ 5 w 25"/>
                    <a:gd name="T25" fmla="*/ 0 h 5"/>
                    <a:gd name="T26" fmla="*/ 0 w 25"/>
                    <a:gd name="T2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" h="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11" y="1"/>
                      </a:lnTo>
                      <a:lnTo>
                        <a:pt x="18" y="3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18" y="3"/>
                      </a:lnTo>
                      <a:lnTo>
                        <a:pt x="11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8" name="Freeform 3072"/>
                <p:cNvSpPr>
                  <a:spLocks/>
                </p:cNvSpPr>
                <p:nvPr/>
              </p:nvSpPr>
              <p:spPr bwMode="auto">
                <a:xfrm>
                  <a:off x="3425" y="1345"/>
                  <a:ext cx="6" cy="11"/>
                </a:xfrm>
                <a:custGeom>
                  <a:avLst/>
                  <a:gdLst>
                    <a:gd name="T0" fmla="*/ 6 w 6"/>
                    <a:gd name="T1" fmla="*/ 0 h 11"/>
                    <a:gd name="T2" fmla="*/ 6 w 6"/>
                    <a:gd name="T3" fmla="*/ 0 h 11"/>
                    <a:gd name="T4" fmla="*/ 6 w 6"/>
                    <a:gd name="T5" fmla="*/ 0 h 11"/>
                    <a:gd name="T6" fmla="*/ 4 w 6"/>
                    <a:gd name="T7" fmla="*/ 4 h 11"/>
                    <a:gd name="T8" fmla="*/ 4 w 6"/>
                    <a:gd name="T9" fmla="*/ 6 h 11"/>
                    <a:gd name="T10" fmla="*/ 4 w 6"/>
                    <a:gd name="T11" fmla="*/ 6 h 11"/>
                    <a:gd name="T12" fmla="*/ 2 w 6"/>
                    <a:gd name="T13" fmla="*/ 10 h 11"/>
                    <a:gd name="T14" fmla="*/ 0 w 6"/>
                    <a:gd name="T15" fmla="*/ 11 h 11"/>
                    <a:gd name="T16" fmla="*/ 2 w 6"/>
                    <a:gd name="T17" fmla="*/ 10 h 11"/>
                    <a:gd name="T18" fmla="*/ 4 w 6"/>
                    <a:gd name="T19" fmla="*/ 6 h 11"/>
                    <a:gd name="T20" fmla="*/ 4 w 6"/>
                    <a:gd name="T21" fmla="*/ 6 h 11"/>
                    <a:gd name="T22" fmla="*/ 4 w 6"/>
                    <a:gd name="T23" fmla="*/ 4 h 11"/>
                    <a:gd name="T24" fmla="*/ 6 w 6"/>
                    <a:gd name="T25" fmla="*/ 0 h 11"/>
                    <a:gd name="T26" fmla="*/ 6 w 6"/>
                    <a:gd name="T2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1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2" y="10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6" y="0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59" name="Freeform 3073"/>
                <p:cNvSpPr>
                  <a:spLocks/>
                </p:cNvSpPr>
                <p:nvPr/>
              </p:nvSpPr>
              <p:spPr bwMode="auto">
                <a:xfrm>
                  <a:off x="3403" y="1262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0" name="Freeform 3074"/>
                <p:cNvSpPr>
                  <a:spLocks/>
                </p:cNvSpPr>
                <p:nvPr/>
              </p:nvSpPr>
              <p:spPr bwMode="auto">
                <a:xfrm>
                  <a:off x="3950" y="2394"/>
                  <a:ext cx="1" cy="1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1 w 1"/>
                    <a:gd name="T5" fmla="*/ 1 h 1"/>
                    <a:gd name="T6" fmla="*/ 1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1" name="Freeform 3075"/>
                <p:cNvSpPr>
                  <a:spLocks/>
                </p:cNvSpPr>
                <p:nvPr/>
              </p:nvSpPr>
              <p:spPr bwMode="auto">
                <a:xfrm>
                  <a:off x="3950" y="2394"/>
                  <a:ext cx="1" cy="1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1 w 1"/>
                    <a:gd name="T5" fmla="*/ 1 h 1"/>
                    <a:gd name="T6" fmla="*/ 1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2" name="Freeform 3076"/>
                <p:cNvSpPr>
                  <a:spLocks/>
                </p:cNvSpPr>
                <p:nvPr/>
              </p:nvSpPr>
              <p:spPr bwMode="auto">
                <a:xfrm>
                  <a:off x="3389" y="1571"/>
                  <a:ext cx="25" cy="5"/>
                </a:xfrm>
                <a:custGeom>
                  <a:avLst/>
                  <a:gdLst>
                    <a:gd name="T0" fmla="*/ 0 w 25"/>
                    <a:gd name="T1" fmla="*/ 0 h 5"/>
                    <a:gd name="T2" fmla="*/ 0 w 25"/>
                    <a:gd name="T3" fmla="*/ 0 h 5"/>
                    <a:gd name="T4" fmla="*/ 5 w 25"/>
                    <a:gd name="T5" fmla="*/ 0 h 5"/>
                    <a:gd name="T6" fmla="*/ 5 w 25"/>
                    <a:gd name="T7" fmla="*/ 0 h 5"/>
                    <a:gd name="T8" fmla="*/ 11 w 25"/>
                    <a:gd name="T9" fmla="*/ 1 h 5"/>
                    <a:gd name="T10" fmla="*/ 18 w 25"/>
                    <a:gd name="T11" fmla="*/ 3 h 5"/>
                    <a:gd name="T12" fmla="*/ 25 w 25"/>
                    <a:gd name="T13" fmla="*/ 5 h 5"/>
                    <a:gd name="T14" fmla="*/ 25 w 25"/>
                    <a:gd name="T15" fmla="*/ 5 h 5"/>
                    <a:gd name="T16" fmla="*/ 25 w 25"/>
                    <a:gd name="T17" fmla="*/ 5 h 5"/>
                    <a:gd name="T18" fmla="*/ 18 w 25"/>
                    <a:gd name="T19" fmla="*/ 3 h 5"/>
                    <a:gd name="T20" fmla="*/ 11 w 25"/>
                    <a:gd name="T21" fmla="*/ 1 h 5"/>
                    <a:gd name="T22" fmla="*/ 5 w 25"/>
                    <a:gd name="T23" fmla="*/ 0 h 5"/>
                    <a:gd name="T24" fmla="*/ 5 w 25"/>
                    <a:gd name="T25" fmla="*/ 0 h 5"/>
                    <a:gd name="T26" fmla="*/ 0 w 25"/>
                    <a:gd name="T2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" h="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11" y="1"/>
                      </a:lnTo>
                      <a:lnTo>
                        <a:pt x="18" y="3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18" y="3"/>
                      </a:lnTo>
                      <a:lnTo>
                        <a:pt x="11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3" name="Freeform 3077"/>
                <p:cNvSpPr>
                  <a:spLocks/>
                </p:cNvSpPr>
                <p:nvPr/>
              </p:nvSpPr>
              <p:spPr bwMode="auto">
                <a:xfrm>
                  <a:off x="3389" y="1571"/>
                  <a:ext cx="25" cy="5"/>
                </a:xfrm>
                <a:custGeom>
                  <a:avLst/>
                  <a:gdLst>
                    <a:gd name="T0" fmla="*/ 0 w 25"/>
                    <a:gd name="T1" fmla="*/ 0 h 5"/>
                    <a:gd name="T2" fmla="*/ 0 w 25"/>
                    <a:gd name="T3" fmla="*/ 0 h 5"/>
                    <a:gd name="T4" fmla="*/ 5 w 25"/>
                    <a:gd name="T5" fmla="*/ 0 h 5"/>
                    <a:gd name="T6" fmla="*/ 5 w 25"/>
                    <a:gd name="T7" fmla="*/ 0 h 5"/>
                    <a:gd name="T8" fmla="*/ 11 w 25"/>
                    <a:gd name="T9" fmla="*/ 1 h 5"/>
                    <a:gd name="T10" fmla="*/ 18 w 25"/>
                    <a:gd name="T11" fmla="*/ 3 h 5"/>
                    <a:gd name="T12" fmla="*/ 25 w 25"/>
                    <a:gd name="T13" fmla="*/ 5 h 5"/>
                    <a:gd name="T14" fmla="*/ 25 w 25"/>
                    <a:gd name="T15" fmla="*/ 5 h 5"/>
                    <a:gd name="T16" fmla="*/ 25 w 25"/>
                    <a:gd name="T17" fmla="*/ 5 h 5"/>
                    <a:gd name="T18" fmla="*/ 18 w 25"/>
                    <a:gd name="T19" fmla="*/ 3 h 5"/>
                    <a:gd name="T20" fmla="*/ 11 w 25"/>
                    <a:gd name="T21" fmla="*/ 1 h 5"/>
                    <a:gd name="T22" fmla="*/ 5 w 25"/>
                    <a:gd name="T23" fmla="*/ 0 h 5"/>
                    <a:gd name="T24" fmla="*/ 5 w 25"/>
                    <a:gd name="T25" fmla="*/ 0 h 5"/>
                    <a:gd name="T26" fmla="*/ 0 w 25"/>
                    <a:gd name="T2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" h="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11" y="1"/>
                      </a:lnTo>
                      <a:lnTo>
                        <a:pt x="18" y="3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18" y="3"/>
                      </a:lnTo>
                      <a:lnTo>
                        <a:pt x="11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4" name="Freeform 3078"/>
                <p:cNvSpPr>
                  <a:spLocks noEditPoints="1"/>
                </p:cNvSpPr>
                <p:nvPr/>
              </p:nvSpPr>
              <p:spPr bwMode="auto">
                <a:xfrm>
                  <a:off x="3414" y="965"/>
                  <a:ext cx="707" cy="286"/>
                </a:xfrm>
                <a:custGeom>
                  <a:avLst/>
                  <a:gdLst>
                    <a:gd name="T0" fmla="*/ 213 w 707"/>
                    <a:gd name="T1" fmla="*/ 283 h 286"/>
                    <a:gd name="T2" fmla="*/ 211 w 707"/>
                    <a:gd name="T3" fmla="*/ 286 h 286"/>
                    <a:gd name="T4" fmla="*/ 218 w 707"/>
                    <a:gd name="T5" fmla="*/ 283 h 286"/>
                    <a:gd name="T6" fmla="*/ 220 w 707"/>
                    <a:gd name="T7" fmla="*/ 283 h 286"/>
                    <a:gd name="T8" fmla="*/ 216 w 707"/>
                    <a:gd name="T9" fmla="*/ 277 h 286"/>
                    <a:gd name="T10" fmla="*/ 264 w 707"/>
                    <a:gd name="T11" fmla="*/ 271 h 286"/>
                    <a:gd name="T12" fmla="*/ 262 w 707"/>
                    <a:gd name="T13" fmla="*/ 273 h 286"/>
                    <a:gd name="T14" fmla="*/ 264 w 707"/>
                    <a:gd name="T15" fmla="*/ 275 h 286"/>
                    <a:gd name="T16" fmla="*/ 266 w 707"/>
                    <a:gd name="T17" fmla="*/ 273 h 286"/>
                    <a:gd name="T18" fmla="*/ 41 w 707"/>
                    <a:gd name="T19" fmla="*/ 218 h 286"/>
                    <a:gd name="T20" fmla="*/ 24 w 707"/>
                    <a:gd name="T21" fmla="*/ 220 h 286"/>
                    <a:gd name="T22" fmla="*/ 6 w 707"/>
                    <a:gd name="T23" fmla="*/ 222 h 286"/>
                    <a:gd name="T24" fmla="*/ 8 w 707"/>
                    <a:gd name="T25" fmla="*/ 227 h 286"/>
                    <a:gd name="T26" fmla="*/ 11 w 707"/>
                    <a:gd name="T27" fmla="*/ 235 h 286"/>
                    <a:gd name="T28" fmla="*/ 4 w 707"/>
                    <a:gd name="T29" fmla="*/ 236 h 286"/>
                    <a:gd name="T30" fmla="*/ 2 w 707"/>
                    <a:gd name="T31" fmla="*/ 240 h 286"/>
                    <a:gd name="T32" fmla="*/ 8 w 707"/>
                    <a:gd name="T33" fmla="*/ 246 h 286"/>
                    <a:gd name="T34" fmla="*/ 15 w 707"/>
                    <a:gd name="T35" fmla="*/ 249 h 286"/>
                    <a:gd name="T36" fmla="*/ 26 w 707"/>
                    <a:gd name="T37" fmla="*/ 249 h 286"/>
                    <a:gd name="T38" fmla="*/ 34 w 707"/>
                    <a:gd name="T39" fmla="*/ 242 h 286"/>
                    <a:gd name="T40" fmla="*/ 39 w 707"/>
                    <a:gd name="T41" fmla="*/ 225 h 286"/>
                    <a:gd name="T42" fmla="*/ 294 w 707"/>
                    <a:gd name="T43" fmla="*/ 188 h 286"/>
                    <a:gd name="T44" fmla="*/ 290 w 707"/>
                    <a:gd name="T45" fmla="*/ 188 h 286"/>
                    <a:gd name="T46" fmla="*/ 290 w 707"/>
                    <a:gd name="T47" fmla="*/ 194 h 286"/>
                    <a:gd name="T48" fmla="*/ 294 w 707"/>
                    <a:gd name="T49" fmla="*/ 194 h 286"/>
                    <a:gd name="T50" fmla="*/ 294 w 707"/>
                    <a:gd name="T51" fmla="*/ 188 h 286"/>
                    <a:gd name="T52" fmla="*/ 670 w 707"/>
                    <a:gd name="T53" fmla="*/ 177 h 286"/>
                    <a:gd name="T54" fmla="*/ 668 w 707"/>
                    <a:gd name="T55" fmla="*/ 179 h 286"/>
                    <a:gd name="T56" fmla="*/ 670 w 707"/>
                    <a:gd name="T57" fmla="*/ 181 h 286"/>
                    <a:gd name="T58" fmla="*/ 672 w 707"/>
                    <a:gd name="T59" fmla="*/ 179 h 286"/>
                    <a:gd name="T60" fmla="*/ 674 w 707"/>
                    <a:gd name="T61" fmla="*/ 0 h 286"/>
                    <a:gd name="T62" fmla="*/ 661 w 707"/>
                    <a:gd name="T63" fmla="*/ 0 h 286"/>
                    <a:gd name="T64" fmla="*/ 654 w 707"/>
                    <a:gd name="T65" fmla="*/ 2 h 286"/>
                    <a:gd name="T66" fmla="*/ 646 w 707"/>
                    <a:gd name="T67" fmla="*/ 4 h 286"/>
                    <a:gd name="T68" fmla="*/ 639 w 707"/>
                    <a:gd name="T69" fmla="*/ 6 h 286"/>
                    <a:gd name="T70" fmla="*/ 635 w 707"/>
                    <a:gd name="T71" fmla="*/ 17 h 286"/>
                    <a:gd name="T72" fmla="*/ 639 w 707"/>
                    <a:gd name="T73" fmla="*/ 35 h 286"/>
                    <a:gd name="T74" fmla="*/ 650 w 707"/>
                    <a:gd name="T75" fmla="*/ 43 h 286"/>
                    <a:gd name="T76" fmla="*/ 668 w 707"/>
                    <a:gd name="T77" fmla="*/ 39 h 286"/>
                    <a:gd name="T78" fmla="*/ 681 w 707"/>
                    <a:gd name="T79" fmla="*/ 37 h 286"/>
                    <a:gd name="T80" fmla="*/ 689 w 707"/>
                    <a:gd name="T81" fmla="*/ 33 h 286"/>
                    <a:gd name="T82" fmla="*/ 696 w 707"/>
                    <a:gd name="T83" fmla="*/ 28 h 286"/>
                    <a:gd name="T84" fmla="*/ 703 w 707"/>
                    <a:gd name="T85" fmla="*/ 22 h 286"/>
                    <a:gd name="T86" fmla="*/ 705 w 707"/>
                    <a:gd name="T87" fmla="*/ 15 h 286"/>
                    <a:gd name="T88" fmla="*/ 703 w 707"/>
                    <a:gd name="T89" fmla="*/ 9 h 286"/>
                    <a:gd name="T90" fmla="*/ 700 w 707"/>
                    <a:gd name="T91" fmla="*/ 2 h 286"/>
                    <a:gd name="T92" fmla="*/ 681 w 707"/>
                    <a:gd name="T93" fmla="*/ 0 h 286"/>
                    <a:gd name="T94" fmla="*/ 674 w 707"/>
                    <a:gd name="T95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07" h="286">
                      <a:moveTo>
                        <a:pt x="216" y="277"/>
                      </a:moveTo>
                      <a:lnTo>
                        <a:pt x="213" y="283"/>
                      </a:lnTo>
                      <a:lnTo>
                        <a:pt x="209" y="286"/>
                      </a:lnTo>
                      <a:lnTo>
                        <a:pt x="211" y="286"/>
                      </a:lnTo>
                      <a:lnTo>
                        <a:pt x="214" y="284"/>
                      </a:lnTo>
                      <a:lnTo>
                        <a:pt x="218" y="283"/>
                      </a:lnTo>
                      <a:lnTo>
                        <a:pt x="218" y="283"/>
                      </a:lnTo>
                      <a:lnTo>
                        <a:pt x="220" y="283"/>
                      </a:lnTo>
                      <a:lnTo>
                        <a:pt x="218" y="279"/>
                      </a:lnTo>
                      <a:lnTo>
                        <a:pt x="216" y="277"/>
                      </a:lnTo>
                      <a:close/>
                      <a:moveTo>
                        <a:pt x="266" y="271"/>
                      </a:moveTo>
                      <a:lnTo>
                        <a:pt x="264" y="271"/>
                      </a:lnTo>
                      <a:lnTo>
                        <a:pt x="262" y="271"/>
                      </a:lnTo>
                      <a:lnTo>
                        <a:pt x="262" y="273"/>
                      </a:lnTo>
                      <a:lnTo>
                        <a:pt x="262" y="275"/>
                      </a:lnTo>
                      <a:lnTo>
                        <a:pt x="264" y="275"/>
                      </a:lnTo>
                      <a:lnTo>
                        <a:pt x="266" y="275"/>
                      </a:lnTo>
                      <a:lnTo>
                        <a:pt x="266" y="273"/>
                      </a:lnTo>
                      <a:lnTo>
                        <a:pt x="266" y="271"/>
                      </a:lnTo>
                      <a:close/>
                      <a:moveTo>
                        <a:pt x="41" y="218"/>
                      </a:moveTo>
                      <a:lnTo>
                        <a:pt x="34" y="218"/>
                      </a:lnTo>
                      <a:lnTo>
                        <a:pt x="24" y="220"/>
                      </a:lnTo>
                      <a:lnTo>
                        <a:pt x="15" y="222"/>
                      </a:lnTo>
                      <a:lnTo>
                        <a:pt x="6" y="222"/>
                      </a:lnTo>
                      <a:lnTo>
                        <a:pt x="8" y="224"/>
                      </a:lnTo>
                      <a:lnTo>
                        <a:pt x="8" y="227"/>
                      </a:lnTo>
                      <a:lnTo>
                        <a:pt x="10" y="231"/>
                      </a:lnTo>
                      <a:lnTo>
                        <a:pt x="11" y="235"/>
                      </a:lnTo>
                      <a:lnTo>
                        <a:pt x="10" y="235"/>
                      </a:lnTo>
                      <a:lnTo>
                        <a:pt x="4" y="236"/>
                      </a:lnTo>
                      <a:lnTo>
                        <a:pt x="0" y="238"/>
                      </a:lnTo>
                      <a:lnTo>
                        <a:pt x="2" y="240"/>
                      </a:lnTo>
                      <a:lnTo>
                        <a:pt x="4" y="244"/>
                      </a:lnTo>
                      <a:lnTo>
                        <a:pt x="8" y="246"/>
                      </a:lnTo>
                      <a:lnTo>
                        <a:pt x="10" y="249"/>
                      </a:lnTo>
                      <a:lnTo>
                        <a:pt x="15" y="249"/>
                      </a:lnTo>
                      <a:lnTo>
                        <a:pt x="21" y="249"/>
                      </a:lnTo>
                      <a:lnTo>
                        <a:pt x="26" y="249"/>
                      </a:lnTo>
                      <a:lnTo>
                        <a:pt x="32" y="249"/>
                      </a:lnTo>
                      <a:lnTo>
                        <a:pt x="34" y="242"/>
                      </a:lnTo>
                      <a:lnTo>
                        <a:pt x="35" y="233"/>
                      </a:lnTo>
                      <a:lnTo>
                        <a:pt x="39" y="225"/>
                      </a:lnTo>
                      <a:lnTo>
                        <a:pt x="41" y="218"/>
                      </a:lnTo>
                      <a:close/>
                      <a:moveTo>
                        <a:pt x="294" y="188"/>
                      </a:moveTo>
                      <a:lnTo>
                        <a:pt x="292" y="188"/>
                      </a:lnTo>
                      <a:lnTo>
                        <a:pt x="290" y="188"/>
                      </a:lnTo>
                      <a:lnTo>
                        <a:pt x="290" y="192"/>
                      </a:lnTo>
                      <a:lnTo>
                        <a:pt x="290" y="194"/>
                      </a:lnTo>
                      <a:lnTo>
                        <a:pt x="292" y="194"/>
                      </a:lnTo>
                      <a:lnTo>
                        <a:pt x="294" y="194"/>
                      </a:lnTo>
                      <a:lnTo>
                        <a:pt x="294" y="190"/>
                      </a:lnTo>
                      <a:lnTo>
                        <a:pt x="294" y="188"/>
                      </a:lnTo>
                      <a:close/>
                      <a:moveTo>
                        <a:pt x="672" y="177"/>
                      </a:moveTo>
                      <a:lnTo>
                        <a:pt x="670" y="177"/>
                      </a:lnTo>
                      <a:lnTo>
                        <a:pt x="668" y="177"/>
                      </a:lnTo>
                      <a:lnTo>
                        <a:pt x="668" y="179"/>
                      </a:lnTo>
                      <a:lnTo>
                        <a:pt x="668" y="181"/>
                      </a:lnTo>
                      <a:lnTo>
                        <a:pt x="670" y="181"/>
                      </a:lnTo>
                      <a:lnTo>
                        <a:pt x="672" y="181"/>
                      </a:lnTo>
                      <a:lnTo>
                        <a:pt x="672" y="179"/>
                      </a:lnTo>
                      <a:lnTo>
                        <a:pt x="672" y="177"/>
                      </a:lnTo>
                      <a:close/>
                      <a:moveTo>
                        <a:pt x="674" y="0"/>
                      </a:moveTo>
                      <a:lnTo>
                        <a:pt x="667" y="0"/>
                      </a:lnTo>
                      <a:lnTo>
                        <a:pt x="661" y="0"/>
                      </a:lnTo>
                      <a:lnTo>
                        <a:pt x="657" y="0"/>
                      </a:lnTo>
                      <a:lnTo>
                        <a:pt x="654" y="2"/>
                      </a:lnTo>
                      <a:lnTo>
                        <a:pt x="650" y="2"/>
                      </a:lnTo>
                      <a:lnTo>
                        <a:pt x="646" y="4"/>
                      </a:lnTo>
                      <a:lnTo>
                        <a:pt x="643" y="4"/>
                      </a:lnTo>
                      <a:lnTo>
                        <a:pt x="639" y="6"/>
                      </a:lnTo>
                      <a:lnTo>
                        <a:pt x="635" y="8"/>
                      </a:lnTo>
                      <a:lnTo>
                        <a:pt x="635" y="17"/>
                      </a:lnTo>
                      <a:lnTo>
                        <a:pt x="637" y="26"/>
                      </a:lnTo>
                      <a:lnTo>
                        <a:pt x="639" y="35"/>
                      </a:lnTo>
                      <a:lnTo>
                        <a:pt x="641" y="45"/>
                      </a:lnTo>
                      <a:lnTo>
                        <a:pt x="650" y="43"/>
                      </a:lnTo>
                      <a:lnTo>
                        <a:pt x="659" y="41"/>
                      </a:lnTo>
                      <a:lnTo>
                        <a:pt x="668" y="39"/>
                      </a:lnTo>
                      <a:lnTo>
                        <a:pt x="676" y="37"/>
                      </a:lnTo>
                      <a:lnTo>
                        <a:pt x="681" y="37"/>
                      </a:lnTo>
                      <a:lnTo>
                        <a:pt x="685" y="35"/>
                      </a:lnTo>
                      <a:lnTo>
                        <a:pt x="689" y="33"/>
                      </a:lnTo>
                      <a:lnTo>
                        <a:pt x="692" y="30"/>
                      </a:lnTo>
                      <a:lnTo>
                        <a:pt x="696" y="28"/>
                      </a:lnTo>
                      <a:lnTo>
                        <a:pt x="700" y="26"/>
                      </a:lnTo>
                      <a:lnTo>
                        <a:pt x="703" y="22"/>
                      </a:lnTo>
                      <a:lnTo>
                        <a:pt x="707" y="19"/>
                      </a:lnTo>
                      <a:lnTo>
                        <a:pt x="705" y="15"/>
                      </a:lnTo>
                      <a:lnTo>
                        <a:pt x="705" y="15"/>
                      </a:lnTo>
                      <a:lnTo>
                        <a:pt x="703" y="9"/>
                      </a:lnTo>
                      <a:lnTo>
                        <a:pt x="702" y="6"/>
                      </a:lnTo>
                      <a:lnTo>
                        <a:pt x="700" y="2"/>
                      </a:lnTo>
                      <a:lnTo>
                        <a:pt x="691" y="2"/>
                      </a:lnTo>
                      <a:lnTo>
                        <a:pt x="681" y="0"/>
                      </a:lnTo>
                      <a:lnTo>
                        <a:pt x="681" y="0"/>
                      </a:lnTo>
                      <a:lnTo>
                        <a:pt x="67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5" name="Freeform 3079"/>
                <p:cNvSpPr>
                  <a:spLocks/>
                </p:cNvSpPr>
                <p:nvPr/>
              </p:nvSpPr>
              <p:spPr bwMode="auto">
                <a:xfrm>
                  <a:off x="3623" y="1242"/>
                  <a:ext cx="11" cy="9"/>
                </a:xfrm>
                <a:custGeom>
                  <a:avLst/>
                  <a:gdLst>
                    <a:gd name="T0" fmla="*/ 7 w 11"/>
                    <a:gd name="T1" fmla="*/ 0 h 9"/>
                    <a:gd name="T2" fmla="*/ 4 w 11"/>
                    <a:gd name="T3" fmla="*/ 6 h 9"/>
                    <a:gd name="T4" fmla="*/ 0 w 11"/>
                    <a:gd name="T5" fmla="*/ 9 h 9"/>
                    <a:gd name="T6" fmla="*/ 2 w 11"/>
                    <a:gd name="T7" fmla="*/ 9 h 9"/>
                    <a:gd name="T8" fmla="*/ 5 w 11"/>
                    <a:gd name="T9" fmla="*/ 7 h 9"/>
                    <a:gd name="T10" fmla="*/ 9 w 11"/>
                    <a:gd name="T11" fmla="*/ 6 h 9"/>
                    <a:gd name="T12" fmla="*/ 9 w 11"/>
                    <a:gd name="T13" fmla="*/ 6 h 9"/>
                    <a:gd name="T14" fmla="*/ 11 w 11"/>
                    <a:gd name="T15" fmla="*/ 6 h 9"/>
                    <a:gd name="T16" fmla="*/ 9 w 11"/>
                    <a:gd name="T17" fmla="*/ 2 h 9"/>
                    <a:gd name="T18" fmla="*/ 7 w 11"/>
                    <a:gd name="T1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9">
                      <a:moveTo>
                        <a:pt x="7" y="0"/>
                      </a:moveTo>
                      <a:lnTo>
                        <a:pt x="4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7"/>
                      </a:lnTo>
                      <a:lnTo>
                        <a:pt x="9" y="6"/>
                      </a:lnTo>
                      <a:lnTo>
                        <a:pt x="9" y="6"/>
                      </a:lnTo>
                      <a:lnTo>
                        <a:pt x="11" y="6"/>
                      </a:lnTo>
                      <a:lnTo>
                        <a:pt x="9" y="2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6" name="Freeform 3080"/>
                <p:cNvSpPr>
                  <a:spLocks/>
                </p:cNvSpPr>
                <p:nvPr/>
              </p:nvSpPr>
              <p:spPr bwMode="auto">
                <a:xfrm>
                  <a:off x="3676" y="1236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7" name="Freeform 3081"/>
                <p:cNvSpPr>
                  <a:spLocks/>
                </p:cNvSpPr>
                <p:nvPr/>
              </p:nvSpPr>
              <p:spPr bwMode="auto">
                <a:xfrm>
                  <a:off x="3414" y="1183"/>
                  <a:ext cx="41" cy="31"/>
                </a:xfrm>
                <a:custGeom>
                  <a:avLst/>
                  <a:gdLst>
                    <a:gd name="T0" fmla="*/ 41 w 41"/>
                    <a:gd name="T1" fmla="*/ 0 h 31"/>
                    <a:gd name="T2" fmla="*/ 34 w 41"/>
                    <a:gd name="T3" fmla="*/ 0 h 31"/>
                    <a:gd name="T4" fmla="*/ 24 w 41"/>
                    <a:gd name="T5" fmla="*/ 2 h 31"/>
                    <a:gd name="T6" fmla="*/ 15 w 41"/>
                    <a:gd name="T7" fmla="*/ 4 h 31"/>
                    <a:gd name="T8" fmla="*/ 6 w 41"/>
                    <a:gd name="T9" fmla="*/ 4 h 31"/>
                    <a:gd name="T10" fmla="*/ 8 w 41"/>
                    <a:gd name="T11" fmla="*/ 6 h 31"/>
                    <a:gd name="T12" fmla="*/ 8 w 41"/>
                    <a:gd name="T13" fmla="*/ 9 h 31"/>
                    <a:gd name="T14" fmla="*/ 10 w 41"/>
                    <a:gd name="T15" fmla="*/ 13 h 31"/>
                    <a:gd name="T16" fmla="*/ 11 w 41"/>
                    <a:gd name="T17" fmla="*/ 17 h 31"/>
                    <a:gd name="T18" fmla="*/ 10 w 41"/>
                    <a:gd name="T19" fmla="*/ 17 h 31"/>
                    <a:gd name="T20" fmla="*/ 4 w 41"/>
                    <a:gd name="T21" fmla="*/ 18 h 31"/>
                    <a:gd name="T22" fmla="*/ 0 w 41"/>
                    <a:gd name="T23" fmla="*/ 20 h 31"/>
                    <a:gd name="T24" fmla="*/ 2 w 41"/>
                    <a:gd name="T25" fmla="*/ 22 h 31"/>
                    <a:gd name="T26" fmla="*/ 4 w 41"/>
                    <a:gd name="T27" fmla="*/ 26 h 31"/>
                    <a:gd name="T28" fmla="*/ 8 w 41"/>
                    <a:gd name="T29" fmla="*/ 28 h 31"/>
                    <a:gd name="T30" fmla="*/ 10 w 41"/>
                    <a:gd name="T31" fmla="*/ 31 h 31"/>
                    <a:gd name="T32" fmla="*/ 15 w 41"/>
                    <a:gd name="T33" fmla="*/ 31 h 31"/>
                    <a:gd name="T34" fmla="*/ 21 w 41"/>
                    <a:gd name="T35" fmla="*/ 31 h 31"/>
                    <a:gd name="T36" fmla="*/ 26 w 41"/>
                    <a:gd name="T37" fmla="*/ 31 h 31"/>
                    <a:gd name="T38" fmla="*/ 32 w 41"/>
                    <a:gd name="T39" fmla="*/ 31 h 31"/>
                    <a:gd name="T40" fmla="*/ 34 w 41"/>
                    <a:gd name="T41" fmla="*/ 24 h 31"/>
                    <a:gd name="T42" fmla="*/ 35 w 41"/>
                    <a:gd name="T43" fmla="*/ 15 h 31"/>
                    <a:gd name="T44" fmla="*/ 39 w 41"/>
                    <a:gd name="T45" fmla="*/ 7 h 31"/>
                    <a:gd name="T46" fmla="*/ 41 w 41"/>
                    <a:gd name="T47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1" h="31">
                      <a:moveTo>
                        <a:pt x="41" y="0"/>
                      </a:moveTo>
                      <a:lnTo>
                        <a:pt x="34" y="0"/>
                      </a:lnTo>
                      <a:lnTo>
                        <a:pt x="24" y="2"/>
                      </a:lnTo>
                      <a:lnTo>
                        <a:pt x="15" y="4"/>
                      </a:lnTo>
                      <a:lnTo>
                        <a:pt x="6" y="4"/>
                      </a:lnTo>
                      <a:lnTo>
                        <a:pt x="8" y="6"/>
                      </a:lnTo>
                      <a:lnTo>
                        <a:pt x="8" y="9"/>
                      </a:lnTo>
                      <a:lnTo>
                        <a:pt x="10" y="13"/>
                      </a:lnTo>
                      <a:lnTo>
                        <a:pt x="11" y="17"/>
                      </a:lnTo>
                      <a:lnTo>
                        <a:pt x="10" y="17"/>
                      </a:lnTo>
                      <a:lnTo>
                        <a:pt x="4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4" y="26"/>
                      </a:lnTo>
                      <a:lnTo>
                        <a:pt x="8" y="28"/>
                      </a:lnTo>
                      <a:lnTo>
                        <a:pt x="10" y="31"/>
                      </a:lnTo>
                      <a:lnTo>
                        <a:pt x="15" y="31"/>
                      </a:lnTo>
                      <a:lnTo>
                        <a:pt x="21" y="31"/>
                      </a:lnTo>
                      <a:lnTo>
                        <a:pt x="26" y="31"/>
                      </a:lnTo>
                      <a:lnTo>
                        <a:pt x="32" y="31"/>
                      </a:lnTo>
                      <a:lnTo>
                        <a:pt x="34" y="24"/>
                      </a:lnTo>
                      <a:lnTo>
                        <a:pt x="35" y="15"/>
                      </a:lnTo>
                      <a:lnTo>
                        <a:pt x="39" y="7"/>
                      </a:lnTo>
                      <a:lnTo>
                        <a:pt x="4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8" name="Freeform 3082"/>
                <p:cNvSpPr>
                  <a:spLocks/>
                </p:cNvSpPr>
                <p:nvPr/>
              </p:nvSpPr>
              <p:spPr bwMode="auto">
                <a:xfrm>
                  <a:off x="3704" y="1153"/>
                  <a:ext cx="4" cy="6"/>
                </a:xfrm>
                <a:custGeom>
                  <a:avLst/>
                  <a:gdLst>
                    <a:gd name="T0" fmla="*/ 4 w 4"/>
                    <a:gd name="T1" fmla="*/ 0 h 6"/>
                    <a:gd name="T2" fmla="*/ 2 w 4"/>
                    <a:gd name="T3" fmla="*/ 0 h 6"/>
                    <a:gd name="T4" fmla="*/ 0 w 4"/>
                    <a:gd name="T5" fmla="*/ 0 h 6"/>
                    <a:gd name="T6" fmla="*/ 0 w 4"/>
                    <a:gd name="T7" fmla="*/ 4 h 6"/>
                    <a:gd name="T8" fmla="*/ 0 w 4"/>
                    <a:gd name="T9" fmla="*/ 6 h 6"/>
                    <a:gd name="T10" fmla="*/ 2 w 4"/>
                    <a:gd name="T11" fmla="*/ 6 h 6"/>
                    <a:gd name="T12" fmla="*/ 4 w 4"/>
                    <a:gd name="T13" fmla="*/ 6 h 6"/>
                    <a:gd name="T14" fmla="*/ 4 w 4"/>
                    <a:gd name="T15" fmla="*/ 2 h 6"/>
                    <a:gd name="T16" fmla="*/ 4 w 4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6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69" name="Freeform 3083"/>
                <p:cNvSpPr>
                  <a:spLocks/>
                </p:cNvSpPr>
                <p:nvPr/>
              </p:nvSpPr>
              <p:spPr bwMode="auto">
                <a:xfrm>
                  <a:off x="4082" y="1142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0" name="Freeform 3084"/>
                <p:cNvSpPr>
                  <a:spLocks/>
                </p:cNvSpPr>
                <p:nvPr/>
              </p:nvSpPr>
              <p:spPr bwMode="auto">
                <a:xfrm>
                  <a:off x="4049" y="965"/>
                  <a:ext cx="72" cy="45"/>
                </a:xfrm>
                <a:custGeom>
                  <a:avLst/>
                  <a:gdLst>
                    <a:gd name="T0" fmla="*/ 39 w 72"/>
                    <a:gd name="T1" fmla="*/ 0 h 45"/>
                    <a:gd name="T2" fmla="*/ 32 w 72"/>
                    <a:gd name="T3" fmla="*/ 0 h 45"/>
                    <a:gd name="T4" fmla="*/ 26 w 72"/>
                    <a:gd name="T5" fmla="*/ 0 h 45"/>
                    <a:gd name="T6" fmla="*/ 22 w 72"/>
                    <a:gd name="T7" fmla="*/ 0 h 45"/>
                    <a:gd name="T8" fmla="*/ 19 w 72"/>
                    <a:gd name="T9" fmla="*/ 2 h 45"/>
                    <a:gd name="T10" fmla="*/ 15 w 72"/>
                    <a:gd name="T11" fmla="*/ 2 h 45"/>
                    <a:gd name="T12" fmla="*/ 11 w 72"/>
                    <a:gd name="T13" fmla="*/ 4 h 45"/>
                    <a:gd name="T14" fmla="*/ 8 w 72"/>
                    <a:gd name="T15" fmla="*/ 4 h 45"/>
                    <a:gd name="T16" fmla="*/ 4 w 72"/>
                    <a:gd name="T17" fmla="*/ 6 h 45"/>
                    <a:gd name="T18" fmla="*/ 0 w 72"/>
                    <a:gd name="T19" fmla="*/ 8 h 45"/>
                    <a:gd name="T20" fmla="*/ 0 w 72"/>
                    <a:gd name="T21" fmla="*/ 17 h 45"/>
                    <a:gd name="T22" fmla="*/ 2 w 72"/>
                    <a:gd name="T23" fmla="*/ 26 h 45"/>
                    <a:gd name="T24" fmla="*/ 4 w 72"/>
                    <a:gd name="T25" fmla="*/ 35 h 45"/>
                    <a:gd name="T26" fmla="*/ 6 w 72"/>
                    <a:gd name="T27" fmla="*/ 45 h 45"/>
                    <a:gd name="T28" fmla="*/ 15 w 72"/>
                    <a:gd name="T29" fmla="*/ 43 h 45"/>
                    <a:gd name="T30" fmla="*/ 24 w 72"/>
                    <a:gd name="T31" fmla="*/ 41 h 45"/>
                    <a:gd name="T32" fmla="*/ 33 w 72"/>
                    <a:gd name="T33" fmla="*/ 39 h 45"/>
                    <a:gd name="T34" fmla="*/ 41 w 72"/>
                    <a:gd name="T35" fmla="*/ 37 h 45"/>
                    <a:gd name="T36" fmla="*/ 46 w 72"/>
                    <a:gd name="T37" fmla="*/ 37 h 45"/>
                    <a:gd name="T38" fmla="*/ 50 w 72"/>
                    <a:gd name="T39" fmla="*/ 35 h 45"/>
                    <a:gd name="T40" fmla="*/ 54 w 72"/>
                    <a:gd name="T41" fmla="*/ 33 h 45"/>
                    <a:gd name="T42" fmla="*/ 57 w 72"/>
                    <a:gd name="T43" fmla="*/ 30 h 45"/>
                    <a:gd name="T44" fmla="*/ 61 w 72"/>
                    <a:gd name="T45" fmla="*/ 28 h 45"/>
                    <a:gd name="T46" fmla="*/ 65 w 72"/>
                    <a:gd name="T47" fmla="*/ 26 h 45"/>
                    <a:gd name="T48" fmla="*/ 68 w 72"/>
                    <a:gd name="T49" fmla="*/ 22 h 45"/>
                    <a:gd name="T50" fmla="*/ 72 w 72"/>
                    <a:gd name="T51" fmla="*/ 19 h 45"/>
                    <a:gd name="T52" fmla="*/ 70 w 72"/>
                    <a:gd name="T53" fmla="*/ 15 h 45"/>
                    <a:gd name="T54" fmla="*/ 70 w 72"/>
                    <a:gd name="T55" fmla="*/ 15 h 45"/>
                    <a:gd name="T56" fmla="*/ 68 w 72"/>
                    <a:gd name="T57" fmla="*/ 9 h 45"/>
                    <a:gd name="T58" fmla="*/ 67 w 72"/>
                    <a:gd name="T59" fmla="*/ 6 h 45"/>
                    <a:gd name="T60" fmla="*/ 65 w 72"/>
                    <a:gd name="T61" fmla="*/ 2 h 45"/>
                    <a:gd name="T62" fmla="*/ 56 w 72"/>
                    <a:gd name="T63" fmla="*/ 2 h 45"/>
                    <a:gd name="T64" fmla="*/ 46 w 72"/>
                    <a:gd name="T65" fmla="*/ 0 h 45"/>
                    <a:gd name="T66" fmla="*/ 46 w 72"/>
                    <a:gd name="T67" fmla="*/ 0 h 45"/>
                    <a:gd name="T68" fmla="*/ 39 w 72"/>
                    <a:gd name="T6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2" h="45">
                      <a:moveTo>
                        <a:pt x="39" y="0"/>
                      </a:move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2" y="0"/>
                      </a:lnTo>
                      <a:lnTo>
                        <a:pt x="19" y="2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8" y="4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17"/>
                      </a:lnTo>
                      <a:lnTo>
                        <a:pt x="2" y="26"/>
                      </a:lnTo>
                      <a:lnTo>
                        <a:pt x="4" y="35"/>
                      </a:lnTo>
                      <a:lnTo>
                        <a:pt x="6" y="45"/>
                      </a:lnTo>
                      <a:lnTo>
                        <a:pt x="15" y="43"/>
                      </a:lnTo>
                      <a:lnTo>
                        <a:pt x="24" y="41"/>
                      </a:lnTo>
                      <a:lnTo>
                        <a:pt x="33" y="39"/>
                      </a:lnTo>
                      <a:lnTo>
                        <a:pt x="41" y="37"/>
                      </a:lnTo>
                      <a:lnTo>
                        <a:pt x="46" y="37"/>
                      </a:lnTo>
                      <a:lnTo>
                        <a:pt x="50" y="35"/>
                      </a:lnTo>
                      <a:lnTo>
                        <a:pt x="54" y="33"/>
                      </a:lnTo>
                      <a:lnTo>
                        <a:pt x="57" y="30"/>
                      </a:lnTo>
                      <a:lnTo>
                        <a:pt x="61" y="28"/>
                      </a:lnTo>
                      <a:lnTo>
                        <a:pt x="65" y="26"/>
                      </a:lnTo>
                      <a:lnTo>
                        <a:pt x="68" y="22"/>
                      </a:lnTo>
                      <a:lnTo>
                        <a:pt x="72" y="19"/>
                      </a:lnTo>
                      <a:lnTo>
                        <a:pt x="70" y="15"/>
                      </a:lnTo>
                      <a:lnTo>
                        <a:pt x="70" y="15"/>
                      </a:lnTo>
                      <a:lnTo>
                        <a:pt x="68" y="9"/>
                      </a:lnTo>
                      <a:lnTo>
                        <a:pt x="67" y="6"/>
                      </a:lnTo>
                      <a:lnTo>
                        <a:pt x="65" y="2"/>
                      </a:lnTo>
                      <a:lnTo>
                        <a:pt x="56" y="2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3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1" name="Rectangle 3085"/>
                <p:cNvSpPr>
                  <a:spLocks noChangeArrowheads="1"/>
                </p:cNvSpPr>
                <p:nvPr/>
              </p:nvSpPr>
              <p:spPr bwMode="auto">
                <a:xfrm>
                  <a:off x="4117" y="677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2" name="Rectangle 3086"/>
                <p:cNvSpPr>
                  <a:spLocks noChangeArrowheads="1"/>
                </p:cNvSpPr>
                <p:nvPr/>
              </p:nvSpPr>
              <p:spPr bwMode="auto">
                <a:xfrm>
                  <a:off x="4117" y="677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3" name="Freeform 3087"/>
                <p:cNvSpPr>
                  <a:spLocks noEditPoints="1"/>
                </p:cNvSpPr>
                <p:nvPr/>
              </p:nvSpPr>
              <p:spPr bwMode="auto">
                <a:xfrm>
                  <a:off x="4117" y="672"/>
                  <a:ext cx="13" cy="5"/>
                </a:xfrm>
                <a:custGeom>
                  <a:avLst/>
                  <a:gdLst>
                    <a:gd name="T0" fmla="*/ 0 w 13"/>
                    <a:gd name="T1" fmla="*/ 2 h 5"/>
                    <a:gd name="T2" fmla="*/ 0 w 13"/>
                    <a:gd name="T3" fmla="*/ 2 h 5"/>
                    <a:gd name="T4" fmla="*/ 6 w 13"/>
                    <a:gd name="T5" fmla="*/ 2 h 5"/>
                    <a:gd name="T6" fmla="*/ 12 w 13"/>
                    <a:gd name="T7" fmla="*/ 2 h 5"/>
                    <a:gd name="T8" fmla="*/ 12 w 13"/>
                    <a:gd name="T9" fmla="*/ 2 h 5"/>
                    <a:gd name="T10" fmla="*/ 12 w 13"/>
                    <a:gd name="T11" fmla="*/ 5 h 5"/>
                    <a:gd name="T12" fmla="*/ 6 w 13"/>
                    <a:gd name="T13" fmla="*/ 5 h 5"/>
                    <a:gd name="T14" fmla="*/ 0 w 13"/>
                    <a:gd name="T15" fmla="*/ 5 h 5"/>
                    <a:gd name="T16" fmla="*/ 0 w 13"/>
                    <a:gd name="T17" fmla="*/ 3 h 5"/>
                    <a:gd name="T18" fmla="*/ 0 w 13"/>
                    <a:gd name="T19" fmla="*/ 2 h 5"/>
                    <a:gd name="T20" fmla="*/ 13 w 13"/>
                    <a:gd name="T21" fmla="*/ 0 h 5"/>
                    <a:gd name="T22" fmla="*/ 6 w 13"/>
                    <a:gd name="T23" fmla="*/ 0 h 5"/>
                    <a:gd name="T24" fmla="*/ 0 w 13"/>
                    <a:gd name="T25" fmla="*/ 0 h 5"/>
                    <a:gd name="T26" fmla="*/ 0 w 13"/>
                    <a:gd name="T27" fmla="*/ 0 h 5"/>
                    <a:gd name="T28" fmla="*/ 0 w 13"/>
                    <a:gd name="T29" fmla="*/ 3 h 5"/>
                    <a:gd name="T30" fmla="*/ 0 w 13"/>
                    <a:gd name="T31" fmla="*/ 5 h 5"/>
                    <a:gd name="T32" fmla="*/ 0 w 13"/>
                    <a:gd name="T33" fmla="*/ 5 h 5"/>
                    <a:gd name="T34" fmla="*/ 0 w 13"/>
                    <a:gd name="T35" fmla="*/ 5 h 5"/>
                    <a:gd name="T36" fmla="*/ 6 w 13"/>
                    <a:gd name="T37" fmla="*/ 5 h 5"/>
                    <a:gd name="T38" fmla="*/ 12 w 13"/>
                    <a:gd name="T39" fmla="*/ 5 h 5"/>
                    <a:gd name="T40" fmla="*/ 13 w 13"/>
                    <a:gd name="T41" fmla="*/ 5 h 5"/>
                    <a:gd name="T42" fmla="*/ 13 w 13"/>
                    <a:gd name="T43" fmla="*/ 2 h 5"/>
                    <a:gd name="T44" fmla="*/ 13 w 13"/>
                    <a:gd name="T45" fmla="*/ 0 h 5"/>
                    <a:gd name="T46" fmla="*/ 13 w 13"/>
                    <a:gd name="T4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3" h="5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6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5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close/>
                      <a:moveTo>
                        <a:pt x="13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6" y="5"/>
                      </a:lnTo>
                      <a:lnTo>
                        <a:pt x="12" y="5"/>
                      </a:lnTo>
                      <a:lnTo>
                        <a:pt x="13" y="5"/>
                      </a:lnTo>
                      <a:lnTo>
                        <a:pt x="13" y="2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4" name="Freeform 3088"/>
                <p:cNvSpPr>
                  <a:spLocks/>
                </p:cNvSpPr>
                <p:nvPr/>
              </p:nvSpPr>
              <p:spPr bwMode="auto">
                <a:xfrm>
                  <a:off x="4117" y="674"/>
                  <a:ext cx="12" cy="3"/>
                </a:xfrm>
                <a:custGeom>
                  <a:avLst/>
                  <a:gdLst>
                    <a:gd name="T0" fmla="*/ 0 w 12"/>
                    <a:gd name="T1" fmla="*/ 0 h 3"/>
                    <a:gd name="T2" fmla="*/ 0 w 12"/>
                    <a:gd name="T3" fmla="*/ 0 h 3"/>
                    <a:gd name="T4" fmla="*/ 6 w 12"/>
                    <a:gd name="T5" fmla="*/ 0 h 3"/>
                    <a:gd name="T6" fmla="*/ 12 w 12"/>
                    <a:gd name="T7" fmla="*/ 0 h 3"/>
                    <a:gd name="T8" fmla="*/ 12 w 12"/>
                    <a:gd name="T9" fmla="*/ 0 h 3"/>
                    <a:gd name="T10" fmla="*/ 12 w 12"/>
                    <a:gd name="T11" fmla="*/ 3 h 3"/>
                    <a:gd name="T12" fmla="*/ 6 w 12"/>
                    <a:gd name="T13" fmla="*/ 3 h 3"/>
                    <a:gd name="T14" fmla="*/ 0 w 12"/>
                    <a:gd name="T15" fmla="*/ 3 h 3"/>
                    <a:gd name="T16" fmla="*/ 0 w 12"/>
                    <a:gd name="T17" fmla="*/ 1 h 3"/>
                    <a:gd name="T18" fmla="*/ 0 w 12"/>
                    <a:gd name="T1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3"/>
                      </a:lnTo>
                      <a:lnTo>
                        <a:pt x="6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5" name="Freeform 3089"/>
                <p:cNvSpPr>
                  <a:spLocks/>
                </p:cNvSpPr>
                <p:nvPr/>
              </p:nvSpPr>
              <p:spPr bwMode="auto">
                <a:xfrm>
                  <a:off x="4117" y="672"/>
                  <a:ext cx="13" cy="5"/>
                </a:xfrm>
                <a:custGeom>
                  <a:avLst/>
                  <a:gdLst>
                    <a:gd name="T0" fmla="*/ 13 w 13"/>
                    <a:gd name="T1" fmla="*/ 0 h 5"/>
                    <a:gd name="T2" fmla="*/ 6 w 13"/>
                    <a:gd name="T3" fmla="*/ 0 h 5"/>
                    <a:gd name="T4" fmla="*/ 0 w 13"/>
                    <a:gd name="T5" fmla="*/ 0 h 5"/>
                    <a:gd name="T6" fmla="*/ 0 w 13"/>
                    <a:gd name="T7" fmla="*/ 0 h 5"/>
                    <a:gd name="T8" fmla="*/ 0 w 13"/>
                    <a:gd name="T9" fmla="*/ 3 h 5"/>
                    <a:gd name="T10" fmla="*/ 0 w 13"/>
                    <a:gd name="T11" fmla="*/ 5 h 5"/>
                    <a:gd name="T12" fmla="*/ 0 w 13"/>
                    <a:gd name="T13" fmla="*/ 5 h 5"/>
                    <a:gd name="T14" fmla="*/ 0 w 13"/>
                    <a:gd name="T15" fmla="*/ 5 h 5"/>
                    <a:gd name="T16" fmla="*/ 6 w 13"/>
                    <a:gd name="T17" fmla="*/ 5 h 5"/>
                    <a:gd name="T18" fmla="*/ 12 w 13"/>
                    <a:gd name="T19" fmla="*/ 5 h 5"/>
                    <a:gd name="T20" fmla="*/ 13 w 13"/>
                    <a:gd name="T21" fmla="*/ 5 h 5"/>
                    <a:gd name="T22" fmla="*/ 13 w 13"/>
                    <a:gd name="T23" fmla="*/ 2 h 5"/>
                    <a:gd name="T24" fmla="*/ 13 w 13"/>
                    <a:gd name="T25" fmla="*/ 0 h 5"/>
                    <a:gd name="T26" fmla="*/ 13 w 13"/>
                    <a:gd name="T2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5">
                      <a:moveTo>
                        <a:pt x="13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6" y="5"/>
                      </a:lnTo>
                      <a:lnTo>
                        <a:pt x="12" y="5"/>
                      </a:lnTo>
                      <a:lnTo>
                        <a:pt x="13" y="5"/>
                      </a:lnTo>
                      <a:lnTo>
                        <a:pt x="13" y="2"/>
                      </a:lnTo>
                      <a:lnTo>
                        <a:pt x="13" y="0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6" name="Freeform 3090"/>
                <p:cNvSpPr>
                  <a:spLocks/>
                </p:cNvSpPr>
                <p:nvPr/>
              </p:nvSpPr>
              <p:spPr bwMode="auto">
                <a:xfrm>
                  <a:off x="4029" y="698"/>
                  <a:ext cx="2" cy="9"/>
                </a:xfrm>
                <a:custGeom>
                  <a:avLst/>
                  <a:gdLst>
                    <a:gd name="T0" fmla="*/ 2 w 2"/>
                    <a:gd name="T1" fmla="*/ 0 h 9"/>
                    <a:gd name="T2" fmla="*/ 2 w 2"/>
                    <a:gd name="T3" fmla="*/ 3 h 9"/>
                    <a:gd name="T4" fmla="*/ 0 w 2"/>
                    <a:gd name="T5" fmla="*/ 7 h 9"/>
                    <a:gd name="T6" fmla="*/ 0 w 2"/>
                    <a:gd name="T7" fmla="*/ 9 h 9"/>
                    <a:gd name="T8" fmla="*/ 2 w 2"/>
                    <a:gd name="T9" fmla="*/ 7 h 9"/>
                    <a:gd name="T10" fmla="*/ 0 w 2"/>
                    <a:gd name="T11" fmla="*/ 7 h 9"/>
                    <a:gd name="T12" fmla="*/ 0 w 2"/>
                    <a:gd name="T13" fmla="*/ 7 h 9"/>
                    <a:gd name="T14" fmla="*/ 2 w 2"/>
                    <a:gd name="T15" fmla="*/ 3 h 9"/>
                    <a:gd name="T16" fmla="*/ 2 w 2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9">
                      <a:moveTo>
                        <a:pt x="2" y="0"/>
                      </a:move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2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7" name="Freeform 3091"/>
                <p:cNvSpPr>
                  <a:spLocks/>
                </p:cNvSpPr>
                <p:nvPr/>
              </p:nvSpPr>
              <p:spPr bwMode="auto">
                <a:xfrm>
                  <a:off x="4029" y="698"/>
                  <a:ext cx="2" cy="9"/>
                </a:xfrm>
                <a:custGeom>
                  <a:avLst/>
                  <a:gdLst>
                    <a:gd name="T0" fmla="*/ 2 w 2"/>
                    <a:gd name="T1" fmla="*/ 0 h 9"/>
                    <a:gd name="T2" fmla="*/ 2 w 2"/>
                    <a:gd name="T3" fmla="*/ 3 h 9"/>
                    <a:gd name="T4" fmla="*/ 0 w 2"/>
                    <a:gd name="T5" fmla="*/ 7 h 9"/>
                    <a:gd name="T6" fmla="*/ 0 w 2"/>
                    <a:gd name="T7" fmla="*/ 9 h 9"/>
                    <a:gd name="T8" fmla="*/ 2 w 2"/>
                    <a:gd name="T9" fmla="*/ 7 h 9"/>
                    <a:gd name="T10" fmla="*/ 0 w 2"/>
                    <a:gd name="T11" fmla="*/ 7 h 9"/>
                    <a:gd name="T12" fmla="*/ 0 w 2"/>
                    <a:gd name="T13" fmla="*/ 7 h 9"/>
                    <a:gd name="T14" fmla="*/ 2 w 2"/>
                    <a:gd name="T15" fmla="*/ 3 h 9"/>
                    <a:gd name="T16" fmla="*/ 2 w 2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9">
                      <a:moveTo>
                        <a:pt x="2" y="0"/>
                      </a:move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2" y="3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8" name="Freeform 3092"/>
                <p:cNvSpPr>
                  <a:spLocks noEditPoints="1"/>
                </p:cNvSpPr>
                <p:nvPr/>
              </p:nvSpPr>
              <p:spPr bwMode="auto">
                <a:xfrm>
                  <a:off x="4029" y="690"/>
                  <a:ext cx="15" cy="15"/>
                </a:xfrm>
                <a:custGeom>
                  <a:avLst/>
                  <a:gdLst>
                    <a:gd name="T0" fmla="*/ 2 w 15"/>
                    <a:gd name="T1" fmla="*/ 13 h 15"/>
                    <a:gd name="T2" fmla="*/ 2 w 15"/>
                    <a:gd name="T3" fmla="*/ 11 h 15"/>
                    <a:gd name="T4" fmla="*/ 4 w 15"/>
                    <a:gd name="T5" fmla="*/ 9 h 15"/>
                    <a:gd name="T6" fmla="*/ 4 w 15"/>
                    <a:gd name="T7" fmla="*/ 8 h 15"/>
                    <a:gd name="T8" fmla="*/ 5 w 15"/>
                    <a:gd name="T9" fmla="*/ 6 h 15"/>
                    <a:gd name="T10" fmla="*/ 5 w 15"/>
                    <a:gd name="T11" fmla="*/ 4 h 15"/>
                    <a:gd name="T12" fmla="*/ 7 w 15"/>
                    <a:gd name="T13" fmla="*/ 4 h 15"/>
                    <a:gd name="T14" fmla="*/ 9 w 15"/>
                    <a:gd name="T15" fmla="*/ 4 h 15"/>
                    <a:gd name="T16" fmla="*/ 9 w 15"/>
                    <a:gd name="T17" fmla="*/ 4 h 15"/>
                    <a:gd name="T18" fmla="*/ 11 w 15"/>
                    <a:gd name="T19" fmla="*/ 2 h 15"/>
                    <a:gd name="T20" fmla="*/ 11 w 15"/>
                    <a:gd name="T21" fmla="*/ 6 h 15"/>
                    <a:gd name="T22" fmla="*/ 11 w 15"/>
                    <a:gd name="T23" fmla="*/ 6 h 15"/>
                    <a:gd name="T24" fmla="*/ 13 w 15"/>
                    <a:gd name="T25" fmla="*/ 9 h 15"/>
                    <a:gd name="T26" fmla="*/ 9 w 15"/>
                    <a:gd name="T27" fmla="*/ 11 h 15"/>
                    <a:gd name="T28" fmla="*/ 9 w 15"/>
                    <a:gd name="T29" fmla="*/ 11 h 15"/>
                    <a:gd name="T30" fmla="*/ 7 w 15"/>
                    <a:gd name="T31" fmla="*/ 11 h 15"/>
                    <a:gd name="T32" fmla="*/ 4 w 15"/>
                    <a:gd name="T33" fmla="*/ 13 h 15"/>
                    <a:gd name="T34" fmla="*/ 2 w 15"/>
                    <a:gd name="T35" fmla="*/ 13 h 15"/>
                    <a:gd name="T36" fmla="*/ 13 w 15"/>
                    <a:gd name="T37" fmla="*/ 0 h 15"/>
                    <a:gd name="T38" fmla="*/ 9 w 15"/>
                    <a:gd name="T39" fmla="*/ 2 h 15"/>
                    <a:gd name="T40" fmla="*/ 7 w 15"/>
                    <a:gd name="T41" fmla="*/ 2 h 15"/>
                    <a:gd name="T42" fmla="*/ 5 w 15"/>
                    <a:gd name="T43" fmla="*/ 4 h 15"/>
                    <a:gd name="T44" fmla="*/ 5 w 15"/>
                    <a:gd name="T45" fmla="*/ 4 h 15"/>
                    <a:gd name="T46" fmla="*/ 4 w 15"/>
                    <a:gd name="T47" fmla="*/ 4 h 15"/>
                    <a:gd name="T48" fmla="*/ 4 w 15"/>
                    <a:gd name="T49" fmla="*/ 4 h 15"/>
                    <a:gd name="T50" fmla="*/ 2 w 15"/>
                    <a:gd name="T51" fmla="*/ 6 h 15"/>
                    <a:gd name="T52" fmla="*/ 2 w 15"/>
                    <a:gd name="T53" fmla="*/ 8 h 15"/>
                    <a:gd name="T54" fmla="*/ 2 w 15"/>
                    <a:gd name="T55" fmla="*/ 8 h 15"/>
                    <a:gd name="T56" fmla="*/ 2 w 15"/>
                    <a:gd name="T57" fmla="*/ 11 h 15"/>
                    <a:gd name="T58" fmla="*/ 0 w 15"/>
                    <a:gd name="T59" fmla="*/ 15 h 15"/>
                    <a:gd name="T60" fmla="*/ 0 w 15"/>
                    <a:gd name="T61" fmla="*/ 15 h 15"/>
                    <a:gd name="T62" fmla="*/ 2 w 15"/>
                    <a:gd name="T63" fmla="*/ 15 h 15"/>
                    <a:gd name="T64" fmla="*/ 4 w 15"/>
                    <a:gd name="T65" fmla="*/ 15 h 15"/>
                    <a:gd name="T66" fmla="*/ 7 w 15"/>
                    <a:gd name="T67" fmla="*/ 13 h 15"/>
                    <a:gd name="T68" fmla="*/ 11 w 15"/>
                    <a:gd name="T69" fmla="*/ 13 h 15"/>
                    <a:gd name="T70" fmla="*/ 13 w 15"/>
                    <a:gd name="T71" fmla="*/ 11 h 15"/>
                    <a:gd name="T72" fmla="*/ 15 w 15"/>
                    <a:gd name="T73" fmla="*/ 11 h 15"/>
                    <a:gd name="T74" fmla="*/ 13 w 15"/>
                    <a:gd name="T75" fmla="*/ 6 h 15"/>
                    <a:gd name="T76" fmla="*/ 13 w 15"/>
                    <a:gd name="T77" fmla="*/ 0 h 15"/>
                    <a:gd name="T78" fmla="*/ 13 w 15"/>
                    <a:gd name="T7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5" h="15">
                      <a:moveTo>
                        <a:pt x="2" y="13"/>
                      </a:moveTo>
                      <a:lnTo>
                        <a:pt x="2" y="11"/>
                      </a:lnTo>
                      <a:lnTo>
                        <a:pt x="4" y="9"/>
                      </a:lnTo>
                      <a:lnTo>
                        <a:pt x="4" y="8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11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13" y="9"/>
                      </a:lnTo>
                      <a:lnTo>
                        <a:pt x="9" y="11"/>
                      </a:lnTo>
                      <a:lnTo>
                        <a:pt x="9" y="11"/>
                      </a:lnTo>
                      <a:lnTo>
                        <a:pt x="7" y="11"/>
                      </a:lnTo>
                      <a:lnTo>
                        <a:pt x="4" y="13"/>
                      </a:lnTo>
                      <a:lnTo>
                        <a:pt x="2" y="13"/>
                      </a:lnTo>
                      <a:close/>
                      <a:moveTo>
                        <a:pt x="13" y="0"/>
                      </a:moveTo>
                      <a:lnTo>
                        <a:pt x="9" y="2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5"/>
                      </a:lnTo>
                      <a:lnTo>
                        <a:pt x="4" y="15"/>
                      </a:lnTo>
                      <a:lnTo>
                        <a:pt x="7" y="13"/>
                      </a:lnTo>
                      <a:lnTo>
                        <a:pt x="11" y="13"/>
                      </a:lnTo>
                      <a:lnTo>
                        <a:pt x="13" y="11"/>
                      </a:lnTo>
                      <a:lnTo>
                        <a:pt x="15" y="11"/>
                      </a:lnTo>
                      <a:lnTo>
                        <a:pt x="13" y="6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79" name="Freeform 3093"/>
                <p:cNvSpPr>
                  <a:spLocks/>
                </p:cNvSpPr>
                <p:nvPr/>
              </p:nvSpPr>
              <p:spPr bwMode="auto">
                <a:xfrm>
                  <a:off x="4031" y="692"/>
                  <a:ext cx="11" cy="11"/>
                </a:xfrm>
                <a:custGeom>
                  <a:avLst/>
                  <a:gdLst>
                    <a:gd name="T0" fmla="*/ 0 w 11"/>
                    <a:gd name="T1" fmla="*/ 11 h 11"/>
                    <a:gd name="T2" fmla="*/ 0 w 11"/>
                    <a:gd name="T3" fmla="*/ 9 h 11"/>
                    <a:gd name="T4" fmla="*/ 2 w 11"/>
                    <a:gd name="T5" fmla="*/ 7 h 11"/>
                    <a:gd name="T6" fmla="*/ 2 w 11"/>
                    <a:gd name="T7" fmla="*/ 6 h 11"/>
                    <a:gd name="T8" fmla="*/ 3 w 11"/>
                    <a:gd name="T9" fmla="*/ 4 h 11"/>
                    <a:gd name="T10" fmla="*/ 3 w 11"/>
                    <a:gd name="T11" fmla="*/ 2 h 11"/>
                    <a:gd name="T12" fmla="*/ 5 w 11"/>
                    <a:gd name="T13" fmla="*/ 2 h 11"/>
                    <a:gd name="T14" fmla="*/ 7 w 11"/>
                    <a:gd name="T15" fmla="*/ 2 h 11"/>
                    <a:gd name="T16" fmla="*/ 7 w 11"/>
                    <a:gd name="T17" fmla="*/ 2 h 11"/>
                    <a:gd name="T18" fmla="*/ 9 w 11"/>
                    <a:gd name="T19" fmla="*/ 0 h 11"/>
                    <a:gd name="T20" fmla="*/ 9 w 11"/>
                    <a:gd name="T21" fmla="*/ 4 h 11"/>
                    <a:gd name="T22" fmla="*/ 9 w 11"/>
                    <a:gd name="T23" fmla="*/ 4 h 11"/>
                    <a:gd name="T24" fmla="*/ 11 w 11"/>
                    <a:gd name="T25" fmla="*/ 7 h 11"/>
                    <a:gd name="T26" fmla="*/ 7 w 11"/>
                    <a:gd name="T27" fmla="*/ 9 h 11"/>
                    <a:gd name="T28" fmla="*/ 7 w 11"/>
                    <a:gd name="T29" fmla="*/ 9 h 11"/>
                    <a:gd name="T30" fmla="*/ 5 w 11"/>
                    <a:gd name="T31" fmla="*/ 9 h 11"/>
                    <a:gd name="T32" fmla="*/ 2 w 11"/>
                    <a:gd name="T33" fmla="*/ 11 h 11"/>
                    <a:gd name="T34" fmla="*/ 0 w 11"/>
                    <a:gd name="T3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11">
                      <a:moveTo>
                        <a:pt x="0" y="11"/>
                      </a:move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5" y="9"/>
                      </a:lnTo>
                      <a:lnTo>
                        <a:pt x="2" y="11"/>
                      </a:lnTo>
                      <a:lnTo>
                        <a:pt x="0" y="1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0" name="Freeform 3094"/>
                <p:cNvSpPr>
                  <a:spLocks/>
                </p:cNvSpPr>
                <p:nvPr/>
              </p:nvSpPr>
              <p:spPr bwMode="auto">
                <a:xfrm>
                  <a:off x="4029" y="690"/>
                  <a:ext cx="15" cy="15"/>
                </a:xfrm>
                <a:custGeom>
                  <a:avLst/>
                  <a:gdLst>
                    <a:gd name="T0" fmla="*/ 13 w 15"/>
                    <a:gd name="T1" fmla="*/ 0 h 15"/>
                    <a:gd name="T2" fmla="*/ 9 w 15"/>
                    <a:gd name="T3" fmla="*/ 2 h 15"/>
                    <a:gd name="T4" fmla="*/ 7 w 15"/>
                    <a:gd name="T5" fmla="*/ 2 h 15"/>
                    <a:gd name="T6" fmla="*/ 5 w 15"/>
                    <a:gd name="T7" fmla="*/ 4 h 15"/>
                    <a:gd name="T8" fmla="*/ 5 w 15"/>
                    <a:gd name="T9" fmla="*/ 4 h 15"/>
                    <a:gd name="T10" fmla="*/ 4 w 15"/>
                    <a:gd name="T11" fmla="*/ 4 h 15"/>
                    <a:gd name="T12" fmla="*/ 4 w 15"/>
                    <a:gd name="T13" fmla="*/ 4 h 15"/>
                    <a:gd name="T14" fmla="*/ 2 w 15"/>
                    <a:gd name="T15" fmla="*/ 6 h 15"/>
                    <a:gd name="T16" fmla="*/ 2 w 15"/>
                    <a:gd name="T17" fmla="*/ 8 h 15"/>
                    <a:gd name="T18" fmla="*/ 2 w 15"/>
                    <a:gd name="T19" fmla="*/ 8 h 15"/>
                    <a:gd name="T20" fmla="*/ 2 w 15"/>
                    <a:gd name="T21" fmla="*/ 11 h 15"/>
                    <a:gd name="T22" fmla="*/ 0 w 15"/>
                    <a:gd name="T23" fmla="*/ 15 h 15"/>
                    <a:gd name="T24" fmla="*/ 0 w 15"/>
                    <a:gd name="T25" fmla="*/ 15 h 15"/>
                    <a:gd name="T26" fmla="*/ 2 w 15"/>
                    <a:gd name="T27" fmla="*/ 15 h 15"/>
                    <a:gd name="T28" fmla="*/ 4 w 15"/>
                    <a:gd name="T29" fmla="*/ 15 h 15"/>
                    <a:gd name="T30" fmla="*/ 7 w 15"/>
                    <a:gd name="T31" fmla="*/ 13 h 15"/>
                    <a:gd name="T32" fmla="*/ 11 w 15"/>
                    <a:gd name="T33" fmla="*/ 13 h 15"/>
                    <a:gd name="T34" fmla="*/ 13 w 15"/>
                    <a:gd name="T35" fmla="*/ 11 h 15"/>
                    <a:gd name="T36" fmla="*/ 15 w 15"/>
                    <a:gd name="T37" fmla="*/ 11 h 15"/>
                    <a:gd name="T38" fmla="*/ 13 w 15"/>
                    <a:gd name="T39" fmla="*/ 6 h 15"/>
                    <a:gd name="T40" fmla="*/ 13 w 15"/>
                    <a:gd name="T41" fmla="*/ 0 h 15"/>
                    <a:gd name="T42" fmla="*/ 13 w 15"/>
                    <a:gd name="T4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5" h="15">
                      <a:moveTo>
                        <a:pt x="13" y="0"/>
                      </a:moveTo>
                      <a:lnTo>
                        <a:pt x="9" y="2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5"/>
                      </a:lnTo>
                      <a:lnTo>
                        <a:pt x="4" y="15"/>
                      </a:lnTo>
                      <a:lnTo>
                        <a:pt x="7" y="13"/>
                      </a:lnTo>
                      <a:lnTo>
                        <a:pt x="11" y="13"/>
                      </a:lnTo>
                      <a:lnTo>
                        <a:pt x="13" y="11"/>
                      </a:lnTo>
                      <a:lnTo>
                        <a:pt x="15" y="11"/>
                      </a:lnTo>
                      <a:lnTo>
                        <a:pt x="13" y="6"/>
                      </a:lnTo>
                      <a:lnTo>
                        <a:pt x="13" y="0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1" name="Freeform 3095"/>
                <p:cNvSpPr>
                  <a:spLocks noEditPoints="1"/>
                </p:cNvSpPr>
                <p:nvPr/>
              </p:nvSpPr>
              <p:spPr bwMode="auto">
                <a:xfrm>
                  <a:off x="4058" y="759"/>
                  <a:ext cx="100" cy="66"/>
                </a:xfrm>
                <a:custGeom>
                  <a:avLst/>
                  <a:gdLst>
                    <a:gd name="T0" fmla="*/ 61 w 100"/>
                    <a:gd name="T1" fmla="*/ 18 h 66"/>
                    <a:gd name="T2" fmla="*/ 78 w 100"/>
                    <a:gd name="T3" fmla="*/ 11 h 66"/>
                    <a:gd name="T4" fmla="*/ 95 w 100"/>
                    <a:gd name="T5" fmla="*/ 1 h 66"/>
                    <a:gd name="T6" fmla="*/ 98 w 100"/>
                    <a:gd name="T7" fmla="*/ 12 h 66"/>
                    <a:gd name="T8" fmla="*/ 98 w 100"/>
                    <a:gd name="T9" fmla="*/ 22 h 66"/>
                    <a:gd name="T10" fmla="*/ 98 w 100"/>
                    <a:gd name="T11" fmla="*/ 29 h 66"/>
                    <a:gd name="T12" fmla="*/ 98 w 100"/>
                    <a:gd name="T13" fmla="*/ 36 h 66"/>
                    <a:gd name="T14" fmla="*/ 95 w 100"/>
                    <a:gd name="T15" fmla="*/ 42 h 66"/>
                    <a:gd name="T16" fmla="*/ 89 w 100"/>
                    <a:gd name="T17" fmla="*/ 46 h 66"/>
                    <a:gd name="T18" fmla="*/ 83 w 100"/>
                    <a:gd name="T19" fmla="*/ 49 h 66"/>
                    <a:gd name="T20" fmla="*/ 78 w 100"/>
                    <a:gd name="T21" fmla="*/ 53 h 66"/>
                    <a:gd name="T22" fmla="*/ 61 w 100"/>
                    <a:gd name="T23" fmla="*/ 59 h 66"/>
                    <a:gd name="T24" fmla="*/ 45 w 100"/>
                    <a:gd name="T25" fmla="*/ 60 h 66"/>
                    <a:gd name="T26" fmla="*/ 12 w 100"/>
                    <a:gd name="T27" fmla="*/ 64 h 66"/>
                    <a:gd name="T28" fmla="*/ 8 w 100"/>
                    <a:gd name="T29" fmla="*/ 49 h 66"/>
                    <a:gd name="T30" fmla="*/ 4 w 100"/>
                    <a:gd name="T31" fmla="*/ 40 h 66"/>
                    <a:gd name="T32" fmla="*/ 8 w 100"/>
                    <a:gd name="T33" fmla="*/ 46 h 66"/>
                    <a:gd name="T34" fmla="*/ 10 w 100"/>
                    <a:gd name="T35" fmla="*/ 49 h 66"/>
                    <a:gd name="T36" fmla="*/ 13 w 100"/>
                    <a:gd name="T37" fmla="*/ 49 h 66"/>
                    <a:gd name="T38" fmla="*/ 21 w 100"/>
                    <a:gd name="T39" fmla="*/ 48 h 66"/>
                    <a:gd name="T40" fmla="*/ 23 w 100"/>
                    <a:gd name="T41" fmla="*/ 46 h 66"/>
                    <a:gd name="T42" fmla="*/ 26 w 100"/>
                    <a:gd name="T43" fmla="*/ 36 h 66"/>
                    <a:gd name="T44" fmla="*/ 28 w 100"/>
                    <a:gd name="T45" fmla="*/ 29 h 66"/>
                    <a:gd name="T46" fmla="*/ 48 w 100"/>
                    <a:gd name="T47" fmla="*/ 27 h 66"/>
                    <a:gd name="T48" fmla="*/ 54 w 100"/>
                    <a:gd name="T49" fmla="*/ 27 h 66"/>
                    <a:gd name="T50" fmla="*/ 59 w 100"/>
                    <a:gd name="T51" fmla="*/ 29 h 66"/>
                    <a:gd name="T52" fmla="*/ 61 w 100"/>
                    <a:gd name="T53" fmla="*/ 22 h 66"/>
                    <a:gd name="T54" fmla="*/ 95 w 100"/>
                    <a:gd name="T55" fmla="*/ 0 h 66"/>
                    <a:gd name="T56" fmla="*/ 76 w 100"/>
                    <a:gd name="T57" fmla="*/ 9 h 66"/>
                    <a:gd name="T58" fmla="*/ 59 w 100"/>
                    <a:gd name="T59" fmla="*/ 16 h 66"/>
                    <a:gd name="T60" fmla="*/ 59 w 100"/>
                    <a:gd name="T61" fmla="*/ 27 h 66"/>
                    <a:gd name="T62" fmla="*/ 54 w 100"/>
                    <a:gd name="T63" fmla="*/ 25 h 66"/>
                    <a:gd name="T64" fmla="*/ 50 w 100"/>
                    <a:gd name="T65" fmla="*/ 25 h 66"/>
                    <a:gd name="T66" fmla="*/ 48 w 100"/>
                    <a:gd name="T67" fmla="*/ 25 h 66"/>
                    <a:gd name="T68" fmla="*/ 39 w 100"/>
                    <a:gd name="T69" fmla="*/ 25 h 66"/>
                    <a:gd name="T70" fmla="*/ 26 w 100"/>
                    <a:gd name="T71" fmla="*/ 33 h 66"/>
                    <a:gd name="T72" fmla="*/ 23 w 100"/>
                    <a:gd name="T73" fmla="*/ 40 h 66"/>
                    <a:gd name="T74" fmla="*/ 19 w 100"/>
                    <a:gd name="T75" fmla="*/ 46 h 66"/>
                    <a:gd name="T76" fmla="*/ 13 w 100"/>
                    <a:gd name="T77" fmla="*/ 48 h 66"/>
                    <a:gd name="T78" fmla="*/ 10 w 100"/>
                    <a:gd name="T79" fmla="*/ 46 h 66"/>
                    <a:gd name="T80" fmla="*/ 6 w 100"/>
                    <a:gd name="T81" fmla="*/ 36 h 66"/>
                    <a:gd name="T82" fmla="*/ 0 w 100"/>
                    <a:gd name="T83" fmla="*/ 27 h 66"/>
                    <a:gd name="T84" fmla="*/ 6 w 100"/>
                    <a:gd name="T85" fmla="*/ 49 h 66"/>
                    <a:gd name="T86" fmla="*/ 10 w 100"/>
                    <a:gd name="T87" fmla="*/ 66 h 66"/>
                    <a:gd name="T88" fmla="*/ 28 w 100"/>
                    <a:gd name="T89" fmla="*/ 64 h 66"/>
                    <a:gd name="T90" fmla="*/ 54 w 100"/>
                    <a:gd name="T91" fmla="*/ 62 h 66"/>
                    <a:gd name="T92" fmla="*/ 71 w 100"/>
                    <a:gd name="T93" fmla="*/ 57 h 66"/>
                    <a:gd name="T94" fmla="*/ 82 w 100"/>
                    <a:gd name="T95" fmla="*/ 53 h 66"/>
                    <a:gd name="T96" fmla="*/ 85 w 100"/>
                    <a:gd name="T97" fmla="*/ 51 h 66"/>
                    <a:gd name="T98" fmla="*/ 91 w 100"/>
                    <a:gd name="T99" fmla="*/ 48 h 66"/>
                    <a:gd name="T100" fmla="*/ 93 w 100"/>
                    <a:gd name="T101" fmla="*/ 46 h 66"/>
                    <a:gd name="T102" fmla="*/ 98 w 100"/>
                    <a:gd name="T103" fmla="*/ 40 h 66"/>
                    <a:gd name="T104" fmla="*/ 98 w 100"/>
                    <a:gd name="T105" fmla="*/ 36 h 66"/>
                    <a:gd name="T106" fmla="*/ 100 w 100"/>
                    <a:gd name="T107" fmla="*/ 33 h 66"/>
                    <a:gd name="T108" fmla="*/ 100 w 100"/>
                    <a:gd name="T109" fmla="*/ 29 h 66"/>
                    <a:gd name="T110" fmla="*/ 100 w 100"/>
                    <a:gd name="T111" fmla="*/ 25 h 66"/>
                    <a:gd name="T112" fmla="*/ 100 w 100"/>
                    <a:gd name="T113" fmla="*/ 16 h 66"/>
                    <a:gd name="T114" fmla="*/ 98 w 100"/>
                    <a:gd name="T115" fmla="*/ 11 h 66"/>
                    <a:gd name="T116" fmla="*/ 96 w 100"/>
                    <a:gd name="T117" fmla="*/ 5 h 66"/>
                    <a:gd name="T118" fmla="*/ 95 w 100"/>
                    <a:gd name="T11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00" h="66">
                      <a:moveTo>
                        <a:pt x="61" y="18"/>
                      </a:moveTo>
                      <a:lnTo>
                        <a:pt x="61" y="18"/>
                      </a:lnTo>
                      <a:lnTo>
                        <a:pt x="69" y="14"/>
                      </a:lnTo>
                      <a:lnTo>
                        <a:pt x="78" y="11"/>
                      </a:lnTo>
                      <a:lnTo>
                        <a:pt x="85" y="5"/>
                      </a:lnTo>
                      <a:lnTo>
                        <a:pt x="95" y="1"/>
                      </a:lnTo>
                      <a:lnTo>
                        <a:pt x="96" y="7"/>
                      </a:lnTo>
                      <a:lnTo>
                        <a:pt x="98" y="12"/>
                      </a:lnTo>
                      <a:lnTo>
                        <a:pt x="98" y="16"/>
                      </a:lnTo>
                      <a:lnTo>
                        <a:pt x="98" y="22"/>
                      </a:lnTo>
                      <a:lnTo>
                        <a:pt x="100" y="25"/>
                      </a:lnTo>
                      <a:lnTo>
                        <a:pt x="98" y="29"/>
                      </a:lnTo>
                      <a:lnTo>
                        <a:pt x="98" y="33"/>
                      </a:lnTo>
                      <a:lnTo>
                        <a:pt x="98" y="36"/>
                      </a:lnTo>
                      <a:lnTo>
                        <a:pt x="96" y="38"/>
                      </a:lnTo>
                      <a:lnTo>
                        <a:pt x="95" y="42"/>
                      </a:lnTo>
                      <a:lnTo>
                        <a:pt x="93" y="44"/>
                      </a:lnTo>
                      <a:lnTo>
                        <a:pt x="89" y="46"/>
                      </a:lnTo>
                      <a:lnTo>
                        <a:pt x="87" y="48"/>
                      </a:lnTo>
                      <a:lnTo>
                        <a:pt x="83" y="49"/>
                      </a:lnTo>
                      <a:lnTo>
                        <a:pt x="80" y="51"/>
                      </a:lnTo>
                      <a:lnTo>
                        <a:pt x="78" y="53"/>
                      </a:lnTo>
                      <a:lnTo>
                        <a:pt x="71" y="57"/>
                      </a:lnTo>
                      <a:lnTo>
                        <a:pt x="61" y="59"/>
                      </a:lnTo>
                      <a:lnTo>
                        <a:pt x="54" y="60"/>
                      </a:lnTo>
                      <a:lnTo>
                        <a:pt x="45" y="60"/>
                      </a:lnTo>
                      <a:lnTo>
                        <a:pt x="26" y="62"/>
                      </a:lnTo>
                      <a:lnTo>
                        <a:pt x="12" y="64"/>
                      </a:lnTo>
                      <a:lnTo>
                        <a:pt x="10" y="57"/>
                      </a:lnTo>
                      <a:lnTo>
                        <a:pt x="8" y="49"/>
                      </a:lnTo>
                      <a:lnTo>
                        <a:pt x="6" y="40"/>
                      </a:lnTo>
                      <a:lnTo>
                        <a:pt x="4" y="40"/>
                      </a:lnTo>
                      <a:lnTo>
                        <a:pt x="6" y="42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0" y="49"/>
                      </a:lnTo>
                      <a:lnTo>
                        <a:pt x="10" y="51"/>
                      </a:lnTo>
                      <a:lnTo>
                        <a:pt x="13" y="49"/>
                      </a:lnTo>
                      <a:lnTo>
                        <a:pt x="17" y="48"/>
                      </a:lnTo>
                      <a:lnTo>
                        <a:pt x="21" y="48"/>
                      </a:lnTo>
                      <a:lnTo>
                        <a:pt x="23" y="46"/>
                      </a:lnTo>
                      <a:lnTo>
                        <a:pt x="23" y="46"/>
                      </a:lnTo>
                      <a:lnTo>
                        <a:pt x="24" y="42"/>
                      </a:lnTo>
                      <a:lnTo>
                        <a:pt x="26" y="36"/>
                      </a:lnTo>
                      <a:lnTo>
                        <a:pt x="26" y="33"/>
                      </a:lnTo>
                      <a:lnTo>
                        <a:pt x="28" y="29"/>
                      </a:lnTo>
                      <a:lnTo>
                        <a:pt x="41" y="27"/>
                      </a:lnTo>
                      <a:lnTo>
                        <a:pt x="48" y="27"/>
                      </a:lnTo>
                      <a:lnTo>
                        <a:pt x="50" y="27"/>
                      </a:lnTo>
                      <a:lnTo>
                        <a:pt x="54" y="27"/>
                      </a:lnTo>
                      <a:lnTo>
                        <a:pt x="56" y="27"/>
                      </a:lnTo>
                      <a:lnTo>
                        <a:pt x="59" y="29"/>
                      </a:lnTo>
                      <a:lnTo>
                        <a:pt x="61" y="29"/>
                      </a:lnTo>
                      <a:lnTo>
                        <a:pt x="61" y="22"/>
                      </a:lnTo>
                      <a:lnTo>
                        <a:pt x="61" y="18"/>
                      </a:lnTo>
                      <a:close/>
                      <a:moveTo>
                        <a:pt x="95" y="0"/>
                      </a:moveTo>
                      <a:lnTo>
                        <a:pt x="85" y="3"/>
                      </a:lnTo>
                      <a:lnTo>
                        <a:pt x="76" y="9"/>
                      </a:lnTo>
                      <a:lnTo>
                        <a:pt x="69" y="12"/>
                      </a:lnTo>
                      <a:lnTo>
                        <a:pt x="59" y="16"/>
                      </a:lnTo>
                      <a:lnTo>
                        <a:pt x="59" y="22"/>
                      </a:lnTo>
                      <a:lnTo>
                        <a:pt x="59" y="27"/>
                      </a:lnTo>
                      <a:lnTo>
                        <a:pt x="56" y="25"/>
                      </a:lnTo>
                      <a:lnTo>
                        <a:pt x="54" y="25"/>
                      </a:lnTo>
                      <a:lnTo>
                        <a:pt x="54" y="25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48" y="25"/>
                      </a:lnTo>
                      <a:lnTo>
                        <a:pt x="39" y="25"/>
                      </a:lnTo>
                      <a:lnTo>
                        <a:pt x="39" y="25"/>
                      </a:lnTo>
                      <a:lnTo>
                        <a:pt x="26" y="27"/>
                      </a:lnTo>
                      <a:lnTo>
                        <a:pt x="26" y="33"/>
                      </a:lnTo>
                      <a:lnTo>
                        <a:pt x="24" y="36"/>
                      </a:lnTo>
                      <a:lnTo>
                        <a:pt x="23" y="40"/>
                      </a:lnTo>
                      <a:lnTo>
                        <a:pt x="23" y="44"/>
                      </a:lnTo>
                      <a:lnTo>
                        <a:pt x="19" y="46"/>
                      </a:lnTo>
                      <a:lnTo>
                        <a:pt x="17" y="46"/>
                      </a:lnTo>
                      <a:lnTo>
                        <a:pt x="13" y="48"/>
                      </a:lnTo>
                      <a:lnTo>
                        <a:pt x="12" y="49"/>
                      </a:lnTo>
                      <a:lnTo>
                        <a:pt x="10" y="46"/>
                      </a:lnTo>
                      <a:lnTo>
                        <a:pt x="8" y="40"/>
                      </a:lnTo>
                      <a:lnTo>
                        <a:pt x="6" y="36"/>
                      </a:lnTo>
                      <a:lnTo>
                        <a:pt x="2" y="33"/>
                      </a:lnTo>
                      <a:lnTo>
                        <a:pt x="0" y="27"/>
                      </a:lnTo>
                      <a:lnTo>
                        <a:pt x="4" y="42"/>
                      </a:lnTo>
                      <a:lnTo>
                        <a:pt x="6" y="49"/>
                      </a:lnTo>
                      <a:lnTo>
                        <a:pt x="8" y="59"/>
                      </a:lnTo>
                      <a:lnTo>
                        <a:pt x="10" y="66"/>
                      </a:lnTo>
                      <a:lnTo>
                        <a:pt x="12" y="66"/>
                      </a:lnTo>
                      <a:lnTo>
                        <a:pt x="28" y="64"/>
                      </a:lnTo>
                      <a:lnTo>
                        <a:pt x="45" y="62"/>
                      </a:lnTo>
                      <a:lnTo>
                        <a:pt x="54" y="62"/>
                      </a:lnTo>
                      <a:lnTo>
                        <a:pt x="61" y="60"/>
                      </a:lnTo>
                      <a:lnTo>
                        <a:pt x="71" y="57"/>
                      </a:lnTo>
                      <a:lnTo>
                        <a:pt x="78" y="55"/>
                      </a:lnTo>
                      <a:lnTo>
                        <a:pt x="82" y="53"/>
                      </a:lnTo>
                      <a:lnTo>
                        <a:pt x="85" y="51"/>
                      </a:lnTo>
                      <a:lnTo>
                        <a:pt x="85" y="51"/>
                      </a:lnTo>
                      <a:lnTo>
                        <a:pt x="87" y="49"/>
                      </a:lnTo>
                      <a:lnTo>
                        <a:pt x="91" y="48"/>
                      </a:lnTo>
                      <a:lnTo>
                        <a:pt x="91" y="48"/>
                      </a:lnTo>
                      <a:lnTo>
                        <a:pt x="93" y="46"/>
                      </a:lnTo>
                      <a:lnTo>
                        <a:pt x="95" y="42"/>
                      </a:lnTo>
                      <a:lnTo>
                        <a:pt x="98" y="40"/>
                      </a:lnTo>
                      <a:lnTo>
                        <a:pt x="98" y="40"/>
                      </a:lnTo>
                      <a:lnTo>
                        <a:pt x="98" y="36"/>
                      </a:lnTo>
                      <a:lnTo>
                        <a:pt x="98" y="36"/>
                      </a:lnTo>
                      <a:lnTo>
                        <a:pt x="100" y="33"/>
                      </a:lnTo>
                      <a:lnTo>
                        <a:pt x="100" y="29"/>
                      </a:lnTo>
                      <a:lnTo>
                        <a:pt x="100" y="29"/>
                      </a:lnTo>
                      <a:lnTo>
                        <a:pt x="100" y="25"/>
                      </a:lnTo>
                      <a:lnTo>
                        <a:pt x="100" y="25"/>
                      </a:lnTo>
                      <a:lnTo>
                        <a:pt x="100" y="20"/>
                      </a:lnTo>
                      <a:lnTo>
                        <a:pt x="100" y="16"/>
                      </a:lnTo>
                      <a:lnTo>
                        <a:pt x="100" y="16"/>
                      </a:lnTo>
                      <a:lnTo>
                        <a:pt x="98" y="11"/>
                      </a:lnTo>
                      <a:lnTo>
                        <a:pt x="96" y="7"/>
                      </a:lnTo>
                      <a:lnTo>
                        <a:pt x="96" y="5"/>
                      </a:lnTo>
                      <a:lnTo>
                        <a:pt x="95" y="1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2" name="Freeform 3096"/>
                <p:cNvSpPr>
                  <a:spLocks/>
                </p:cNvSpPr>
                <p:nvPr/>
              </p:nvSpPr>
              <p:spPr bwMode="auto">
                <a:xfrm>
                  <a:off x="4062" y="760"/>
                  <a:ext cx="96" cy="63"/>
                </a:xfrm>
                <a:custGeom>
                  <a:avLst/>
                  <a:gdLst>
                    <a:gd name="T0" fmla="*/ 57 w 96"/>
                    <a:gd name="T1" fmla="*/ 17 h 63"/>
                    <a:gd name="T2" fmla="*/ 57 w 96"/>
                    <a:gd name="T3" fmla="*/ 17 h 63"/>
                    <a:gd name="T4" fmla="*/ 65 w 96"/>
                    <a:gd name="T5" fmla="*/ 13 h 63"/>
                    <a:gd name="T6" fmla="*/ 74 w 96"/>
                    <a:gd name="T7" fmla="*/ 10 h 63"/>
                    <a:gd name="T8" fmla="*/ 81 w 96"/>
                    <a:gd name="T9" fmla="*/ 4 h 63"/>
                    <a:gd name="T10" fmla="*/ 91 w 96"/>
                    <a:gd name="T11" fmla="*/ 0 h 63"/>
                    <a:gd name="T12" fmla="*/ 92 w 96"/>
                    <a:gd name="T13" fmla="*/ 6 h 63"/>
                    <a:gd name="T14" fmla="*/ 94 w 96"/>
                    <a:gd name="T15" fmla="*/ 11 h 63"/>
                    <a:gd name="T16" fmla="*/ 94 w 96"/>
                    <a:gd name="T17" fmla="*/ 15 h 63"/>
                    <a:gd name="T18" fmla="*/ 94 w 96"/>
                    <a:gd name="T19" fmla="*/ 21 h 63"/>
                    <a:gd name="T20" fmla="*/ 96 w 96"/>
                    <a:gd name="T21" fmla="*/ 24 h 63"/>
                    <a:gd name="T22" fmla="*/ 94 w 96"/>
                    <a:gd name="T23" fmla="*/ 28 h 63"/>
                    <a:gd name="T24" fmla="*/ 94 w 96"/>
                    <a:gd name="T25" fmla="*/ 32 h 63"/>
                    <a:gd name="T26" fmla="*/ 94 w 96"/>
                    <a:gd name="T27" fmla="*/ 35 h 63"/>
                    <a:gd name="T28" fmla="*/ 92 w 96"/>
                    <a:gd name="T29" fmla="*/ 37 h 63"/>
                    <a:gd name="T30" fmla="*/ 91 w 96"/>
                    <a:gd name="T31" fmla="*/ 41 h 63"/>
                    <a:gd name="T32" fmla="*/ 89 w 96"/>
                    <a:gd name="T33" fmla="*/ 43 h 63"/>
                    <a:gd name="T34" fmla="*/ 85 w 96"/>
                    <a:gd name="T35" fmla="*/ 45 h 63"/>
                    <a:gd name="T36" fmla="*/ 83 w 96"/>
                    <a:gd name="T37" fmla="*/ 47 h 63"/>
                    <a:gd name="T38" fmla="*/ 79 w 96"/>
                    <a:gd name="T39" fmla="*/ 48 h 63"/>
                    <a:gd name="T40" fmla="*/ 76 w 96"/>
                    <a:gd name="T41" fmla="*/ 50 h 63"/>
                    <a:gd name="T42" fmla="*/ 74 w 96"/>
                    <a:gd name="T43" fmla="*/ 52 h 63"/>
                    <a:gd name="T44" fmla="*/ 67 w 96"/>
                    <a:gd name="T45" fmla="*/ 56 h 63"/>
                    <a:gd name="T46" fmla="*/ 57 w 96"/>
                    <a:gd name="T47" fmla="*/ 58 h 63"/>
                    <a:gd name="T48" fmla="*/ 50 w 96"/>
                    <a:gd name="T49" fmla="*/ 59 h 63"/>
                    <a:gd name="T50" fmla="*/ 41 w 96"/>
                    <a:gd name="T51" fmla="*/ 59 h 63"/>
                    <a:gd name="T52" fmla="*/ 22 w 96"/>
                    <a:gd name="T53" fmla="*/ 61 h 63"/>
                    <a:gd name="T54" fmla="*/ 8 w 96"/>
                    <a:gd name="T55" fmla="*/ 63 h 63"/>
                    <a:gd name="T56" fmla="*/ 6 w 96"/>
                    <a:gd name="T57" fmla="*/ 56 h 63"/>
                    <a:gd name="T58" fmla="*/ 4 w 96"/>
                    <a:gd name="T59" fmla="*/ 48 h 63"/>
                    <a:gd name="T60" fmla="*/ 2 w 96"/>
                    <a:gd name="T61" fmla="*/ 39 h 63"/>
                    <a:gd name="T62" fmla="*/ 0 w 96"/>
                    <a:gd name="T63" fmla="*/ 39 h 63"/>
                    <a:gd name="T64" fmla="*/ 2 w 96"/>
                    <a:gd name="T65" fmla="*/ 41 h 63"/>
                    <a:gd name="T66" fmla="*/ 4 w 96"/>
                    <a:gd name="T67" fmla="*/ 45 h 63"/>
                    <a:gd name="T68" fmla="*/ 4 w 96"/>
                    <a:gd name="T69" fmla="*/ 45 h 63"/>
                    <a:gd name="T70" fmla="*/ 6 w 96"/>
                    <a:gd name="T71" fmla="*/ 48 h 63"/>
                    <a:gd name="T72" fmla="*/ 6 w 96"/>
                    <a:gd name="T73" fmla="*/ 50 h 63"/>
                    <a:gd name="T74" fmla="*/ 9 w 96"/>
                    <a:gd name="T75" fmla="*/ 48 h 63"/>
                    <a:gd name="T76" fmla="*/ 13 w 96"/>
                    <a:gd name="T77" fmla="*/ 47 h 63"/>
                    <a:gd name="T78" fmla="*/ 17 w 96"/>
                    <a:gd name="T79" fmla="*/ 47 h 63"/>
                    <a:gd name="T80" fmla="*/ 19 w 96"/>
                    <a:gd name="T81" fmla="*/ 45 h 63"/>
                    <a:gd name="T82" fmla="*/ 19 w 96"/>
                    <a:gd name="T83" fmla="*/ 45 h 63"/>
                    <a:gd name="T84" fmla="*/ 20 w 96"/>
                    <a:gd name="T85" fmla="*/ 41 h 63"/>
                    <a:gd name="T86" fmla="*/ 22 w 96"/>
                    <a:gd name="T87" fmla="*/ 35 h 63"/>
                    <a:gd name="T88" fmla="*/ 22 w 96"/>
                    <a:gd name="T89" fmla="*/ 32 h 63"/>
                    <a:gd name="T90" fmla="*/ 24 w 96"/>
                    <a:gd name="T91" fmla="*/ 28 h 63"/>
                    <a:gd name="T92" fmla="*/ 37 w 96"/>
                    <a:gd name="T93" fmla="*/ 26 h 63"/>
                    <a:gd name="T94" fmla="*/ 44 w 96"/>
                    <a:gd name="T95" fmla="*/ 26 h 63"/>
                    <a:gd name="T96" fmla="*/ 46 w 96"/>
                    <a:gd name="T97" fmla="*/ 26 h 63"/>
                    <a:gd name="T98" fmla="*/ 50 w 96"/>
                    <a:gd name="T99" fmla="*/ 26 h 63"/>
                    <a:gd name="T100" fmla="*/ 52 w 96"/>
                    <a:gd name="T101" fmla="*/ 26 h 63"/>
                    <a:gd name="T102" fmla="*/ 55 w 96"/>
                    <a:gd name="T103" fmla="*/ 28 h 63"/>
                    <a:gd name="T104" fmla="*/ 57 w 96"/>
                    <a:gd name="T105" fmla="*/ 28 h 63"/>
                    <a:gd name="T106" fmla="*/ 57 w 96"/>
                    <a:gd name="T107" fmla="*/ 21 h 63"/>
                    <a:gd name="T108" fmla="*/ 57 w 96"/>
                    <a:gd name="T109" fmla="*/ 1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96" h="63">
                      <a:moveTo>
                        <a:pt x="57" y="17"/>
                      </a:moveTo>
                      <a:lnTo>
                        <a:pt x="57" y="17"/>
                      </a:lnTo>
                      <a:lnTo>
                        <a:pt x="65" y="13"/>
                      </a:lnTo>
                      <a:lnTo>
                        <a:pt x="74" y="10"/>
                      </a:lnTo>
                      <a:lnTo>
                        <a:pt x="81" y="4"/>
                      </a:lnTo>
                      <a:lnTo>
                        <a:pt x="91" y="0"/>
                      </a:lnTo>
                      <a:lnTo>
                        <a:pt x="92" y="6"/>
                      </a:lnTo>
                      <a:lnTo>
                        <a:pt x="94" y="11"/>
                      </a:lnTo>
                      <a:lnTo>
                        <a:pt x="94" y="15"/>
                      </a:lnTo>
                      <a:lnTo>
                        <a:pt x="94" y="21"/>
                      </a:lnTo>
                      <a:lnTo>
                        <a:pt x="96" y="24"/>
                      </a:lnTo>
                      <a:lnTo>
                        <a:pt x="94" y="28"/>
                      </a:lnTo>
                      <a:lnTo>
                        <a:pt x="94" y="32"/>
                      </a:lnTo>
                      <a:lnTo>
                        <a:pt x="94" y="35"/>
                      </a:lnTo>
                      <a:lnTo>
                        <a:pt x="92" y="37"/>
                      </a:lnTo>
                      <a:lnTo>
                        <a:pt x="91" y="41"/>
                      </a:lnTo>
                      <a:lnTo>
                        <a:pt x="89" y="43"/>
                      </a:lnTo>
                      <a:lnTo>
                        <a:pt x="85" y="45"/>
                      </a:lnTo>
                      <a:lnTo>
                        <a:pt x="83" y="47"/>
                      </a:lnTo>
                      <a:lnTo>
                        <a:pt x="79" y="48"/>
                      </a:lnTo>
                      <a:lnTo>
                        <a:pt x="76" y="50"/>
                      </a:lnTo>
                      <a:lnTo>
                        <a:pt x="74" y="52"/>
                      </a:lnTo>
                      <a:lnTo>
                        <a:pt x="67" y="56"/>
                      </a:lnTo>
                      <a:lnTo>
                        <a:pt x="57" y="58"/>
                      </a:lnTo>
                      <a:lnTo>
                        <a:pt x="50" y="59"/>
                      </a:lnTo>
                      <a:lnTo>
                        <a:pt x="41" y="59"/>
                      </a:lnTo>
                      <a:lnTo>
                        <a:pt x="22" y="61"/>
                      </a:lnTo>
                      <a:lnTo>
                        <a:pt x="8" y="63"/>
                      </a:lnTo>
                      <a:lnTo>
                        <a:pt x="6" y="56"/>
                      </a:lnTo>
                      <a:lnTo>
                        <a:pt x="4" y="48"/>
                      </a:lnTo>
                      <a:lnTo>
                        <a:pt x="2" y="39"/>
                      </a:lnTo>
                      <a:lnTo>
                        <a:pt x="0" y="39"/>
                      </a:lnTo>
                      <a:lnTo>
                        <a:pt x="2" y="41"/>
                      </a:lnTo>
                      <a:lnTo>
                        <a:pt x="4" y="45"/>
                      </a:lnTo>
                      <a:lnTo>
                        <a:pt x="4" y="45"/>
                      </a:lnTo>
                      <a:lnTo>
                        <a:pt x="6" y="48"/>
                      </a:lnTo>
                      <a:lnTo>
                        <a:pt x="6" y="50"/>
                      </a:lnTo>
                      <a:lnTo>
                        <a:pt x="9" y="48"/>
                      </a:lnTo>
                      <a:lnTo>
                        <a:pt x="13" y="47"/>
                      </a:lnTo>
                      <a:lnTo>
                        <a:pt x="17" y="47"/>
                      </a:lnTo>
                      <a:lnTo>
                        <a:pt x="19" y="45"/>
                      </a:lnTo>
                      <a:lnTo>
                        <a:pt x="19" y="45"/>
                      </a:lnTo>
                      <a:lnTo>
                        <a:pt x="20" y="41"/>
                      </a:lnTo>
                      <a:lnTo>
                        <a:pt x="22" y="35"/>
                      </a:lnTo>
                      <a:lnTo>
                        <a:pt x="22" y="32"/>
                      </a:lnTo>
                      <a:lnTo>
                        <a:pt x="24" y="28"/>
                      </a:lnTo>
                      <a:lnTo>
                        <a:pt x="37" y="26"/>
                      </a:lnTo>
                      <a:lnTo>
                        <a:pt x="44" y="26"/>
                      </a:lnTo>
                      <a:lnTo>
                        <a:pt x="46" y="26"/>
                      </a:lnTo>
                      <a:lnTo>
                        <a:pt x="50" y="26"/>
                      </a:lnTo>
                      <a:lnTo>
                        <a:pt x="52" y="26"/>
                      </a:lnTo>
                      <a:lnTo>
                        <a:pt x="55" y="28"/>
                      </a:lnTo>
                      <a:lnTo>
                        <a:pt x="57" y="28"/>
                      </a:lnTo>
                      <a:lnTo>
                        <a:pt x="57" y="21"/>
                      </a:lnTo>
                      <a:lnTo>
                        <a:pt x="57" y="17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3" name="Freeform 3097"/>
                <p:cNvSpPr>
                  <a:spLocks/>
                </p:cNvSpPr>
                <p:nvPr/>
              </p:nvSpPr>
              <p:spPr bwMode="auto">
                <a:xfrm>
                  <a:off x="4058" y="759"/>
                  <a:ext cx="100" cy="66"/>
                </a:xfrm>
                <a:custGeom>
                  <a:avLst/>
                  <a:gdLst>
                    <a:gd name="T0" fmla="*/ 85 w 100"/>
                    <a:gd name="T1" fmla="*/ 3 h 66"/>
                    <a:gd name="T2" fmla="*/ 69 w 100"/>
                    <a:gd name="T3" fmla="*/ 12 h 66"/>
                    <a:gd name="T4" fmla="*/ 59 w 100"/>
                    <a:gd name="T5" fmla="*/ 22 h 66"/>
                    <a:gd name="T6" fmla="*/ 56 w 100"/>
                    <a:gd name="T7" fmla="*/ 25 h 66"/>
                    <a:gd name="T8" fmla="*/ 54 w 100"/>
                    <a:gd name="T9" fmla="*/ 25 h 66"/>
                    <a:gd name="T10" fmla="*/ 50 w 100"/>
                    <a:gd name="T11" fmla="*/ 25 h 66"/>
                    <a:gd name="T12" fmla="*/ 39 w 100"/>
                    <a:gd name="T13" fmla="*/ 25 h 66"/>
                    <a:gd name="T14" fmla="*/ 26 w 100"/>
                    <a:gd name="T15" fmla="*/ 27 h 66"/>
                    <a:gd name="T16" fmla="*/ 24 w 100"/>
                    <a:gd name="T17" fmla="*/ 36 h 66"/>
                    <a:gd name="T18" fmla="*/ 23 w 100"/>
                    <a:gd name="T19" fmla="*/ 44 h 66"/>
                    <a:gd name="T20" fmla="*/ 17 w 100"/>
                    <a:gd name="T21" fmla="*/ 46 h 66"/>
                    <a:gd name="T22" fmla="*/ 12 w 100"/>
                    <a:gd name="T23" fmla="*/ 49 h 66"/>
                    <a:gd name="T24" fmla="*/ 8 w 100"/>
                    <a:gd name="T25" fmla="*/ 40 h 66"/>
                    <a:gd name="T26" fmla="*/ 2 w 100"/>
                    <a:gd name="T27" fmla="*/ 33 h 66"/>
                    <a:gd name="T28" fmla="*/ 4 w 100"/>
                    <a:gd name="T29" fmla="*/ 42 h 66"/>
                    <a:gd name="T30" fmla="*/ 8 w 100"/>
                    <a:gd name="T31" fmla="*/ 59 h 66"/>
                    <a:gd name="T32" fmla="*/ 12 w 100"/>
                    <a:gd name="T33" fmla="*/ 66 h 66"/>
                    <a:gd name="T34" fmla="*/ 45 w 100"/>
                    <a:gd name="T35" fmla="*/ 62 h 66"/>
                    <a:gd name="T36" fmla="*/ 61 w 100"/>
                    <a:gd name="T37" fmla="*/ 60 h 66"/>
                    <a:gd name="T38" fmla="*/ 78 w 100"/>
                    <a:gd name="T39" fmla="*/ 55 h 66"/>
                    <a:gd name="T40" fmla="*/ 85 w 100"/>
                    <a:gd name="T41" fmla="*/ 51 h 66"/>
                    <a:gd name="T42" fmla="*/ 87 w 100"/>
                    <a:gd name="T43" fmla="*/ 49 h 66"/>
                    <a:gd name="T44" fmla="*/ 91 w 100"/>
                    <a:gd name="T45" fmla="*/ 48 h 66"/>
                    <a:gd name="T46" fmla="*/ 95 w 100"/>
                    <a:gd name="T47" fmla="*/ 42 h 66"/>
                    <a:gd name="T48" fmla="*/ 98 w 100"/>
                    <a:gd name="T49" fmla="*/ 40 h 66"/>
                    <a:gd name="T50" fmla="*/ 98 w 100"/>
                    <a:gd name="T51" fmla="*/ 36 h 66"/>
                    <a:gd name="T52" fmla="*/ 100 w 100"/>
                    <a:gd name="T53" fmla="*/ 29 h 66"/>
                    <a:gd name="T54" fmla="*/ 100 w 100"/>
                    <a:gd name="T55" fmla="*/ 25 h 66"/>
                    <a:gd name="T56" fmla="*/ 100 w 100"/>
                    <a:gd name="T57" fmla="*/ 20 h 66"/>
                    <a:gd name="T58" fmla="*/ 100 w 100"/>
                    <a:gd name="T59" fmla="*/ 16 h 66"/>
                    <a:gd name="T60" fmla="*/ 96 w 100"/>
                    <a:gd name="T61" fmla="*/ 7 h 66"/>
                    <a:gd name="T62" fmla="*/ 95 w 100"/>
                    <a:gd name="T63" fmla="*/ 1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00" h="66">
                      <a:moveTo>
                        <a:pt x="95" y="0"/>
                      </a:moveTo>
                      <a:lnTo>
                        <a:pt x="85" y="3"/>
                      </a:lnTo>
                      <a:lnTo>
                        <a:pt x="76" y="9"/>
                      </a:lnTo>
                      <a:lnTo>
                        <a:pt x="69" y="12"/>
                      </a:lnTo>
                      <a:lnTo>
                        <a:pt x="59" y="16"/>
                      </a:lnTo>
                      <a:lnTo>
                        <a:pt x="59" y="22"/>
                      </a:lnTo>
                      <a:lnTo>
                        <a:pt x="59" y="27"/>
                      </a:lnTo>
                      <a:lnTo>
                        <a:pt x="56" y="25"/>
                      </a:lnTo>
                      <a:lnTo>
                        <a:pt x="54" y="25"/>
                      </a:lnTo>
                      <a:lnTo>
                        <a:pt x="54" y="25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48" y="25"/>
                      </a:lnTo>
                      <a:lnTo>
                        <a:pt x="39" y="25"/>
                      </a:lnTo>
                      <a:lnTo>
                        <a:pt x="39" y="25"/>
                      </a:lnTo>
                      <a:lnTo>
                        <a:pt x="26" y="27"/>
                      </a:lnTo>
                      <a:lnTo>
                        <a:pt x="26" y="33"/>
                      </a:lnTo>
                      <a:lnTo>
                        <a:pt x="24" y="36"/>
                      </a:lnTo>
                      <a:lnTo>
                        <a:pt x="23" y="40"/>
                      </a:lnTo>
                      <a:lnTo>
                        <a:pt x="23" y="44"/>
                      </a:lnTo>
                      <a:lnTo>
                        <a:pt x="19" y="46"/>
                      </a:lnTo>
                      <a:lnTo>
                        <a:pt x="17" y="46"/>
                      </a:lnTo>
                      <a:lnTo>
                        <a:pt x="13" y="48"/>
                      </a:lnTo>
                      <a:lnTo>
                        <a:pt x="12" y="49"/>
                      </a:lnTo>
                      <a:lnTo>
                        <a:pt x="10" y="46"/>
                      </a:lnTo>
                      <a:lnTo>
                        <a:pt x="8" y="40"/>
                      </a:lnTo>
                      <a:lnTo>
                        <a:pt x="6" y="36"/>
                      </a:lnTo>
                      <a:lnTo>
                        <a:pt x="2" y="33"/>
                      </a:lnTo>
                      <a:lnTo>
                        <a:pt x="0" y="27"/>
                      </a:lnTo>
                      <a:lnTo>
                        <a:pt x="4" y="42"/>
                      </a:lnTo>
                      <a:lnTo>
                        <a:pt x="6" y="49"/>
                      </a:lnTo>
                      <a:lnTo>
                        <a:pt x="8" y="59"/>
                      </a:lnTo>
                      <a:lnTo>
                        <a:pt x="10" y="66"/>
                      </a:lnTo>
                      <a:lnTo>
                        <a:pt x="12" y="66"/>
                      </a:lnTo>
                      <a:lnTo>
                        <a:pt x="28" y="64"/>
                      </a:lnTo>
                      <a:lnTo>
                        <a:pt x="45" y="62"/>
                      </a:lnTo>
                      <a:lnTo>
                        <a:pt x="54" y="62"/>
                      </a:lnTo>
                      <a:lnTo>
                        <a:pt x="61" y="60"/>
                      </a:lnTo>
                      <a:lnTo>
                        <a:pt x="71" y="57"/>
                      </a:lnTo>
                      <a:lnTo>
                        <a:pt x="78" y="55"/>
                      </a:lnTo>
                      <a:lnTo>
                        <a:pt x="82" y="53"/>
                      </a:lnTo>
                      <a:lnTo>
                        <a:pt x="85" y="51"/>
                      </a:lnTo>
                      <a:lnTo>
                        <a:pt x="85" y="51"/>
                      </a:lnTo>
                      <a:lnTo>
                        <a:pt x="87" y="49"/>
                      </a:lnTo>
                      <a:lnTo>
                        <a:pt x="91" y="48"/>
                      </a:lnTo>
                      <a:lnTo>
                        <a:pt x="91" y="48"/>
                      </a:lnTo>
                      <a:lnTo>
                        <a:pt x="93" y="46"/>
                      </a:lnTo>
                      <a:lnTo>
                        <a:pt x="95" y="42"/>
                      </a:lnTo>
                      <a:lnTo>
                        <a:pt x="98" y="40"/>
                      </a:lnTo>
                      <a:lnTo>
                        <a:pt x="98" y="40"/>
                      </a:lnTo>
                      <a:lnTo>
                        <a:pt x="98" y="36"/>
                      </a:lnTo>
                      <a:lnTo>
                        <a:pt x="98" y="36"/>
                      </a:lnTo>
                      <a:lnTo>
                        <a:pt x="100" y="33"/>
                      </a:lnTo>
                      <a:lnTo>
                        <a:pt x="100" y="29"/>
                      </a:lnTo>
                      <a:lnTo>
                        <a:pt x="100" y="29"/>
                      </a:lnTo>
                      <a:lnTo>
                        <a:pt x="100" y="25"/>
                      </a:lnTo>
                      <a:lnTo>
                        <a:pt x="100" y="25"/>
                      </a:lnTo>
                      <a:lnTo>
                        <a:pt x="100" y="20"/>
                      </a:lnTo>
                      <a:lnTo>
                        <a:pt x="100" y="16"/>
                      </a:lnTo>
                      <a:lnTo>
                        <a:pt x="100" y="16"/>
                      </a:lnTo>
                      <a:lnTo>
                        <a:pt x="98" y="11"/>
                      </a:lnTo>
                      <a:lnTo>
                        <a:pt x="96" y="7"/>
                      </a:lnTo>
                      <a:lnTo>
                        <a:pt x="96" y="5"/>
                      </a:lnTo>
                      <a:lnTo>
                        <a:pt x="95" y="1"/>
                      </a:lnTo>
                      <a:lnTo>
                        <a:pt x="95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4" name="Rectangle 3098"/>
                <p:cNvSpPr>
                  <a:spLocks noChangeArrowheads="1"/>
                </p:cNvSpPr>
                <p:nvPr/>
              </p:nvSpPr>
              <p:spPr bwMode="auto">
                <a:xfrm>
                  <a:off x="4666" y="843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5" name="Freeform 3099"/>
                <p:cNvSpPr>
                  <a:spLocks/>
                </p:cNvSpPr>
                <p:nvPr/>
              </p:nvSpPr>
              <p:spPr bwMode="auto">
                <a:xfrm>
                  <a:off x="4666" y="84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6" name="Freeform 3100"/>
                <p:cNvSpPr>
                  <a:spLocks noEditPoints="1"/>
                </p:cNvSpPr>
                <p:nvPr/>
              </p:nvSpPr>
              <p:spPr bwMode="auto">
                <a:xfrm>
                  <a:off x="3680" y="1187"/>
                  <a:ext cx="1061" cy="1262"/>
                </a:xfrm>
                <a:custGeom>
                  <a:avLst/>
                  <a:gdLst>
                    <a:gd name="T0" fmla="*/ 738 w 1061"/>
                    <a:gd name="T1" fmla="*/ 1247 h 1262"/>
                    <a:gd name="T2" fmla="*/ 742 w 1061"/>
                    <a:gd name="T3" fmla="*/ 1262 h 1262"/>
                    <a:gd name="T4" fmla="*/ 738 w 1061"/>
                    <a:gd name="T5" fmla="*/ 1247 h 1262"/>
                    <a:gd name="T6" fmla="*/ 67 w 1061"/>
                    <a:gd name="T7" fmla="*/ 1072 h 1262"/>
                    <a:gd name="T8" fmla="*/ 63 w 1061"/>
                    <a:gd name="T9" fmla="*/ 1090 h 1262"/>
                    <a:gd name="T10" fmla="*/ 59 w 1061"/>
                    <a:gd name="T11" fmla="*/ 1096 h 1262"/>
                    <a:gd name="T12" fmla="*/ 50 w 1061"/>
                    <a:gd name="T13" fmla="*/ 1100 h 1262"/>
                    <a:gd name="T14" fmla="*/ 48 w 1061"/>
                    <a:gd name="T15" fmla="*/ 1116 h 1262"/>
                    <a:gd name="T16" fmla="*/ 44 w 1061"/>
                    <a:gd name="T17" fmla="*/ 1125 h 1262"/>
                    <a:gd name="T18" fmla="*/ 41 w 1061"/>
                    <a:gd name="T19" fmla="*/ 1135 h 1262"/>
                    <a:gd name="T20" fmla="*/ 33 w 1061"/>
                    <a:gd name="T21" fmla="*/ 1142 h 1262"/>
                    <a:gd name="T22" fmla="*/ 22 w 1061"/>
                    <a:gd name="T23" fmla="*/ 1149 h 1262"/>
                    <a:gd name="T24" fmla="*/ 19 w 1061"/>
                    <a:gd name="T25" fmla="*/ 1171 h 1262"/>
                    <a:gd name="T26" fmla="*/ 13 w 1061"/>
                    <a:gd name="T27" fmla="*/ 1192 h 1262"/>
                    <a:gd name="T28" fmla="*/ 0 w 1061"/>
                    <a:gd name="T29" fmla="*/ 1192 h 1262"/>
                    <a:gd name="T30" fmla="*/ 6 w 1061"/>
                    <a:gd name="T31" fmla="*/ 1192 h 1262"/>
                    <a:gd name="T32" fmla="*/ 17 w 1061"/>
                    <a:gd name="T33" fmla="*/ 1192 h 1262"/>
                    <a:gd name="T34" fmla="*/ 20 w 1061"/>
                    <a:gd name="T35" fmla="*/ 1160 h 1262"/>
                    <a:gd name="T36" fmla="*/ 28 w 1061"/>
                    <a:gd name="T37" fmla="*/ 1147 h 1262"/>
                    <a:gd name="T38" fmla="*/ 37 w 1061"/>
                    <a:gd name="T39" fmla="*/ 1140 h 1262"/>
                    <a:gd name="T40" fmla="*/ 43 w 1061"/>
                    <a:gd name="T41" fmla="*/ 1133 h 1262"/>
                    <a:gd name="T42" fmla="*/ 46 w 1061"/>
                    <a:gd name="T43" fmla="*/ 1124 h 1262"/>
                    <a:gd name="T44" fmla="*/ 48 w 1061"/>
                    <a:gd name="T45" fmla="*/ 1109 h 1262"/>
                    <a:gd name="T46" fmla="*/ 52 w 1061"/>
                    <a:gd name="T47" fmla="*/ 1098 h 1262"/>
                    <a:gd name="T48" fmla="*/ 59 w 1061"/>
                    <a:gd name="T49" fmla="*/ 1096 h 1262"/>
                    <a:gd name="T50" fmla="*/ 63 w 1061"/>
                    <a:gd name="T51" fmla="*/ 1085 h 1262"/>
                    <a:gd name="T52" fmla="*/ 79 w 1061"/>
                    <a:gd name="T53" fmla="*/ 1072 h 1262"/>
                    <a:gd name="T54" fmla="*/ 111 w 1061"/>
                    <a:gd name="T55" fmla="*/ 1076 h 1262"/>
                    <a:gd name="T56" fmla="*/ 142 w 1061"/>
                    <a:gd name="T57" fmla="*/ 1083 h 1262"/>
                    <a:gd name="T58" fmla="*/ 157 w 1061"/>
                    <a:gd name="T59" fmla="*/ 1107 h 1262"/>
                    <a:gd name="T60" fmla="*/ 168 w 1061"/>
                    <a:gd name="T61" fmla="*/ 1125 h 1262"/>
                    <a:gd name="T62" fmla="*/ 192 w 1061"/>
                    <a:gd name="T63" fmla="*/ 1124 h 1262"/>
                    <a:gd name="T64" fmla="*/ 168 w 1061"/>
                    <a:gd name="T65" fmla="*/ 1125 h 1262"/>
                    <a:gd name="T66" fmla="*/ 157 w 1061"/>
                    <a:gd name="T67" fmla="*/ 1107 h 1262"/>
                    <a:gd name="T68" fmla="*/ 142 w 1061"/>
                    <a:gd name="T69" fmla="*/ 1083 h 1262"/>
                    <a:gd name="T70" fmla="*/ 111 w 1061"/>
                    <a:gd name="T71" fmla="*/ 1076 h 1262"/>
                    <a:gd name="T72" fmla="*/ 79 w 1061"/>
                    <a:gd name="T73" fmla="*/ 1072 h 1262"/>
                    <a:gd name="T74" fmla="*/ 766 w 1061"/>
                    <a:gd name="T75" fmla="*/ 998 h 1262"/>
                    <a:gd name="T76" fmla="*/ 764 w 1061"/>
                    <a:gd name="T77" fmla="*/ 987 h 1262"/>
                    <a:gd name="T78" fmla="*/ 901 w 1061"/>
                    <a:gd name="T79" fmla="*/ 740 h 1262"/>
                    <a:gd name="T80" fmla="*/ 921 w 1061"/>
                    <a:gd name="T81" fmla="*/ 778 h 1262"/>
                    <a:gd name="T82" fmla="*/ 901 w 1061"/>
                    <a:gd name="T83" fmla="*/ 740 h 1262"/>
                    <a:gd name="T84" fmla="*/ 958 w 1061"/>
                    <a:gd name="T85" fmla="*/ 531 h 1262"/>
                    <a:gd name="T86" fmla="*/ 958 w 1061"/>
                    <a:gd name="T87" fmla="*/ 535 h 1262"/>
                    <a:gd name="T88" fmla="*/ 1019 w 1061"/>
                    <a:gd name="T89" fmla="*/ 479 h 1262"/>
                    <a:gd name="T90" fmla="*/ 1019 w 1061"/>
                    <a:gd name="T91" fmla="*/ 496 h 1262"/>
                    <a:gd name="T92" fmla="*/ 1019 w 1061"/>
                    <a:gd name="T93" fmla="*/ 505 h 1262"/>
                    <a:gd name="T94" fmla="*/ 1019 w 1061"/>
                    <a:gd name="T95" fmla="*/ 479 h 1262"/>
                    <a:gd name="T96" fmla="*/ 986 w 1061"/>
                    <a:gd name="T97" fmla="*/ 258 h 1262"/>
                    <a:gd name="T98" fmla="*/ 995 w 1061"/>
                    <a:gd name="T99" fmla="*/ 260 h 1262"/>
                    <a:gd name="T100" fmla="*/ 1006 w 1061"/>
                    <a:gd name="T101" fmla="*/ 262 h 1262"/>
                    <a:gd name="T102" fmla="*/ 1006 w 1061"/>
                    <a:gd name="T103" fmla="*/ 282 h 1262"/>
                    <a:gd name="T104" fmla="*/ 1006 w 1061"/>
                    <a:gd name="T105" fmla="*/ 275 h 1262"/>
                    <a:gd name="T106" fmla="*/ 1006 w 1061"/>
                    <a:gd name="T107" fmla="*/ 262 h 1262"/>
                    <a:gd name="T108" fmla="*/ 991 w 1061"/>
                    <a:gd name="T109" fmla="*/ 258 h 1262"/>
                    <a:gd name="T110" fmla="*/ 1058 w 1061"/>
                    <a:gd name="T111" fmla="*/ 206 h 1262"/>
                    <a:gd name="T112" fmla="*/ 1059 w 1061"/>
                    <a:gd name="T113" fmla="*/ 214 h 1262"/>
                    <a:gd name="T114" fmla="*/ 1059 w 1061"/>
                    <a:gd name="T115" fmla="*/ 219 h 1262"/>
                    <a:gd name="T116" fmla="*/ 1058 w 1061"/>
                    <a:gd name="T117" fmla="*/ 206 h 1262"/>
                    <a:gd name="T118" fmla="*/ 1039 w 1061"/>
                    <a:gd name="T119" fmla="*/ 5 h 1262"/>
                    <a:gd name="T120" fmla="*/ 1045 w 1061"/>
                    <a:gd name="T121" fmla="*/ 22 h 1262"/>
                    <a:gd name="T122" fmla="*/ 1048 w 1061"/>
                    <a:gd name="T123" fmla="*/ 22 h 1262"/>
                    <a:gd name="T124" fmla="*/ 1041 w 1061"/>
                    <a:gd name="T125" fmla="*/ 11 h 1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61" h="1262">
                      <a:moveTo>
                        <a:pt x="738" y="1243"/>
                      </a:moveTo>
                      <a:lnTo>
                        <a:pt x="738" y="1243"/>
                      </a:lnTo>
                      <a:lnTo>
                        <a:pt x="738" y="1247"/>
                      </a:lnTo>
                      <a:lnTo>
                        <a:pt x="740" y="1251"/>
                      </a:lnTo>
                      <a:lnTo>
                        <a:pt x="742" y="1256"/>
                      </a:lnTo>
                      <a:lnTo>
                        <a:pt x="742" y="1262"/>
                      </a:lnTo>
                      <a:lnTo>
                        <a:pt x="742" y="1256"/>
                      </a:lnTo>
                      <a:lnTo>
                        <a:pt x="740" y="1251"/>
                      </a:lnTo>
                      <a:lnTo>
                        <a:pt x="738" y="1247"/>
                      </a:lnTo>
                      <a:lnTo>
                        <a:pt x="738" y="1243"/>
                      </a:lnTo>
                      <a:close/>
                      <a:moveTo>
                        <a:pt x="79" y="1072"/>
                      </a:moveTo>
                      <a:lnTo>
                        <a:pt x="67" y="1072"/>
                      </a:lnTo>
                      <a:lnTo>
                        <a:pt x="65" y="1079"/>
                      </a:lnTo>
                      <a:lnTo>
                        <a:pt x="63" y="1085"/>
                      </a:lnTo>
                      <a:lnTo>
                        <a:pt x="63" y="1090"/>
                      </a:lnTo>
                      <a:lnTo>
                        <a:pt x="61" y="1096"/>
                      </a:lnTo>
                      <a:lnTo>
                        <a:pt x="59" y="1096"/>
                      </a:lnTo>
                      <a:lnTo>
                        <a:pt x="59" y="1096"/>
                      </a:lnTo>
                      <a:lnTo>
                        <a:pt x="55" y="1098"/>
                      </a:lnTo>
                      <a:lnTo>
                        <a:pt x="52" y="1098"/>
                      </a:lnTo>
                      <a:lnTo>
                        <a:pt x="50" y="1100"/>
                      </a:lnTo>
                      <a:lnTo>
                        <a:pt x="50" y="1100"/>
                      </a:lnTo>
                      <a:lnTo>
                        <a:pt x="48" y="1109"/>
                      </a:lnTo>
                      <a:lnTo>
                        <a:pt x="48" y="1116"/>
                      </a:lnTo>
                      <a:lnTo>
                        <a:pt x="46" y="1120"/>
                      </a:lnTo>
                      <a:lnTo>
                        <a:pt x="46" y="1124"/>
                      </a:lnTo>
                      <a:lnTo>
                        <a:pt x="44" y="1125"/>
                      </a:lnTo>
                      <a:lnTo>
                        <a:pt x="44" y="1129"/>
                      </a:lnTo>
                      <a:lnTo>
                        <a:pt x="43" y="1133"/>
                      </a:lnTo>
                      <a:lnTo>
                        <a:pt x="41" y="1135"/>
                      </a:lnTo>
                      <a:lnTo>
                        <a:pt x="39" y="1136"/>
                      </a:lnTo>
                      <a:lnTo>
                        <a:pt x="37" y="1140"/>
                      </a:lnTo>
                      <a:lnTo>
                        <a:pt x="33" y="1142"/>
                      </a:lnTo>
                      <a:lnTo>
                        <a:pt x="30" y="1144"/>
                      </a:lnTo>
                      <a:lnTo>
                        <a:pt x="28" y="1147"/>
                      </a:lnTo>
                      <a:lnTo>
                        <a:pt x="22" y="1149"/>
                      </a:lnTo>
                      <a:lnTo>
                        <a:pt x="22" y="1149"/>
                      </a:lnTo>
                      <a:lnTo>
                        <a:pt x="20" y="1160"/>
                      </a:lnTo>
                      <a:lnTo>
                        <a:pt x="19" y="1171"/>
                      </a:lnTo>
                      <a:lnTo>
                        <a:pt x="19" y="1183"/>
                      </a:lnTo>
                      <a:lnTo>
                        <a:pt x="17" y="1192"/>
                      </a:lnTo>
                      <a:lnTo>
                        <a:pt x="13" y="1192"/>
                      </a:lnTo>
                      <a:lnTo>
                        <a:pt x="9" y="1192"/>
                      </a:lnTo>
                      <a:lnTo>
                        <a:pt x="6" y="1192"/>
                      </a:lnTo>
                      <a:lnTo>
                        <a:pt x="0" y="1192"/>
                      </a:lnTo>
                      <a:lnTo>
                        <a:pt x="0" y="1192"/>
                      </a:lnTo>
                      <a:lnTo>
                        <a:pt x="0" y="1192"/>
                      </a:lnTo>
                      <a:lnTo>
                        <a:pt x="6" y="1192"/>
                      </a:lnTo>
                      <a:lnTo>
                        <a:pt x="9" y="1192"/>
                      </a:lnTo>
                      <a:lnTo>
                        <a:pt x="13" y="1192"/>
                      </a:lnTo>
                      <a:lnTo>
                        <a:pt x="17" y="1192"/>
                      </a:lnTo>
                      <a:lnTo>
                        <a:pt x="19" y="1183"/>
                      </a:lnTo>
                      <a:lnTo>
                        <a:pt x="19" y="1171"/>
                      </a:lnTo>
                      <a:lnTo>
                        <a:pt x="20" y="1160"/>
                      </a:lnTo>
                      <a:lnTo>
                        <a:pt x="22" y="1149"/>
                      </a:lnTo>
                      <a:lnTo>
                        <a:pt x="22" y="1149"/>
                      </a:lnTo>
                      <a:lnTo>
                        <a:pt x="28" y="1147"/>
                      </a:lnTo>
                      <a:lnTo>
                        <a:pt x="30" y="1144"/>
                      </a:lnTo>
                      <a:lnTo>
                        <a:pt x="33" y="1142"/>
                      </a:lnTo>
                      <a:lnTo>
                        <a:pt x="37" y="1140"/>
                      </a:lnTo>
                      <a:lnTo>
                        <a:pt x="39" y="1136"/>
                      </a:lnTo>
                      <a:lnTo>
                        <a:pt x="41" y="1135"/>
                      </a:lnTo>
                      <a:lnTo>
                        <a:pt x="43" y="1133"/>
                      </a:lnTo>
                      <a:lnTo>
                        <a:pt x="44" y="1129"/>
                      </a:lnTo>
                      <a:lnTo>
                        <a:pt x="44" y="1125"/>
                      </a:lnTo>
                      <a:lnTo>
                        <a:pt x="46" y="1124"/>
                      </a:lnTo>
                      <a:lnTo>
                        <a:pt x="46" y="1120"/>
                      </a:lnTo>
                      <a:lnTo>
                        <a:pt x="48" y="1116"/>
                      </a:lnTo>
                      <a:lnTo>
                        <a:pt x="48" y="1109"/>
                      </a:lnTo>
                      <a:lnTo>
                        <a:pt x="50" y="1100"/>
                      </a:lnTo>
                      <a:lnTo>
                        <a:pt x="50" y="1100"/>
                      </a:lnTo>
                      <a:lnTo>
                        <a:pt x="52" y="1098"/>
                      </a:lnTo>
                      <a:lnTo>
                        <a:pt x="55" y="1098"/>
                      </a:lnTo>
                      <a:lnTo>
                        <a:pt x="59" y="1096"/>
                      </a:lnTo>
                      <a:lnTo>
                        <a:pt x="59" y="1096"/>
                      </a:lnTo>
                      <a:lnTo>
                        <a:pt x="61" y="1096"/>
                      </a:lnTo>
                      <a:lnTo>
                        <a:pt x="63" y="1090"/>
                      </a:lnTo>
                      <a:lnTo>
                        <a:pt x="63" y="1085"/>
                      </a:lnTo>
                      <a:lnTo>
                        <a:pt x="65" y="1079"/>
                      </a:lnTo>
                      <a:lnTo>
                        <a:pt x="67" y="1072"/>
                      </a:lnTo>
                      <a:lnTo>
                        <a:pt x="79" y="1072"/>
                      </a:lnTo>
                      <a:lnTo>
                        <a:pt x="91" y="1072"/>
                      </a:lnTo>
                      <a:lnTo>
                        <a:pt x="102" y="1074"/>
                      </a:lnTo>
                      <a:lnTo>
                        <a:pt x="111" y="1076"/>
                      </a:lnTo>
                      <a:lnTo>
                        <a:pt x="122" y="1077"/>
                      </a:lnTo>
                      <a:lnTo>
                        <a:pt x="131" y="1081"/>
                      </a:lnTo>
                      <a:lnTo>
                        <a:pt x="142" y="1083"/>
                      </a:lnTo>
                      <a:lnTo>
                        <a:pt x="155" y="1088"/>
                      </a:lnTo>
                      <a:lnTo>
                        <a:pt x="157" y="1098"/>
                      </a:lnTo>
                      <a:lnTo>
                        <a:pt x="157" y="1107"/>
                      </a:lnTo>
                      <a:lnTo>
                        <a:pt x="159" y="1118"/>
                      </a:lnTo>
                      <a:lnTo>
                        <a:pt x="161" y="1127"/>
                      </a:lnTo>
                      <a:lnTo>
                        <a:pt x="168" y="1125"/>
                      </a:lnTo>
                      <a:lnTo>
                        <a:pt x="175" y="1125"/>
                      </a:lnTo>
                      <a:lnTo>
                        <a:pt x="185" y="1124"/>
                      </a:lnTo>
                      <a:lnTo>
                        <a:pt x="192" y="1124"/>
                      </a:lnTo>
                      <a:lnTo>
                        <a:pt x="185" y="1124"/>
                      </a:lnTo>
                      <a:lnTo>
                        <a:pt x="175" y="1125"/>
                      </a:lnTo>
                      <a:lnTo>
                        <a:pt x="168" y="1125"/>
                      </a:lnTo>
                      <a:lnTo>
                        <a:pt x="161" y="1127"/>
                      </a:lnTo>
                      <a:lnTo>
                        <a:pt x="159" y="1118"/>
                      </a:lnTo>
                      <a:lnTo>
                        <a:pt x="157" y="1107"/>
                      </a:lnTo>
                      <a:lnTo>
                        <a:pt x="157" y="1098"/>
                      </a:lnTo>
                      <a:lnTo>
                        <a:pt x="155" y="1088"/>
                      </a:lnTo>
                      <a:lnTo>
                        <a:pt x="142" y="1083"/>
                      </a:lnTo>
                      <a:lnTo>
                        <a:pt x="131" y="1081"/>
                      </a:lnTo>
                      <a:lnTo>
                        <a:pt x="122" y="1077"/>
                      </a:lnTo>
                      <a:lnTo>
                        <a:pt x="111" y="1076"/>
                      </a:lnTo>
                      <a:lnTo>
                        <a:pt x="102" y="1074"/>
                      </a:lnTo>
                      <a:lnTo>
                        <a:pt x="91" y="1072"/>
                      </a:lnTo>
                      <a:lnTo>
                        <a:pt x="79" y="1072"/>
                      </a:lnTo>
                      <a:close/>
                      <a:moveTo>
                        <a:pt x="764" y="987"/>
                      </a:moveTo>
                      <a:lnTo>
                        <a:pt x="764" y="987"/>
                      </a:lnTo>
                      <a:lnTo>
                        <a:pt x="766" y="998"/>
                      </a:lnTo>
                      <a:lnTo>
                        <a:pt x="768" y="1011"/>
                      </a:lnTo>
                      <a:lnTo>
                        <a:pt x="766" y="998"/>
                      </a:lnTo>
                      <a:lnTo>
                        <a:pt x="764" y="987"/>
                      </a:lnTo>
                      <a:close/>
                      <a:moveTo>
                        <a:pt x="897" y="732"/>
                      </a:moveTo>
                      <a:lnTo>
                        <a:pt x="897" y="732"/>
                      </a:lnTo>
                      <a:lnTo>
                        <a:pt x="901" y="740"/>
                      </a:lnTo>
                      <a:lnTo>
                        <a:pt x="904" y="749"/>
                      </a:lnTo>
                      <a:lnTo>
                        <a:pt x="912" y="762"/>
                      </a:lnTo>
                      <a:lnTo>
                        <a:pt x="921" y="778"/>
                      </a:lnTo>
                      <a:lnTo>
                        <a:pt x="912" y="762"/>
                      </a:lnTo>
                      <a:lnTo>
                        <a:pt x="904" y="749"/>
                      </a:lnTo>
                      <a:lnTo>
                        <a:pt x="901" y="740"/>
                      </a:lnTo>
                      <a:lnTo>
                        <a:pt x="897" y="732"/>
                      </a:lnTo>
                      <a:close/>
                      <a:moveTo>
                        <a:pt x="958" y="531"/>
                      </a:moveTo>
                      <a:lnTo>
                        <a:pt x="958" y="531"/>
                      </a:lnTo>
                      <a:lnTo>
                        <a:pt x="958" y="535"/>
                      </a:lnTo>
                      <a:lnTo>
                        <a:pt x="958" y="542"/>
                      </a:lnTo>
                      <a:lnTo>
                        <a:pt x="958" y="535"/>
                      </a:lnTo>
                      <a:lnTo>
                        <a:pt x="958" y="531"/>
                      </a:lnTo>
                      <a:close/>
                      <a:moveTo>
                        <a:pt x="1019" y="479"/>
                      </a:moveTo>
                      <a:lnTo>
                        <a:pt x="1019" y="479"/>
                      </a:lnTo>
                      <a:lnTo>
                        <a:pt x="1019" y="479"/>
                      </a:lnTo>
                      <a:lnTo>
                        <a:pt x="1019" y="489"/>
                      </a:lnTo>
                      <a:lnTo>
                        <a:pt x="1019" y="496"/>
                      </a:lnTo>
                      <a:lnTo>
                        <a:pt x="1019" y="505"/>
                      </a:lnTo>
                      <a:lnTo>
                        <a:pt x="1019" y="515"/>
                      </a:lnTo>
                      <a:lnTo>
                        <a:pt x="1019" y="505"/>
                      </a:lnTo>
                      <a:lnTo>
                        <a:pt x="1019" y="496"/>
                      </a:lnTo>
                      <a:lnTo>
                        <a:pt x="1019" y="489"/>
                      </a:lnTo>
                      <a:lnTo>
                        <a:pt x="1019" y="479"/>
                      </a:lnTo>
                      <a:lnTo>
                        <a:pt x="1019" y="479"/>
                      </a:lnTo>
                      <a:close/>
                      <a:moveTo>
                        <a:pt x="986" y="258"/>
                      </a:moveTo>
                      <a:lnTo>
                        <a:pt x="986" y="258"/>
                      </a:lnTo>
                      <a:lnTo>
                        <a:pt x="989" y="258"/>
                      </a:lnTo>
                      <a:lnTo>
                        <a:pt x="991" y="258"/>
                      </a:lnTo>
                      <a:lnTo>
                        <a:pt x="995" y="260"/>
                      </a:lnTo>
                      <a:lnTo>
                        <a:pt x="1000" y="260"/>
                      </a:lnTo>
                      <a:lnTo>
                        <a:pt x="1006" y="262"/>
                      </a:lnTo>
                      <a:lnTo>
                        <a:pt x="1006" y="262"/>
                      </a:lnTo>
                      <a:lnTo>
                        <a:pt x="1006" y="269"/>
                      </a:lnTo>
                      <a:lnTo>
                        <a:pt x="1006" y="275"/>
                      </a:lnTo>
                      <a:lnTo>
                        <a:pt x="1006" y="282"/>
                      </a:lnTo>
                      <a:lnTo>
                        <a:pt x="1006" y="289"/>
                      </a:lnTo>
                      <a:lnTo>
                        <a:pt x="1006" y="282"/>
                      </a:lnTo>
                      <a:lnTo>
                        <a:pt x="1006" y="275"/>
                      </a:lnTo>
                      <a:lnTo>
                        <a:pt x="1006" y="269"/>
                      </a:lnTo>
                      <a:lnTo>
                        <a:pt x="1006" y="262"/>
                      </a:lnTo>
                      <a:lnTo>
                        <a:pt x="1006" y="262"/>
                      </a:lnTo>
                      <a:lnTo>
                        <a:pt x="1000" y="260"/>
                      </a:lnTo>
                      <a:lnTo>
                        <a:pt x="995" y="260"/>
                      </a:lnTo>
                      <a:lnTo>
                        <a:pt x="991" y="258"/>
                      </a:lnTo>
                      <a:lnTo>
                        <a:pt x="989" y="258"/>
                      </a:lnTo>
                      <a:lnTo>
                        <a:pt x="986" y="258"/>
                      </a:lnTo>
                      <a:close/>
                      <a:moveTo>
                        <a:pt x="1058" y="206"/>
                      </a:moveTo>
                      <a:lnTo>
                        <a:pt x="1058" y="206"/>
                      </a:lnTo>
                      <a:lnTo>
                        <a:pt x="1058" y="210"/>
                      </a:lnTo>
                      <a:lnTo>
                        <a:pt x="1059" y="214"/>
                      </a:lnTo>
                      <a:lnTo>
                        <a:pt x="1059" y="219"/>
                      </a:lnTo>
                      <a:lnTo>
                        <a:pt x="1061" y="225"/>
                      </a:lnTo>
                      <a:lnTo>
                        <a:pt x="1059" y="219"/>
                      </a:lnTo>
                      <a:lnTo>
                        <a:pt x="1059" y="214"/>
                      </a:lnTo>
                      <a:lnTo>
                        <a:pt x="1058" y="210"/>
                      </a:lnTo>
                      <a:lnTo>
                        <a:pt x="1058" y="206"/>
                      </a:lnTo>
                      <a:close/>
                      <a:moveTo>
                        <a:pt x="1039" y="0"/>
                      </a:moveTo>
                      <a:lnTo>
                        <a:pt x="1039" y="0"/>
                      </a:lnTo>
                      <a:lnTo>
                        <a:pt x="1039" y="5"/>
                      </a:lnTo>
                      <a:lnTo>
                        <a:pt x="1041" y="11"/>
                      </a:lnTo>
                      <a:lnTo>
                        <a:pt x="1043" y="16"/>
                      </a:lnTo>
                      <a:lnTo>
                        <a:pt x="1045" y="22"/>
                      </a:lnTo>
                      <a:lnTo>
                        <a:pt x="1048" y="22"/>
                      </a:lnTo>
                      <a:lnTo>
                        <a:pt x="1056" y="22"/>
                      </a:lnTo>
                      <a:lnTo>
                        <a:pt x="1048" y="22"/>
                      </a:lnTo>
                      <a:lnTo>
                        <a:pt x="1045" y="22"/>
                      </a:lnTo>
                      <a:lnTo>
                        <a:pt x="1043" y="16"/>
                      </a:lnTo>
                      <a:lnTo>
                        <a:pt x="1041" y="11"/>
                      </a:lnTo>
                      <a:lnTo>
                        <a:pt x="1039" y="5"/>
                      </a:lnTo>
                      <a:lnTo>
                        <a:pt x="103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7" name="Freeform 3101"/>
                <p:cNvSpPr>
                  <a:spLocks/>
                </p:cNvSpPr>
                <p:nvPr/>
              </p:nvSpPr>
              <p:spPr bwMode="auto">
                <a:xfrm>
                  <a:off x="4418" y="2430"/>
                  <a:ext cx="4" cy="19"/>
                </a:xfrm>
                <a:custGeom>
                  <a:avLst/>
                  <a:gdLst>
                    <a:gd name="T0" fmla="*/ 0 w 4"/>
                    <a:gd name="T1" fmla="*/ 0 h 19"/>
                    <a:gd name="T2" fmla="*/ 0 w 4"/>
                    <a:gd name="T3" fmla="*/ 0 h 19"/>
                    <a:gd name="T4" fmla="*/ 0 w 4"/>
                    <a:gd name="T5" fmla="*/ 4 h 19"/>
                    <a:gd name="T6" fmla="*/ 2 w 4"/>
                    <a:gd name="T7" fmla="*/ 8 h 19"/>
                    <a:gd name="T8" fmla="*/ 4 w 4"/>
                    <a:gd name="T9" fmla="*/ 13 h 19"/>
                    <a:gd name="T10" fmla="*/ 4 w 4"/>
                    <a:gd name="T11" fmla="*/ 19 h 19"/>
                    <a:gd name="T12" fmla="*/ 4 w 4"/>
                    <a:gd name="T13" fmla="*/ 13 h 19"/>
                    <a:gd name="T14" fmla="*/ 2 w 4"/>
                    <a:gd name="T15" fmla="*/ 8 h 19"/>
                    <a:gd name="T16" fmla="*/ 0 w 4"/>
                    <a:gd name="T17" fmla="*/ 4 h 19"/>
                    <a:gd name="T18" fmla="*/ 0 w 4"/>
                    <a:gd name="T1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1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4" y="13"/>
                      </a:lnTo>
                      <a:lnTo>
                        <a:pt x="4" y="19"/>
                      </a:lnTo>
                      <a:lnTo>
                        <a:pt x="4" y="13"/>
                      </a:lnTo>
                      <a:lnTo>
                        <a:pt x="2" y="8"/>
                      </a:lnTo>
                      <a:lnTo>
                        <a:pt x="0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8" name="Freeform 3102"/>
                <p:cNvSpPr>
                  <a:spLocks/>
                </p:cNvSpPr>
                <p:nvPr/>
              </p:nvSpPr>
              <p:spPr bwMode="auto">
                <a:xfrm>
                  <a:off x="3680" y="2259"/>
                  <a:ext cx="192" cy="120"/>
                </a:xfrm>
                <a:custGeom>
                  <a:avLst/>
                  <a:gdLst>
                    <a:gd name="T0" fmla="*/ 67 w 192"/>
                    <a:gd name="T1" fmla="*/ 0 h 120"/>
                    <a:gd name="T2" fmla="*/ 63 w 192"/>
                    <a:gd name="T3" fmla="*/ 13 h 120"/>
                    <a:gd name="T4" fmla="*/ 61 w 192"/>
                    <a:gd name="T5" fmla="*/ 24 h 120"/>
                    <a:gd name="T6" fmla="*/ 59 w 192"/>
                    <a:gd name="T7" fmla="*/ 24 h 120"/>
                    <a:gd name="T8" fmla="*/ 52 w 192"/>
                    <a:gd name="T9" fmla="*/ 26 h 120"/>
                    <a:gd name="T10" fmla="*/ 50 w 192"/>
                    <a:gd name="T11" fmla="*/ 28 h 120"/>
                    <a:gd name="T12" fmla="*/ 48 w 192"/>
                    <a:gd name="T13" fmla="*/ 44 h 120"/>
                    <a:gd name="T14" fmla="*/ 46 w 192"/>
                    <a:gd name="T15" fmla="*/ 52 h 120"/>
                    <a:gd name="T16" fmla="*/ 44 w 192"/>
                    <a:gd name="T17" fmla="*/ 57 h 120"/>
                    <a:gd name="T18" fmla="*/ 41 w 192"/>
                    <a:gd name="T19" fmla="*/ 63 h 120"/>
                    <a:gd name="T20" fmla="*/ 37 w 192"/>
                    <a:gd name="T21" fmla="*/ 68 h 120"/>
                    <a:gd name="T22" fmla="*/ 30 w 192"/>
                    <a:gd name="T23" fmla="*/ 72 h 120"/>
                    <a:gd name="T24" fmla="*/ 22 w 192"/>
                    <a:gd name="T25" fmla="*/ 77 h 120"/>
                    <a:gd name="T26" fmla="*/ 20 w 192"/>
                    <a:gd name="T27" fmla="*/ 88 h 120"/>
                    <a:gd name="T28" fmla="*/ 19 w 192"/>
                    <a:gd name="T29" fmla="*/ 111 h 120"/>
                    <a:gd name="T30" fmla="*/ 13 w 192"/>
                    <a:gd name="T31" fmla="*/ 120 h 120"/>
                    <a:gd name="T32" fmla="*/ 6 w 192"/>
                    <a:gd name="T33" fmla="*/ 120 h 120"/>
                    <a:gd name="T34" fmla="*/ 0 w 192"/>
                    <a:gd name="T35" fmla="*/ 120 h 120"/>
                    <a:gd name="T36" fmla="*/ 6 w 192"/>
                    <a:gd name="T37" fmla="*/ 120 h 120"/>
                    <a:gd name="T38" fmla="*/ 13 w 192"/>
                    <a:gd name="T39" fmla="*/ 120 h 120"/>
                    <a:gd name="T40" fmla="*/ 19 w 192"/>
                    <a:gd name="T41" fmla="*/ 111 h 120"/>
                    <a:gd name="T42" fmla="*/ 20 w 192"/>
                    <a:gd name="T43" fmla="*/ 88 h 120"/>
                    <a:gd name="T44" fmla="*/ 22 w 192"/>
                    <a:gd name="T45" fmla="*/ 77 h 120"/>
                    <a:gd name="T46" fmla="*/ 30 w 192"/>
                    <a:gd name="T47" fmla="*/ 72 h 120"/>
                    <a:gd name="T48" fmla="*/ 37 w 192"/>
                    <a:gd name="T49" fmla="*/ 68 h 120"/>
                    <a:gd name="T50" fmla="*/ 41 w 192"/>
                    <a:gd name="T51" fmla="*/ 63 h 120"/>
                    <a:gd name="T52" fmla="*/ 44 w 192"/>
                    <a:gd name="T53" fmla="*/ 57 h 120"/>
                    <a:gd name="T54" fmla="*/ 46 w 192"/>
                    <a:gd name="T55" fmla="*/ 52 h 120"/>
                    <a:gd name="T56" fmla="*/ 48 w 192"/>
                    <a:gd name="T57" fmla="*/ 44 h 120"/>
                    <a:gd name="T58" fmla="*/ 50 w 192"/>
                    <a:gd name="T59" fmla="*/ 28 h 120"/>
                    <a:gd name="T60" fmla="*/ 52 w 192"/>
                    <a:gd name="T61" fmla="*/ 26 h 120"/>
                    <a:gd name="T62" fmla="*/ 59 w 192"/>
                    <a:gd name="T63" fmla="*/ 24 h 120"/>
                    <a:gd name="T64" fmla="*/ 61 w 192"/>
                    <a:gd name="T65" fmla="*/ 24 h 120"/>
                    <a:gd name="T66" fmla="*/ 63 w 192"/>
                    <a:gd name="T67" fmla="*/ 13 h 120"/>
                    <a:gd name="T68" fmla="*/ 67 w 192"/>
                    <a:gd name="T69" fmla="*/ 0 h 120"/>
                    <a:gd name="T70" fmla="*/ 91 w 192"/>
                    <a:gd name="T71" fmla="*/ 0 h 120"/>
                    <a:gd name="T72" fmla="*/ 111 w 192"/>
                    <a:gd name="T73" fmla="*/ 4 h 120"/>
                    <a:gd name="T74" fmla="*/ 131 w 192"/>
                    <a:gd name="T75" fmla="*/ 9 h 120"/>
                    <a:gd name="T76" fmla="*/ 155 w 192"/>
                    <a:gd name="T77" fmla="*/ 16 h 120"/>
                    <a:gd name="T78" fmla="*/ 157 w 192"/>
                    <a:gd name="T79" fmla="*/ 35 h 120"/>
                    <a:gd name="T80" fmla="*/ 161 w 192"/>
                    <a:gd name="T81" fmla="*/ 55 h 120"/>
                    <a:gd name="T82" fmla="*/ 175 w 192"/>
                    <a:gd name="T83" fmla="*/ 53 h 120"/>
                    <a:gd name="T84" fmla="*/ 192 w 192"/>
                    <a:gd name="T85" fmla="*/ 52 h 120"/>
                    <a:gd name="T86" fmla="*/ 175 w 192"/>
                    <a:gd name="T87" fmla="*/ 53 h 120"/>
                    <a:gd name="T88" fmla="*/ 161 w 192"/>
                    <a:gd name="T89" fmla="*/ 55 h 120"/>
                    <a:gd name="T90" fmla="*/ 157 w 192"/>
                    <a:gd name="T91" fmla="*/ 35 h 120"/>
                    <a:gd name="T92" fmla="*/ 155 w 192"/>
                    <a:gd name="T93" fmla="*/ 16 h 120"/>
                    <a:gd name="T94" fmla="*/ 131 w 192"/>
                    <a:gd name="T95" fmla="*/ 9 h 120"/>
                    <a:gd name="T96" fmla="*/ 111 w 192"/>
                    <a:gd name="T97" fmla="*/ 4 h 120"/>
                    <a:gd name="T98" fmla="*/ 91 w 192"/>
                    <a:gd name="T99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92" h="120">
                      <a:moveTo>
                        <a:pt x="79" y="0"/>
                      </a:moveTo>
                      <a:lnTo>
                        <a:pt x="67" y="0"/>
                      </a:lnTo>
                      <a:lnTo>
                        <a:pt x="65" y="7"/>
                      </a:lnTo>
                      <a:lnTo>
                        <a:pt x="63" y="13"/>
                      </a:lnTo>
                      <a:lnTo>
                        <a:pt x="63" y="18"/>
                      </a:lnTo>
                      <a:lnTo>
                        <a:pt x="61" y="24"/>
                      </a:lnTo>
                      <a:lnTo>
                        <a:pt x="59" y="24"/>
                      </a:lnTo>
                      <a:lnTo>
                        <a:pt x="59" y="24"/>
                      </a:lnTo>
                      <a:lnTo>
                        <a:pt x="55" y="26"/>
                      </a:lnTo>
                      <a:lnTo>
                        <a:pt x="52" y="26"/>
                      </a:lnTo>
                      <a:lnTo>
                        <a:pt x="50" y="28"/>
                      </a:lnTo>
                      <a:lnTo>
                        <a:pt x="50" y="28"/>
                      </a:lnTo>
                      <a:lnTo>
                        <a:pt x="48" y="37"/>
                      </a:lnTo>
                      <a:lnTo>
                        <a:pt x="48" y="44"/>
                      </a:lnTo>
                      <a:lnTo>
                        <a:pt x="46" y="48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4" y="57"/>
                      </a:lnTo>
                      <a:lnTo>
                        <a:pt x="43" y="61"/>
                      </a:lnTo>
                      <a:lnTo>
                        <a:pt x="41" y="63"/>
                      </a:lnTo>
                      <a:lnTo>
                        <a:pt x="39" y="64"/>
                      </a:lnTo>
                      <a:lnTo>
                        <a:pt x="37" y="68"/>
                      </a:lnTo>
                      <a:lnTo>
                        <a:pt x="33" y="70"/>
                      </a:lnTo>
                      <a:lnTo>
                        <a:pt x="30" y="72"/>
                      </a:lnTo>
                      <a:lnTo>
                        <a:pt x="28" y="75"/>
                      </a:lnTo>
                      <a:lnTo>
                        <a:pt x="22" y="77"/>
                      </a:lnTo>
                      <a:lnTo>
                        <a:pt x="22" y="77"/>
                      </a:lnTo>
                      <a:lnTo>
                        <a:pt x="20" y="88"/>
                      </a:lnTo>
                      <a:lnTo>
                        <a:pt x="19" y="99"/>
                      </a:lnTo>
                      <a:lnTo>
                        <a:pt x="19" y="111"/>
                      </a:lnTo>
                      <a:lnTo>
                        <a:pt x="17" y="120"/>
                      </a:lnTo>
                      <a:lnTo>
                        <a:pt x="13" y="120"/>
                      </a:lnTo>
                      <a:lnTo>
                        <a:pt x="9" y="120"/>
                      </a:lnTo>
                      <a:lnTo>
                        <a:pt x="6" y="120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6" y="120"/>
                      </a:lnTo>
                      <a:lnTo>
                        <a:pt x="9" y="120"/>
                      </a:lnTo>
                      <a:lnTo>
                        <a:pt x="13" y="120"/>
                      </a:lnTo>
                      <a:lnTo>
                        <a:pt x="17" y="120"/>
                      </a:lnTo>
                      <a:lnTo>
                        <a:pt x="19" y="111"/>
                      </a:lnTo>
                      <a:lnTo>
                        <a:pt x="19" y="99"/>
                      </a:lnTo>
                      <a:lnTo>
                        <a:pt x="20" y="88"/>
                      </a:lnTo>
                      <a:lnTo>
                        <a:pt x="22" y="77"/>
                      </a:lnTo>
                      <a:lnTo>
                        <a:pt x="22" y="77"/>
                      </a:lnTo>
                      <a:lnTo>
                        <a:pt x="28" y="75"/>
                      </a:lnTo>
                      <a:lnTo>
                        <a:pt x="30" y="72"/>
                      </a:lnTo>
                      <a:lnTo>
                        <a:pt x="33" y="70"/>
                      </a:lnTo>
                      <a:lnTo>
                        <a:pt x="37" y="68"/>
                      </a:lnTo>
                      <a:lnTo>
                        <a:pt x="39" y="64"/>
                      </a:lnTo>
                      <a:lnTo>
                        <a:pt x="41" y="63"/>
                      </a:lnTo>
                      <a:lnTo>
                        <a:pt x="43" y="61"/>
                      </a:lnTo>
                      <a:lnTo>
                        <a:pt x="44" y="57"/>
                      </a:lnTo>
                      <a:lnTo>
                        <a:pt x="44" y="53"/>
                      </a:lnTo>
                      <a:lnTo>
                        <a:pt x="46" y="52"/>
                      </a:lnTo>
                      <a:lnTo>
                        <a:pt x="46" y="48"/>
                      </a:lnTo>
                      <a:lnTo>
                        <a:pt x="48" y="44"/>
                      </a:lnTo>
                      <a:lnTo>
                        <a:pt x="48" y="37"/>
                      </a:lnTo>
                      <a:lnTo>
                        <a:pt x="50" y="28"/>
                      </a:lnTo>
                      <a:lnTo>
                        <a:pt x="50" y="28"/>
                      </a:lnTo>
                      <a:lnTo>
                        <a:pt x="52" y="26"/>
                      </a:lnTo>
                      <a:lnTo>
                        <a:pt x="55" y="26"/>
                      </a:lnTo>
                      <a:lnTo>
                        <a:pt x="59" y="24"/>
                      </a:lnTo>
                      <a:lnTo>
                        <a:pt x="59" y="24"/>
                      </a:lnTo>
                      <a:lnTo>
                        <a:pt x="61" y="24"/>
                      </a:lnTo>
                      <a:lnTo>
                        <a:pt x="63" y="18"/>
                      </a:lnTo>
                      <a:lnTo>
                        <a:pt x="63" y="13"/>
                      </a:lnTo>
                      <a:lnTo>
                        <a:pt x="65" y="7"/>
                      </a:lnTo>
                      <a:lnTo>
                        <a:pt x="67" y="0"/>
                      </a:lnTo>
                      <a:lnTo>
                        <a:pt x="79" y="0"/>
                      </a:lnTo>
                      <a:lnTo>
                        <a:pt x="91" y="0"/>
                      </a:lnTo>
                      <a:lnTo>
                        <a:pt x="102" y="2"/>
                      </a:lnTo>
                      <a:lnTo>
                        <a:pt x="111" y="4"/>
                      </a:lnTo>
                      <a:lnTo>
                        <a:pt x="122" y="5"/>
                      </a:lnTo>
                      <a:lnTo>
                        <a:pt x="131" y="9"/>
                      </a:lnTo>
                      <a:lnTo>
                        <a:pt x="142" y="11"/>
                      </a:lnTo>
                      <a:lnTo>
                        <a:pt x="155" y="16"/>
                      </a:lnTo>
                      <a:lnTo>
                        <a:pt x="157" y="26"/>
                      </a:lnTo>
                      <a:lnTo>
                        <a:pt x="157" y="35"/>
                      </a:lnTo>
                      <a:lnTo>
                        <a:pt x="159" y="46"/>
                      </a:lnTo>
                      <a:lnTo>
                        <a:pt x="161" y="55"/>
                      </a:lnTo>
                      <a:lnTo>
                        <a:pt x="168" y="53"/>
                      </a:lnTo>
                      <a:lnTo>
                        <a:pt x="175" y="53"/>
                      </a:lnTo>
                      <a:lnTo>
                        <a:pt x="185" y="52"/>
                      </a:lnTo>
                      <a:lnTo>
                        <a:pt x="192" y="52"/>
                      </a:lnTo>
                      <a:lnTo>
                        <a:pt x="185" y="52"/>
                      </a:lnTo>
                      <a:lnTo>
                        <a:pt x="175" y="53"/>
                      </a:lnTo>
                      <a:lnTo>
                        <a:pt x="168" y="53"/>
                      </a:lnTo>
                      <a:lnTo>
                        <a:pt x="161" y="55"/>
                      </a:lnTo>
                      <a:lnTo>
                        <a:pt x="159" y="46"/>
                      </a:lnTo>
                      <a:lnTo>
                        <a:pt x="157" y="35"/>
                      </a:lnTo>
                      <a:lnTo>
                        <a:pt x="157" y="26"/>
                      </a:lnTo>
                      <a:lnTo>
                        <a:pt x="155" y="16"/>
                      </a:lnTo>
                      <a:lnTo>
                        <a:pt x="142" y="11"/>
                      </a:lnTo>
                      <a:lnTo>
                        <a:pt x="131" y="9"/>
                      </a:lnTo>
                      <a:lnTo>
                        <a:pt x="122" y="5"/>
                      </a:lnTo>
                      <a:lnTo>
                        <a:pt x="111" y="4"/>
                      </a:lnTo>
                      <a:lnTo>
                        <a:pt x="102" y="2"/>
                      </a:lnTo>
                      <a:lnTo>
                        <a:pt x="91" y="0"/>
                      </a:lnTo>
                      <a:lnTo>
                        <a:pt x="7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89" name="Freeform 3103"/>
                <p:cNvSpPr>
                  <a:spLocks/>
                </p:cNvSpPr>
                <p:nvPr/>
              </p:nvSpPr>
              <p:spPr bwMode="auto">
                <a:xfrm>
                  <a:off x="4444" y="2174"/>
                  <a:ext cx="4" cy="24"/>
                </a:xfrm>
                <a:custGeom>
                  <a:avLst/>
                  <a:gdLst>
                    <a:gd name="T0" fmla="*/ 0 w 4"/>
                    <a:gd name="T1" fmla="*/ 0 h 24"/>
                    <a:gd name="T2" fmla="*/ 0 w 4"/>
                    <a:gd name="T3" fmla="*/ 0 h 24"/>
                    <a:gd name="T4" fmla="*/ 2 w 4"/>
                    <a:gd name="T5" fmla="*/ 11 h 24"/>
                    <a:gd name="T6" fmla="*/ 4 w 4"/>
                    <a:gd name="T7" fmla="*/ 24 h 24"/>
                    <a:gd name="T8" fmla="*/ 2 w 4"/>
                    <a:gd name="T9" fmla="*/ 11 h 24"/>
                    <a:gd name="T10" fmla="*/ 0 w 4"/>
                    <a:gd name="T11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2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11"/>
                      </a:lnTo>
                      <a:lnTo>
                        <a:pt x="4" y="24"/>
                      </a:lnTo>
                      <a:lnTo>
                        <a:pt x="2" y="1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0" name="Freeform 3104"/>
                <p:cNvSpPr>
                  <a:spLocks/>
                </p:cNvSpPr>
                <p:nvPr/>
              </p:nvSpPr>
              <p:spPr bwMode="auto">
                <a:xfrm>
                  <a:off x="4577" y="1919"/>
                  <a:ext cx="24" cy="46"/>
                </a:xfrm>
                <a:custGeom>
                  <a:avLst/>
                  <a:gdLst>
                    <a:gd name="T0" fmla="*/ 0 w 24"/>
                    <a:gd name="T1" fmla="*/ 0 h 46"/>
                    <a:gd name="T2" fmla="*/ 0 w 24"/>
                    <a:gd name="T3" fmla="*/ 0 h 46"/>
                    <a:gd name="T4" fmla="*/ 4 w 24"/>
                    <a:gd name="T5" fmla="*/ 8 h 46"/>
                    <a:gd name="T6" fmla="*/ 7 w 24"/>
                    <a:gd name="T7" fmla="*/ 17 h 46"/>
                    <a:gd name="T8" fmla="*/ 15 w 24"/>
                    <a:gd name="T9" fmla="*/ 30 h 46"/>
                    <a:gd name="T10" fmla="*/ 24 w 24"/>
                    <a:gd name="T11" fmla="*/ 46 h 46"/>
                    <a:gd name="T12" fmla="*/ 15 w 24"/>
                    <a:gd name="T13" fmla="*/ 30 h 46"/>
                    <a:gd name="T14" fmla="*/ 7 w 24"/>
                    <a:gd name="T15" fmla="*/ 17 h 46"/>
                    <a:gd name="T16" fmla="*/ 4 w 24"/>
                    <a:gd name="T17" fmla="*/ 8 h 46"/>
                    <a:gd name="T18" fmla="*/ 0 w 24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4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" y="8"/>
                      </a:lnTo>
                      <a:lnTo>
                        <a:pt x="7" y="17"/>
                      </a:lnTo>
                      <a:lnTo>
                        <a:pt x="15" y="30"/>
                      </a:lnTo>
                      <a:lnTo>
                        <a:pt x="24" y="46"/>
                      </a:lnTo>
                      <a:lnTo>
                        <a:pt x="15" y="30"/>
                      </a:lnTo>
                      <a:lnTo>
                        <a:pt x="7" y="17"/>
                      </a:lnTo>
                      <a:lnTo>
                        <a:pt x="4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1" name="Freeform 3105"/>
                <p:cNvSpPr>
                  <a:spLocks/>
                </p:cNvSpPr>
                <p:nvPr/>
              </p:nvSpPr>
              <p:spPr bwMode="auto">
                <a:xfrm>
                  <a:off x="4638" y="1718"/>
                  <a:ext cx="1" cy="11"/>
                </a:xfrm>
                <a:custGeom>
                  <a:avLst/>
                  <a:gdLst>
                    <a:gd name="T0" fmla="*/ 0 h 11"/>
                    <a:gd name="T1" fmla="*/ 0 h 11"/>
                    <a:gd name="T2" fmla="*/ 4 h 11"/>
                    <a:gd name="T3" fmla="*/ 11 h 11"/>
                    <a:gd name="T4" fmla="*/ 4 h 11"/>
                    <a:gd name="T5" fmla="*/ 0 h 1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11"/>
                      </a:lnTo>
                      <a:lnTo>
                        <a:pt x="0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2" name="Freeform 3106"/>
                <p:cNvSpPr>
                  <a:spLocks/>
                </p:cNvSpPr>
                <p:nvPr/>
              </p:nvSpPr>
              <p:spPr bwMode="auto">
                <a:xfrm>
                  <a:off x="4699" y="1666"/>
                  <a:ext cx="1" cy="36"/>
                </a:xfrm>
                <a:custGeom>
                  <a:avLst/>
                  <a:gdLst>
                    <a:gd name="T0" fmla="*/ 0 h 36"/>
                    <a:gd name="T1" fmla="*/ 0 h 36"/>
                    <a:gd name="T2" fmla="*/ 0 h 36"/>
                    <a:gd name="T3" fmla="*/ 10 h 36"/>
                    <a:gd name="T4" fmla="*/ 17 h 36"/>
                    <a:gd name="T5" fmla="*/ 26 h 36"/>
                    <a:gd name="T6" fmla="*/ 36 h 36"/>
                    <a:gd name="T7" fmla="*/ 26 h 36"/>
                    <a:gd name="T8" fmla="*/ 17 h 36"/>
                    <a:gd name="T9" fmla="*/ 10 h 36"/>
                    <a:gd name="T10" fmla="*/ 0 h 36"/>
                    <a:gd name="T11" fmla="*/ 0 h 3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</a:cxnLst>
                  <a:rect l="0" t="0" r="r" b="b"/>
                  <a:pathLst>
                    <a:path h="3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0" y="36"/>
                      </a:lnTo>
                      <a:lnTo>
                        <a:pt x="0" y="26"/>
                      </a:lnTo>
                      <a:lnTo>
                        <a:pt x="0" y="17"/>
                      </a:lnTo>
                      <a:lnTo>
                        <a:pt x="0" y="1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3" name="Freeform 3107"/>
                <p:cNvSpPr>
                  <a:spLocks/>
                </p:cNvSpPr>
                <p:nvPr/>
              </p:nvSpPr>
              <p:spPr bwMode="auto">
                <a:xfrm>
                  <a:off x="4666" y="1445"/>
                  <a:ext cx="20" cy="31"/>
                </a:xfrm>
                <a:custGeom>
                  <a:avLst/>
                  <a:gdLst>
                    <a:gd name="T0" fmla="*/ 0 w 20"/>
                    <a:gd name="T1" fmla="*/ 0 h 31"/>
                    <a:gd name="T2" fmla="*/ 0 w 20"/>
                    <a:gd name="T3" fmla="*/ 0 h 31"/>
                    <a:gd name="T4" fmla="*/ 3 w 20"/>
                    <a:gd name="T5" fmla="*/ 0 h 31"/>
                    <a:gd name="T6" fmla="*/ 5 w 20"/>
                    <a:gd name="T7" fmla="*/ 0 h 31"/>
                    <a:gd name="T8" fmla="*/ 9 w 20"/>
                    <a:gd name="T9" fmla="*/ 2 h 31"/>
                    <a:gd name="T10" fmla="*/ 14 w 20"/>
                    <a:gd name="T11" fmla="*/ 2 h 31"/>
                    <a:gd name="T12" fmla="*/ 20 w 20"/>
                    <a:gd name="T13" fmla="*/ 4 h 31"/>
                    <a:gd name="T14" fmla="*/ 20 w 20"/>
                    <a:gd name="T15" fmla="*/ 4 h 31"/>
                    <a:gd name="T16" fmla="*/ 20 w 20"/>
                    <a:gd name="T17" fmla="*/ 11 h 31"/>
                    <a:gd name="T18" fmla="*/ 20 w 20"/>
                    <a:gd name="T19" fmla="*/ 17 h 31"/>
                    <a:gd name="T20" fmla="*/ 20 w 20"/>
                    <a:gd name="T21" fmla="*/ 24 h 31"/>
                    <a:gd name="T22" fmla="*/ 20 w 20"/>
                    <a:gd name="T23" fmla="*/ 31 h 31"/>
                    <a:gd name="T24" fmla="*/ 20 w 20"/>
                    <a:gd name="T25" fmla="*/ 24 h 31"/>
                    <a:gd name="T26" fmla="*/ 20 w 20"/>
                    <a:gd name="T27" fmla="*/ 17 h 31"/>
                    <a:gd name="T28" fmla="*/ 20 w 20"/>
                    <a:gd name="T29" fmla="*/ 11 h 31"/>
                    <a:gd name="T30" fmla="*/ 20 w 20"/>
                    <a:gd name="T31" fmla="*/ 4 h 31"/>
                    <a:gd name="T32" fmla="*/ 20 w 20"/>
                    <a:gd name="T33" fmla="*/ 4 h 31"/>
                    <a:gd name="T34" fmla="*/ 14 w 20"/>
                    <a:gd name="T35" fmla="*/ 2 h 31"/>
                    <a:gd name="T36" fmla="*/ 9 w 20"/>
                    <a:gd name="T37" fmla="*/ 2 h 31"/>
                    <a:gd name="T38" fmla="*/ 5 w 20"/>
                    <a:gd name="T39" fmla="*/ 0 h 31"/>
                    <a:gd name="T40" fmla="*/ 3 w 20"/>
                    <a:gd name="T41" fmla="*/ 0 h 31"/>
                    <a:gd name="T42" fmla="*/ 0 w 20"/>
                    <a:gd name="T4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4" y="2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11"/>
                      </a:lnTo>
                      <a:lnTo>
                        <a:pt x="20" y="17"/>
                      </a:lnTo>
                      <a:lnTo>
                        <a:pt x="20" y="24"/>
                      </a:lnTo>
                      <a:lnTo>
                        <a:pt x="20" y="31"/>
                      </a:lnTo>
                      <a:lnTo>
                        <a:pt x="20" y="24"/>
                      </a:lnTo>
                      <a:lnTo>
                        <a:pt x="20" y="17"/>
                      </a:lnTo>
                      <a:lnTo>
                        <a:pt x="20" y="11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14" y="2"/>
                      </a:lnTo>
                      <a:lnTo>
                        <a:pt x="9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4" name="Freeform 3108"/>
                <p:cNvSpPr>
                  <a:spLocks/>
                </p:cNvSpPr>
                <p:nvPr/>
              </p:nvSpPr>
              <p:spPr bwMode="auto">
                <a:xfrm>
                  <a:off x="4738" y="1393"/>
                  <a:ext cx="3" cy="19"/>
                </a:xfrm>
                <a:custGeom>
                  <a:avLst/>
                  <a:gdLst>
                    <a:gd name="T0" fmla="*/ 0 w 3"/>
                    <a:gd name="T1" fmla="*/ 0 h 19"/>
                    <a:gd name="T2" fmla="*/ 0 w 3"/>
                    <a:gd name="T3" fmla="*/ 0 h 19"/>
                    <a:gd name="T4" fmla="*/ 0 w 3"/>
                    <a:gd name="T5" fmla="*/ 4 h 19"/>
                    <a:gd name="T6" fmla="*/ 1 w 3"/>
                    <a:gd name="T7" fmla="*/ 8 h 19"/>
                    <a:gd name="T8" fmla="*/ 1 w 3"/>
                    <a:gd name="T9" fmla="*/ 13 h 19"/>
                    <a:gd name="T10" fmla="*/ 3 w 3"/>
                    <a:gd name="T11" fmla="*/ 19 h 19"/>
                    <a:gd name="T12" fmla="*/ 1 w 3"/>
                    <a:gd name="T13" fmla="*/ 13 h 19"/>
                    <a:gd name="T14" fmla="*/ 1 w 3"/>
                    <a:gd name="T15" fmla="*/ 8 h 19"/>
                    <a:gd name="T16" fmla="*/ 0 w 3"/>
                    <a:gd name="T17" fmla="*/ 4 h 19"/>
                    <a:gd name="T18" fmla="*/ 0 w 3"/>
                    <a:gd name="T1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8"/>
                      </a:lnTo>
                      <a:lnTo>
                        <a:pt x="1" y="13"/>
                      </a:lnTo>
                      <a:lnTo>
                        <a:pt x="3" y="19"/>
                      </a:lnTo>
                      <a:lnTo>
                        <a:pt x="1" y="13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5" name="Freeform 3109"/>
                <p:cNvSpPr>
                  <a:spLocks/>
                </p:cNvSpPr>
                <p:nvPr/>
              </p:nvSpPr>
              <p:spPr bwMode="auto">
                <a:xfrm>
                  <a:off x="4719" y="1187"/>
                  <a:ext cx="17" cy="22"/>
                </a:xfrm>
                <a:custGeom>
                  <a:avLst/>
                  <a:gdLst>
                    <a:gd name="T0" fmla="*/ 0 w 17"/>
                    <a:gd name="T1" fmla="*/ 0 h 22"/>
                    <a:gd name="T2" fmla="*/ 0 w 17"/>
                    <a:gd name="T3" fmla="*/ 0 h 22"/>
                    <a:gd name="T4" fmla="*/ 0 w 17"/>
                    <a:gd name="T5" fmla="*/ 5 h 22"/>
                    <a:gd name="T6" fmla="*/ 2 w 17"/>
                    <a:gd name="T7" fmla="*/ 11 h 22"/>
                    <a:gd name="T8" fmla="*/ 4 w 17"/>
                    <a:gd name="T9" fmla="*/ 16 h 22"/>
                    <a:gd name="T10" fmla="*/ 6 w 17"/>
                    <a:gd name="T11" fmla="*/ 22 h 22"/>
                    <a:gd name="T12" fmla="*/ 9 w 17"/>
                    <a:gd name="T13" fmla="*/ 22 h 22"/>
                    <a:gd name="T14" fmla="*/ 17 w 17"/>
                    <a:gd name="T15" fmla="*/ 22 h 22"/>
                    <a:gd name="T16" fmla="*/ 9 w 17"/>
                    <a:gd name="T17" fmla="*/ 22 h 22"/>
                    <a:gd name="T18" fmla="*/ 6 w 17"/>
                    <a:gd name="T19" fmla="*/ 22 h 22"/>
                    <a:gd name="T20" fmla="*/ 4 w 17"/>
                    <a:gd name="T21" fmla="*/ 16 h 22"/>
                    <a:gd name="T22" fmla="*/ 2 w 17"/>
                    <a:gd name="T23" fmla="*/ 11 h 22"/>
                    <a:gd name="T24" fmla="*/ 0 w 17"/>
                    <a:gd name="T25" fmla="*/ 5 h 22"/>
                    <a:gd name="T26" fmla="*/ 0 w 17"/>
                    <a:gd name="T2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" h="2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11"/>
                      </a:lnTo>
                      <a:lnTo>
                        <a:pt x="4" y="16"/>
                      </a:lnTo>
                      <a:lnTo>
                        <a:pt x="6" y="22"/>
                      </a:lnTo>
                      <a:lnTo>
                        <a:pt x="9" y="22"/>
                      </a:lnTo>
                      <a:lnTo>
                        <a:pt x="17" y="22"/>
                      </a:lnTo>
                      <a:lnTo>
                        <a:pt x="9" y="22"/>
                      </a:lnTo>
                      <a:lnTo>
                        <a:pt x="6" y="22"/>
                      </a:lnTo>
                      <a:lnTo>
                        <a:pt x="4" y="16"/>
                      </a:lnTo>
                      <a:lnTo>
                        <a:pt x="2" y="11"/>
                      </a:lnTo>
                      <a:lnTo>
                        <a:pt x="0" y="5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6" name="Freeform 3110"/>
                <p:cNvSpPr>
                  <a:spLocks noEditPoints="1"/>
                </p:cNvSpPr>
                <p:nvPr/>
              </p:nvSpPr>
              <p:spPr bwMode="auto">
                <a:xfrm>
                  <a:off x="3331" y="1600"/>
                  <a:ext cx="107" cy="412"/>
                </a:xfrm>
                <a:custGeom>
                  <a:avLst/>
                  <a:gdLst>
                    <a:gd name="T0" fmla="*/ 107 w 107"/>
                    <a:gd name="T1" fmla="*/ 410 h 412"/>
                    <a:gd name="T2" fmla="*/ 107 w 107"/>
                    <a:gd name="T3" fmla="*/ 410 h 412"/>
                    <a:gd name="T4" fmla="*/ 107 w 107"/>
                    <a:gd name="T5" fmla="*/ 410 h 412"/>
                    <a:gd name="T6" fmla="*/ 102 w 107"/>
                    <a:gd name="T7" fmla="*/ 412 h 412"/>
                    <a:gd name="T8" fmla="*/ 107 w 107"/>
                    <a:gd name="T9" fmla="*/ 410 h 412"/>
                    <a:gd name="T10" fmla="*/ 107 w 107"/>
                    <a:gd name="T11" fmla="*/ 410 h 412"/>
                    <a:gd name="T12" fmla="*/ 107 w 107"/>
                    <a:gd name="T13" fmla="*/ 410 h 412"/>
                    <a:gd name="T14" fmla="*/ 2 w 107"/>
                    <a:gd name="T15" fmla="*/ 0 h 412"/>
                    <a:gd name="T16" fmla="*/ 0 w 107"/>
                    <a:gd name="T17" fmla="*/ 2 h 412"/>
                    <a:gd name="T18" fmla="*/ 0 w 107"/>
                    <a:gd name="T19" fmla="*/ 2 h 412"/>
                    <a:gd name="T20" fmla="*/ 0 w 107"/>
                    <a:gd name="T21" fmla="*/ 2 h 412"/>
                    <a:gd name="T22" fmla="*/ 2 w 107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7" h="412">
                      <a:moveTo>
                        <a:pt x="107" y="410"/>
                      </a:moveTo>
                      <a:lnTo>
                        <a:pt x="107" y="410"/>
                      </a:lnTo>
                      <a:lnTo>
                        <a:pt x="107" y="410"/>
                      </a:lnTo>
                      <a:lnTo>
                        <a:pt x="102" y="412"/>
                      </a:lnTo>
                      <a:lnTo>
                        <a:pt x="107" y="410"/>
                      </a:lnTo>
                      <a:lnTo>
                        <a:pt x="107" y="410"/>
                      </a:lnTo>
                      <a:lnTo>
                        <a:pt x="107" y="410"/>
                      </a:lnTo>
                      <a:close/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7" name="Freeform 3111"/>
                <p:cNvSpPr>
                  <a:spLocks/>
                </p:cNvSpPr>
                <p:nvPr/>
              </p:nvSpPr>
              <p:spPr bwMode="auto">
                <a:xfrm>
                  <a:off x="3433" y="2010"/>
                  <a:ext cx="5" cy="2"/>
                </a:xfrm>
                <a:custGeom>
                  <a:avLst/>
                  <a:gdLst>
                    <a:gd name="T0" fmla="*/ 5 w 5"/>
                    <a:gd name="T1" fmla="*/ 0 h 2"/>
                    <a:gd name="T2" fmla="*/ 5 w 5"/>
                    <a:gd name="T3" fmla="*/ 0 h 2"/>
                    <a:gd name="T4" fmla="*/ 5 w 5"/>
                    <a:gd name="T5" fmla="*/ 0 h 2"/>
                    <a:gd name="T6" fmla="*/ 0 w 5"/>
                    <a:gd name="T7" fmla="*/ 2 h 2"/>
                    <a:gd name="T8" fmla="*/ 5 w 5"/>
                    <a:gd name="T9" fmla="*/ 0 h 2"/>
                    <a:gd name="T10" fmla="*/ 5 w 5"/>
                    <a:gd name="T11" fmla="*/ 0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8" name="Freeform 3112"/>
                <p:cNvSpPr>
                  <a:spLocks/>
                </p:cNvSpPr>
                <p:nvPr/>
              </p:nvSpPr>
              <p:spPr bwMode="auto">
                <a:xfrm>
                  <a:off x="3331" y="1600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0 w 2"/>
                    <a:gd name="T5" fmla="*/ 2 h 2"/>
                    <a:gd name="T6" fmla="*/ 0 w 2"/>
                    <a:gd name="T7" fmla="*/ 2 h 2"/>
                    <a:gd name="T8" fmla="*/ 2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299" name="Freeform 3113"/>
                <p:cNvSpPr>
                  <a:spLocks/>
                </p:cNvSpPr>
                <p:nvPr/>
              </p:nvSpPr>
              <p:spPr bwMode="auto">
                <a:xfrm>
                  <a:off x="3403" y="1262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0" name="Freeform 3114"/>
                <p:cNvSpPr>
                  <a:spLocks/>
                </p:cNvSpPr>
                <p:nvPr/>
              </p:nvSpPr>
              <p:spPr bwMode="auto">
                <a:xfrm>
                  <a:off x="3403" y="1262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1" name="Freeform 3115"/>
                <p:cNvSpPr>
                  <a:spLocks/>
                </p:cNvSpPr>
                <p:nvPr/>
              </p:nvSpPr>
              <p:spPr bwMode="auto">
                <a:xfrm>
                  <a:off x="3950" y="2394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2" name="Freeform 3116"/>
                <p:cNvSpPr>
                  <a:spLocks/>
                </p:cNvSpPr>
                <p:nvPr/>
              </p:nvSpPr>
              <p:spPr bwMode="auto">
                <a:xfrm>
                  <a:off x="3950" y="2394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3" name="Freeform 3117"/>
                <p:cNvSpPr>
                  <a:spLocks noEditPoints="1"/>
                </p:cNvSpPr>
                <p:nvPr/>
              </p:nvSpPr>
              <p:spPr bwMode="auto">
                <a:xfrm>
                  <a:off x="4494" y="1666"/>
                  <a:ext cx="205" cy="726"/>
                </a:xfrm>
                <a:custGeom>
                  <a:avLst/>
                  <a:gdLst>
                    <a:gd name="T0" fmla="*/ 0 w 205"/>
                    <a:gd name="T1" fmla="*/ 726 h 726"/>
                    <a:gd name="T2" fmla="*/ 0 w 205"/>
                    <a:gd name="T3" fmla="*/ 726 h 726"/>
                    <a:gd name="T4" fmla="*/ 0 w 205"/>
                    <a:gd name="T5" fmla="*/ 726 h 726"/>
                    <a:gd name="T6" fmla="*/ 0 w 205"/>
                    <a:gd name="T7" fmla="*/ 726 h 726"/>
                    <a:gd name="T8" fmla="*/ 203 w 205"/>
                    <a:gd name="T9" fmla="*/ 0 h 726"/>
                    <a:gd name="T10" fmla="*/ 203 w 205"/>
                    <a:gd name="T11" fmla="*/ 0 h 726"/>
                    <a:gd name="T12" fmla="*/ 205 w 205"/>
                    <a:gd name="T13" fmla="*/ 0 h 726"/>
                    <a:gd name="T14" fmla="*/ 203 w 205"/>
                    <a:gd name="T15" fmla="*/ 0 h 7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5" h="726">
                      <a:moveTo>
                        <a:pt x="0" y="726"/>
                      </a:moveTo>
                      <a:lnTo>
                        <a:pt x="0" y="726"/>
                      </a:lnTo>
                      <a:lnTo>
                        <a:pt x="0" y="726"/>
                      </a:lnTo>
                      <a:lnTo>
                        <a:pt x="0" y="726"/>
                      </a:lnTo>
                      <a:close/>
                      <a:moveTo>
                        <a:pt x="203" y="0"/>
                      </a:moveTo>
                      <a:lnTo>
                        <a:pt x="203" y="0"/>
                      </a:lnTo>
                      <a:lnTo>
                        <a:pt x="205" y="0"/>
                      </a:lnTo>
                      <a:lnTo>
                        <a:pt x="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4" name="Freeform 3118"/>
                <p:cNvSpPr>
                  <a:spLocks/>
                </p:cNvSpPr>
                <p:nvPr/>
              </p:nvSpPr>
              <p:spPr bwMode="auto">
                <a:xfrm>
                  <a:off x="4494" y="2392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5" name="Freeform 3119"/>
                <p:cNvSpPr>
                  <a:spLocks/>
                </p:cNvSpPr>
                <p:nvPr/>
              </p:nvSpPr>
              <p:spPr bwMode="auto">
                <a:xfrm>
                  <a:off x="4697" y="1666"/>
                  <a:ext cx="2" cy="1"/>
                </a:xfrm>
                <a:custGeom>
                  <a:avLst/>
                  <a:gdLst>
                    <a:gd name="T0" fmla="*/ 0 w 2"/>
                    <a:gd name="T1" fmla="*/ 0 w 2"/>
                    <a:gd name="T2" fmla="*/ 2 w 2"/>
                    <a:gd name="T3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6" name="Freeform 3120"/>
                <p:cNvSpPr>
                  <a:spLocks noEditPoints="1"/>
                </p:cNvSpPr>
                <p:nvPr/>
              </p:nvSpPr>
              <p:spPr bwMode="auto">
                <a:xfrm>
                  <a:off x="4005" y="2392"/>
                  <a:ext cx="489" cy="92"/>
                </a:xfrm>
                <a:custGeom>
                  <a:avLst/>
                  <a:gdLst>
                    <a:gd name="T0" fmla="*/ 0 w 489"/>
                    <a:gd name="T1" fmla="*/ 90 h 92"/>
                    <a:gd name="T2" fmla="*/ 0 w 489"/>
                    <a:gd name="T3" fmla="*/ 90 h 92"/>
                    <a:gd name="T4" fmla="*/ 0 w 489"/>
                    <a:gd name="T5" fmla="*/ 92 h 92"/>
                    <a:gd name="T6" fmla="*/ 0 w 489"/>
                    <a:gd name="T7" fmla="*/ 92 h 92"/>
                    <a:gd name="T8" fmla="*/ 0 w 489"/>
                    <a:gd name="T9" fmla="*/ 90 h 92"/>
                    <a:gd name="T10" fmla="*/ 489 w 489"/>
                    <a:gd name="T11" fmla="*/ 0 h 92"/>
                    <a:gd name="T12" fmla="*/ 489 w 489"/>
                    <a:gd name="T13" fmla="*/ 0 h 92"/>
                    <a:gd name="T14" fmla="*/ 489 w 489"/>
                    <a:gd name="T15" fmla="*/ 2 h 92"/>
                    <a:gd name="T16" fmla="*/ 489 w 489"/>
                    <a:gd name="T17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9" h="92">
                      <a:moveTo>
                        <a:pt x="0" y="90"/>
                      </a:moveTo>
                      <a:lnTo>
                        <a:pt x="0" y="90"/>
                      </a:lnTo>
                      <a:lnTo>
                        <a:pt x="0" y="92"/>
                      </a:lnTo>
                      <a:lnTo>
                        <a:pt x="0" y="92"/>
                      </a:lnTo>
                      <a:lnTo>
                        <a:pt x="0" y="90"/>
                      </a:lnTo>
                      <a:close/>
                      <a:moveTo>
                        <a:pt x="489" y="0"/>
                      </a:moveTo>
                      <a:lnTo>
                        <a:pt x="489" y="0"/>
                      </a:lnTo>
                      <a:lnTo>
                        <a:pt x="489" y="2"/>
                      </a:lnTo>
                      <a:lnTo>
                        <a:pt x="48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7" name="Rectangle 3121"/>
                <p:cNvSpPr>
                  <a:spLocks noChangeArrowheads="1"/>
                </p:cNvSpPr>
                <p:nvPr/>
              </p:nvSpPr>
              <p:spPr bwMode="auto">
                <a:xfrm>
                  <a:off x="4005" y="2482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8" name="Freeform 3122"/>
                <p:cNvSpPr>
                  <a:spLocks/>
                </p:cNvSpPr>
                <p:nvPr/>
              </p:nvSpPr>
              <p:spPr bwMode="auto">
                <a:xfrm>
                  <a:off x="4494" y="2392"/>
                  <a:ext cx="1" cy="2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09" name="Freeform 3123"/>
                <p:cNvSpPr>
                  <a:spLocks/>
                </p:cNvSpPr>
                <p:nvPr/>
              </p:nvSpPr>
              <p:spPr bwMode="auto">
                <a:xfrm>
                  <a:off x="3328" y="845"/>
                  <a:ext cx="1487" cy="1646"/>
                </a:xfrm>
                <a:custGeom>
                  <a:avLst/>
                  <a:gdLst>
                    <a:gd name="T0" fmla="*/ 1177 w 1487"/>
                    <a:gd name="T1" fmla="*/ 15 h 1646"/>
                    <a:gd name="T2" fmla="*/ 998 w 1487"/>
                    <a:gd name="T3" fmla="*/ 133 h 1646"/>
                    <a:gd name="T4" fmla="*/ 902 w 1487"/>
                    <a:gd name="T5" fmla="*/ 181 h 1646"/>
                    <a:gd name="T6" fmla="*/ 882 w 1487"/>
                    <a:gd name="T7" fmla="*/ 165 h 1646"/>
                    <a:gd name="T8" fmla="*/ 808 w 1487"/>
                    <a:gd name="T9" fmla="*/ 181 h 1646"/>
                    <a:gd name="T10" fmla="*/ 775 w 1487"/>
                    <a:gd name="T11" fmla="*/ 279 h 1646"/>
                    <a:gd name="T12" fmla="*/ 718 w 1487"/>
                    <a:gd name="T13" fmla="*/ 345 h 1646"/>
                    <a:gd name="T14" fmla="*/ 548 w 1487"/>
                    <a:gd name="T15" fmla="*/ 419 h 1646"/>
                    <a:gd name="T16" fmla="*/ 513 w 1487"/>
                    <a:gd name="T17" fmla="*/ 334 h 1646"/>
                    <a:gd name="T18" fmla="*/ 415 w 1487"/>
                    <a:gd name="T19" fmla="*/ 327 h 1646"/>
                    <a:gd name="T20" fmla="*/ 378 w 1487"/>
                    <a:gd name="T21" fmla="*/ 390 h 1646"/>
                    <a:gd name="T22" fmla="*/ 149 w 1487"/>
                    <a:gd name="T23" fmla="*/ 406 h 1646"/>
                    <a:gd name="T24" fmla="*/ 77 w 1487"/>
                    <a:gd name="T25" fmla="*/ 463 h 1646"/>
                    <a:gd name="T26" fmla="*/ 97 w 1487"/>
                    <a:gd name="T27" fmla="*/ 670 h 1646"/>
                    <a:gd name="T28" fmla="*/ 18 w 1487"/>
                    <a:gd name="T29" fmla="*/ 938 h 1646"/>
                    <a:gd name="T30" fmla="*/ 33 w 1487"/>
                    <a:gd name="T31" fmla="*/ 1115 h 1646"/>
                    <a:gd name="T32" fmla="*/ 155 w 1487"/>
                    <a:gd name="T33" fmla="*/ 1222 h 1646"/>
                    <a:gd name="T34" fmla="*/ 230 w 1487"/>
                    <a:gd name="T35" fmla="*/ 1410 h 1646"/>
                    <a:gd name="T36" fmla="*/ 324 w 1487"/>
                    <a:gd name="T37" fmla="*/ 1517 h 1646"/>
                    <a:gd name="T38" fmla="*/ 400 w 1487"/>
                    <a:gd name="T39" fmla="*/ 1466 h 1646"/>
                    <a:gd name="T40" fmla="*/ 579 w 1487"/>
                    <a:gd name="T41" fmla="*/ 1473 h 1646"/>
                    <a:gd name="T42" fmla="*/ 677 w 1487"/>
                    <a:gd name="T43" fmla="*/ 1639 h 1646"/>
                    <a:gd name="T44" fmla="*/ 969 w 1487"/>
                    <a:gd name="T45" fmla="*/ 1641 h 1646"/>
                    <a:gd name="T46" fmla="*/ 1157 w 1487"/>
                    <a:gd name="T47" fmla="*/ 1532 h 1646"/>
                    <a:gd name="T48" fmla="*/ 1131 w 1487"/>
                    <a:gd name="T49" fmla="*/ 1379 h 1646"/>
                    <a:gd name="T50" fmla="*/ 1255 w 1487"/>
                    <a:gd name="T51" fmla="*/ 1143 h 1646"/>
                    <a:gd name="T52" fmla="*/ 1280 w 1487"/>
                    <a:gd name="T53" fmla="*/ 886 h 1646"/>
                    <a:gd name="T54" fmla="*/ 1328 w 1487"/>
                    <a:gd name="T55" fmla="*/ 733 h 1646"/>
                    <a:gd name="T56" fmla="*/ 1375 w 1487"/>
                    <a:gd name="T57" fmla="*/ 559 h 1646"/>
                    <a:gd name="T58" fmla="*/ 1419 w 1487"/>
                    <a:gd name="T59" fmla="*/ 412 h 1646"/>
                    <a:gd name="T60" fmla="*/ 1474 w 1487"/>
                    <a:gd name="T61" fmla="*/ 301 h 1646"/>
                    <a:gd name="T62" fmla="*/ 1423 w 1487"/>
                    <a:gd name="T63" fmla="*/ 320 h 1646"/>
                    <a:gd name="T64" fmla="*/ 1421 w 1487"/>
                    <a:gd name="T65" fmla="*/ 463 h 1646"/>
                    <a:gd name="T66" fmla="*/ 1369 w 1487"/>
                    <a:gd name="T67" fmla="*/ 567 h 1646"/>
                    <a:gd name="T68" fmla="*/ 1360 w 1487"/>
                    <a:gd name="T69" fmla="*/ 766 h 1646"/>
                    <a:gd name="T70" fmla="*/ 1243 w 1487"/>
                    <a:gd name="T71" fmla="*/ 877 h 1646"/>
                    <a:gd name="T72" fmla="*/ 1249 w 1487"/>
                    <a:gd name="T73" fmla="*/ 1155 h 1646"/>
                    <a:gd name="T74" fmla="*/ 1116 w 1487"/>
                    <a:gd name="T75" fmla="*/ 1427 h 1646"/>
                    <a:gd name="T76" fmla="*/ 1101 w 1487"/>
                    <a:gd name="T77" fmla="*/ 1574 h 1646"/>
                    <a:gd name="T78" fmla="*/ 895 w 1487"/>
                    <a:gd name="T79" fmla="*/ 1643 h 1646"/>
                    <a:gd name="T80" fmla="*/ 660 w 1487"/>
                    <a:gd name="T81" fmla="*/ 1615 h 1646"/>
                    <a:gd name="T82" fmla="*/ 557 w 1487"/>
                    <a:gd name="T83" fmla="*/ 1464 h 1646"/>
                    <a:gd name="T84" fmla="*/ 382 w 1487"/>
                    <a:gd name="T85" fmla="*/ 1486 h 1646"/>
                    <a:gd name="T86" fmla="*/ 300 w 1487"/>
                    <a:gd name="T87" fmla="*/ 1537 h 1646"/>
                    <a:gd name="T88" fmla="*/ 193 w 1487"/>
                    <a:gd name="T89" fmla="*/ 1340 h 1646"/>
                    <a:gd name="T90" fmla="*/ 121 w 1487"/>
                    <a:gd name="T91" fmla="*/ 1176 h 1646"/>
                    <a:gd name="T92" fmla="*/ 33 w 1487"/>
                    <a:gd name="T93" fmla="*/ 1023 h 1646"/>
                    <a:gd name="T94" fmla="*/ 7 w 1487"/>
                    <a:gd name="T95" fmla="*/ 773 h 1646"/>
                    <a:gd name="T96" fmla="*/ 129 w 1487"/>
                    <a:gd name="T97" fmla="*/ 545 h 1646"/>
                    <a:gd name="T98" fmla="*/ 75 w 1487"/>
                    <a:gd name="T99" fmla="*/ 408 h 1646"/>
                    <a:gd name="T100" fmla="*/ 264 w 1487"/>
                    <a:gd name="T101" fmla="*/ 390 h 1646"/>
                    <a:gd name="T102" fmla="*/ 383 w 1487"/>
                    <a:gd name="T103" fmla="*/ 321 h 1646"/>
                    <a:gd name="T104" fmla="*/ 443 w 1487"/>
                    <a:gd name="T105" fmla="*/ 325 h 1646"/>
                    <a:gd name="T106" fmla="*/ 533 w 1487"/>
                    <a:gd name="T107" fmla="*/ 375 h 1646"/>
                    <a:gd name="T108" fmla="*/ 609 w 1487"/>
                    <a:gd name="T109" fmla="*/ 462 h 1646"/>
                    <a:gd name="T110" fmla="*/ 769 w 1487"/>
                    <a:gd name="T111" fmla="*/ 336 h 1646"/>
                    <a:gd name="T112" fmla="*/ 754 w 1487"/>
                    <a:gd name="T113" fmla="*/ 262 h 1646"/>
                    <a:gd name="T114" fmla="*/ 889 w 1487"/>
                    <a:gd name="T115" fmla="*/ 148 h 1646"/>
                    <a:gd name="T116" fmla="*/ 895 w 1487"/>
                    <a:gd name="T117" fmla="*/ 192 h 1646"/>
                    <a:gd name="T118" fmla="*/ 915 w 1487"/>
                    <a:gd name="T119" fmla="*/ 135 h 1646"/>
                    <a:gd name="T120" fmla="*/ 1092 w 1487"/>
                    <a:gd name="T121" fmla="*/ 126 h 1646"/>
                    <a:gd name="T122" fmla="*/ 1256 w 1487"/>
                    <a:gd name="T123" fmla="*/ 9 h 16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87" h="1646">
                      <a:moveTo>
                        <a:pt x="1338" y="0"/>
                      </a:moveTo>
                      <a:lnTo>
                        <a:pt x="1339" y="6"/>
                      </a:lnTo>
                      <a:lnTo>
                        <a:pt x="1341" y="13"/>
                      </a:lnTo>
                      <a:lnTo>
                        <a:pt x="1341" y="19"/>
                      </a:lnTo>
                      <a:lnTo>
                        <a:pt x="1343" y="24"/>
                      </a:lnTo>
                      <a:lnTo>
                        <a:pt x="1339" y="24"/>
                      </a:lnTo>
                      <a:lnTo>
                        <a:pt x="1339" y="24"/>
                      </a:lnTo>
                      <a:lnTo>
                        <a:pt x="1334" y="22"/>
                      </a:lnTo>
                      <a:lnTo>
                        <a:pt x="1332" y="21"/>
                      </a:lnTo>
                      <a:lnTo>
                        <a:pt x="1330" y="21"/>
                      </a:lnTo>
                      <a:lnTo>
                        <a:pt x="1330" y="21"/>
                      </a:lnTo>
                      <a:lnTo>
                        <a:pt x="1327" y="26"/>
                      </a:lnTo>
                      <a:lnTo>
                        <a:pt x="1323" y="30"/>
                      </a:lnTo>
                      <a:lnTo>
                        <a:pt x="1319" y="26"/>
                      </a:lnTo>
                      <a:lnTo>
                        <a:pt x="1319" y="26"/>
                      </a:lnTo>
                      <a:lnTo>
                        <a:pt x="1314" y="22"/>
                      </a:lnTo>
                      <a:lnTo>
                        <a:pt x="1314" y="22"/>
                      </a:lnTo>
                      <a:lnTo>
                        <a:pt x="1306" y="28"/>
                      </a:lnTo>
                      <a:lnTo>
                        <a:pt x="1299" y="32"/>
                      </a:lnTo>
                      <a:lnTo>
                        <a:pt x="1290" y="35"/>
                      </a:lnTo>
                      <a:lnTo>
                        <a:pt x="1282" y="41"/>
                      </a:lnTo>
                      <a:lnTo>
                        <a:pt x="1279" y="37"/>
                      </a:lnTo>
                      <a:lnTo>
                        <a:pt x="1275" y="35"/>
                      </a:lnTo>
                      <a:lnTo>
                        <a:pt x="1273" y="32"/>
                      </a:lnTo>
                      <a:lnTo>
                        <a:pt x="1271" y="30"/>
                      </a:lnTo>
                      <a:lnTo>
                        <a:pt x="1267" y="26"/>
                      </a:lnTo>
                      <a:lnTo>
                        <a:pt x="1266" y="22"/>
                      </a:lnTo>
                      <a:lnTo>
                        <a:pt x="1262" y="17"/>
                      </a:lnTo>
                      <a:lnTo>
                        <a:pt x="1258" y="8"/>
                      </a:lnTo>
                      <a:lnTo>
                        <a:pt x="1247" y="6"/>
                      </a:lnTo>
                      <a:lnTo>
                        <a:pt x="1238" y="4"/>
                      </a:lnTo>
                      <a:lnTo>
                        <a:pt x="1232" y="2"/>
                      </a:lnTo>
                      <a:lnTo>
                        <a:pt x="1229" y="2"/>
                      </a:lnTo>
                      <a:lnTo>
                        <a:pt x="1223" y="2"/>
                      </a:lnTo>
                      <a:lnTo>
                        <a:pt x="1223" y="2"/>
                      </a:lnTo>
                      <a:lnTo>
                        <a:pt x="1218" y="2"/>
                      </a:lnTo>
                      <a:lnTo>
                        <a:pt x="1214" y="2"/>
                      </a:lnTo>
                      <a:lnTo>
                        <a:pt x="1214" y="2"/>
                      </a:lnTo>
                      <a:lnTo>
                        <a:pt x="1210" y="4"/>
                      </a:lnTo>
                      <a:lnTo>
                        <a:pt x="1205" y="4"/>
                      </a:lnTo>
                      <a:lnTo>
                        <a:pt x="1201" y="4"/>
                      </a:lnTo>
                      <a:lnTo>
                        <a:pt x="1201" y="4"/>
                      </a:lnTo>
                      <a:lnTo>
                        <a:pt x="1197" y="6"/>
                      </a:lnTo>
                      <a:lnTo>
                        <a:pt x="1194" y="8"/>
                      </a:lnTo>
                      <a:lnTo>
                        <a:pt x="1190" y="8"/>
                      </a:lnTo>
                      <a:lnTo>
                        <a:pt x="1190" y="9"/>
                      </a:lnTo>
                      <a:lnTo>
                        <a:pt x="1184" y="11"/>
                      </a:lnTo>
                      <a:lnTo>
                        <a:pt x="1183" y="13"/>
                      </a:lnTo>
                      <a:lnTo>
                        <a:pt x="1177" y="15"/>
                      </a:lnTo>
                      <a:lnTo>
                        <a:pt x="1175" y="17"/>
                      </a:lnTo>
                      <a:lnTo>
                        <a:pt x="1172" y="19"/>
                      </a:lnTo>
                      <a:lnTo>
                        <a:pt x="1168" y="22"/>
                      </a:lnTo>
                      <a:lnTo>
                        <a:pt x="1168" y="22"/>
                      </a:lnTo>
                      <a:lnTo>
                        <a:pt x="1164" y="24"/>
                      </a:lnTo>
                      <a:lnTo>
                        <a:pt x="1160" y="28"/>
                      </a:lnTo>
                      <a:lnTo>
                        <a:pt x="1160" y="28"/>
                      </a:lnTo>
                      <a:lnTo>
                        <a:pt x="1159" y="32"/>
                      </a:lnTo>
                      <a:lnTo>
                        <a:pt x="1151" y="39"/>
                      </a:lnTo>
                      <a:lnTo>
                        <a:pt x="1146" y="46"/>
                      </a:lnTo>
                      <a:lnTo>
                        <a:pt x="1140" y="56"/>
                      </a:lnTo>
                      <a:lnTo>
                        <a:pt x="1136" y="65"/>
                      </a:lnTo>
                      <a:lnTo>
                        <a:pt x="1131" y="65"/>
                      </a:lnTo>
                      <a:lnTo>
                        <a:pt x="1125" y="65"/>
                      </a:lnTo>
                      <a:lnTo>
                        <a:pt x="1124" y="65"/>
                      </a:lnTo>
                      <a:lnTo>
                        <a:pt x="1122" y="74"/>
                      </a:lnTo>
                      <a:lnTo>
                        <a:pt x="1120" y="83"/>
                      </a:lnTo>
                      <a:lnTo>
                        <a:pt x="1116" y="91"/>
                      </a:lnTo>
                      <a:lnTo>
                        <a:pt x="1114" y="98"/>
                      </a:lnTo>
                      <a:lnTo>
                        <a:pt x="1111" y="104"/>
                      </a:lnTo>
                      <a:lnTo>
                        <a:pt x="1107" y="109"/>
                      </a:lnTo>
                      <a:lnTo>
                        <a:pt x="1105" y="113"/>
                      </a:lnTo>
                      <a:lnTo>
                        <a:pt x="1103" y="115"/>
                      </a:lnTo>
                      <a:lnTo>
                        <a:pt x="1101" y="117"/>
                      </a:lnTo>
                      <a:lnTo>
                        <a:pt x="1100" y="118"/>
                      </a:lnTo>
                      <a:lnTo>
                        <a:pt x="1096" y="120"/>
                      </a:lnTo>
                      <a:lnTo>
                        <a:pt x="1094" y="122"/>
                      </a:lnTo>
                      <a:lnTo>
                        <a:pt x="1090" y="124"/>
                      </a:lnTo>
                      <a:lnTo>
                        <a:pt x="1088" y="126"/>
                      </a:lnTo>
                      <a:lnTo>
                        <a:pt x="1085" y="126"/>
                      </a:lnTo>
                      <a:lnTo>
                        <a:pt x="1083" y="128"/>
                      </a:lnTo>
                      <a:lnTo>
                        <a:pt x="1079" y="128"/>
                      </a:lnTo>
                      <a:lnTo>
                        <a:pt x="1076" y="129"/>
                      </a:lnTo>
                      <a:lnTo>
                        <a:pt x="1068" y="129"/>
                      </a:lnTo>
                      <a:lnTo>
                        <a:pt x="1059" y="129"/>
                      </a:lnTo>
                      <a:lnTo>
                        <a:pt x="1052" y="129"/>
                      </a:lnTo>
                      <a:lnTo>
                        <a:pt x="1040" y="128"/>
                      </a:lnTo>
                      <a:lnTo>
                        <a:pt x="1035" y="131"/>
                      </a:lnTo>
                      <a:lnTo>
                        <a:pt x="1035" y="131"/>
                      </a:lnTo>
                      <a:lnTo>
                        <a:pt x="1029" y="135"/>
                      </a:lnTo>
                      <a:lnTo>
                        <a:pt x="1024" y="139"/>
                      </a:lnTo>
                      <a:lnTo>
                        <a:pt x="1018" y="141"/>
                      </a:lnTo>
                      <a:lnTo>
                        <a:pt x="1015" y="137"/>
                      </a:lnTo>
                      <a:lnTo>
                        <a:pt x="1013" y="131"/>
                      </a:lnTo>
                      <a:lnTo>
                        <a:pt x="1011" y="131"/>
                      </a:lnTo>
                      <a:lnTo>
                        <a:pt x="1007" y="131"/>
                      </a:lnTo>
                      <a:lnTo>
                        <a:pt x="1002" y="133"/>
                      </a:lnTo>
                      <a:lnTo>
                        <a:pt x="1002" y="133"/>
                      </a:lnTo>
                      <a:lnTo>
                        <a:pt x="998" y="133"/>
                      </a:lnTo>
                      <a:lnTo>
                        <a:pt x="998" y="133"/>
                      </a:lnTo>
                      <a:lnTo>
                        <a:pt x="996" y="135"/>
                      </a:lnTo>
                      <a:lnTo>
                        <a:pt x="987" y="139"/>
                      </a:lnTo>
                      <a:lnTo>
                        <a:pt x="974" y="144"/>
                      </a:lnTo>
                      <a:lnTo>
                        <a:pt x="970" y="142"/>
                      </a:lnTo>
                      <a:lnTo>
                        <a:pt x="969" y="141"/>
                      </a:lnTo>
                      <a:lnTo>
                        <a:pt x="970" y="139"/>
                      </a:lnTo>
                      <a:lnTo>
                        <a:pt x="974" y="137"/>
                      </a:lnTo>
                      <a:lnTo>
                        <a:pt x="980" y="133"/>
                      </a:lnTo>
                      <a:lnTo>
                        <a:pt x="983" y="131"/>
                      </a:lnTo>
                      <a:lnTo>
                        <a:pt x="983" y="131"/>
                      </a:lnTo>
                      <a:lnTo>
                        <a:pt x="983" y="126"/>
                      </a:lnTo>
                      <a:lnTo>
                        <a:pt x="981" y="122"/>
                      </a:lnTo>
                      <a:lnTo>
                        <a:pt x="980" y="118"/>
                      </a:lnTo>
                      <a:lnTo>
                        <a:pt x="980" y="113"/>
                      </a:lnTo>
                      <a:lnTo>
                        <a:pt x="980" y="113"/>
                      </a:lnTo>
                      <a:lnTo>
                        <a:pt x="974" y="113"/>
                      </a:lnTo>
                      <a:lnTo>
                        <a:pt x="969" y="113"/>
                      </a:lnTo>
                      <a:lnTo>
                        <a:pt x="969" y="113"/>
                      </a:lnTo>
                      <a:lnTo>
                        <a:pt x="965" y="113"/>
                      </a:lnTo>
                      <a:lnTo>
                        <a:pt x="965" y="113"/>
                      </a:lnTo>
                      <a:lnTo>
                        <a:pt x="959" y="115"/>
                      </a:lnTo>
                      <a:lnTo>
                        <a:pt x="956" y="115"/>
                      </a:lnTo>
                      <a:lnTo>
                        <a:pt x="950" y="117"/>
                      </a:lnTo>
                      <a:lnTo>
                        <a:pt x="946" y="118"/>
                      </a:lnTo>
                      <a:lnTo>
                        <a:pt x="946" y="118"/>
                      </a:lnTo>
                      <a:lnTo>
                        <a:pt x="941" y="120"/>
                      </a:lnTo>
                      <a:lnTo>
                        <a:pt x="932" y="124"/>
                      </a:lnTo>
                      <a:lnTo>
                        <a:pt x="922" y="129"/>
                      </a:lnTo>
                      <a:lnTo>
                        <a:pt x="915" y="133"/>
                      </a:lnTo>
                      <a:lnTo>
                        <a:pt x="906" y="137"/>
                      </a:lnTo>
                      <a:lnTo>
                        <a:pt x="904" y="142"/>
                      </a:lnTo>
                      <a:lnTo>
                        <a:pt x="904" y="142"/>
                      </a:lnTo>
                      <a:lnTo>
                        <a:pt x="904" y="148"/>
                      </a:lnTo>
                      <a:lnTo>
                        <a:pt x="902" y="150"/>
                      </a:lnTo>
                      <a:lnTo>
                        <a:pt x="900" y="150"/>
                      </a:lnTo>
                      <a:lnTo>
                        <a:pt x="898" y="152"/>
                      </a:lnTo>
                      <a:lnTo>
                        <a:pt x="898" y="152"/>
                      </a:lnTo>
                      <a:lnTo>
                        <a:pt x="898" y="153"/>
                      </a:lnTo>
                      <a:lnTo>
                        <a:pt x="897" y="153"/>
                      </a:lnTo>
                      <a:lnTo>
                        <a:pt x="897" y="153"/>
                      </a:lnTo>
                      <a:lnTo>
                        <a:pt x="895" y="155"/>
                      </a:lnTo>
                      <a:lnTo>
                        <a:pt x="895" y="155"/>
                      </a:lnTo>
                      <a:lnTo>
                        <a:pt x="897" y="163"/>
                      </a:lnTo>
                      <a:lnTo>
                        <a:pt x="897" y="168"/>
                      </a:lnTo>
                      <a:lnTo>
                        <a:pt x="898" y="176"/>
                      </a:lnTo>
                      <a:lnTo>
                        <a:pt x="900" y="181"/>
                      </a:lnTo>
                      <a:lnTo>
                        <a:pt x="900" y="181"/>
                      </a:lnTo>
                      <a:lnTo>
                        <a:pt x="902" y="181"/>
                      </a:lnTo>
                      <a:lnTo>
                        <a:pt x="902" y="181"/>
                      </a:lnTo>
                      <a:lnTo>
                        <a:pt x="904" y="181"/>
                      </a:lnTo>
                      <a:lnTo>
                        <a:pt x="904" y="181"/>
                      </a:lnTo>
                      <a:lnTo>
                        <a:pt x="904" y="179"/>
                      </a:lnTo>
                      <a:lnTo>
                        <a:pt x="904" y="179"/>
                      </a:lnTo>
                      <a:lnTo>
                        <a:pt x="904" y="179"/>
                      </a:lnTo>
                      <a:lnTo>
                        <a:pt x="906" y="176"/>
                      </a:lnTo>
                      <a:lnTo>
                        <a:pt x="906" y="176"/>
                      </a:lnTo>
                      <a:lnTo>
                        <a:pt x="908" y="174"/>
                      </a:lnTo>
                      <a:lnTo>
                        <a:pt x="908" y="170"/>
                      </a:lnTo>
                      <a:lnTo>
                        <a:pt x="909" y="168"/>
                      </a:lnTo>
                      <a:lnTo>
                        <a:pt x="909" y="166"/>
                      </a:lnTo>
                      <a:lnTo>
                        <a:pt x="911" y="166"/>
                      </a:lnTo>
                      <a:lnTo>
                        <a:pt x="911" y="166"/>
                      </a:lnTo>
                      <a:lnTo>
                        <a:pt x="909" y="177"/>
                      </a:lnTo>
                      <a:lnTo>
                        <a:pt x="908" y="188"/>
                      </a:lnTo>
                      <a:lnTo>
                        <a:pt x="908" y="201"/>
                      </a:lnTo>
                      <a:lnTo>
                        <a:pt x="906" y="212"/>
                      </a:lnTo>
                      <a:lnTo>
                        <a:pt x="902" y="209"/>
                      </a:lnTo>
                      <a:lnTo>
                        <a:pt x="897" y="205"/>
                      </a:lnTo>
                      <a:lnTo>
                        <a:pt x="891" y="203"/>
                      </a:lnTo>
                      <a:lnTo>
                        <a:pt x="891" y="201"/>
                      </a:lnTo>
                      <a:lnTo>
                        <a:pt x="885" y="200"/>
                      </a:lnTo>
                      <a:lnTo>
                        <a:pt x="889" y="200"/>
                      </a:lnTo>
                      <a:lnTo>
                        <a:pt x="891" y="198"/>
                      </a:lnTo>
                      <a:lnTo>
                        <a:pt x="893" y="196"/>
                      </a:lnTo>
                      <a:lnTo>
                        <a:pt x="893" y="196"/>
                      </a:lnTo>
                      <a:lnTo>
                        <a:pt x="895" y="194"/>
                      </a:lnTo>
                      <a:lnTo>
                        <a:pt x="895" y="194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8" y="188"/>
                      </a:lnTo>
                      <a:lnTo>
                        <a:pt x="898" y="187"/>
                      </a:lnTo>
                      <a:lnTo>
                        <a:pt x="898" y="185"/>
                      </a:lnTo>
                      <a:lnTo>
                        <a:pt x="895" y="185"/>
                      </a:lnTo>
                      <a:lnTo>
                        <a:pt x="891" y="183"/>
                      </a:lnTo>
                      <a:lnTo>
                        <a:pt x="887" y="181"/>
                      </a:lnTo>
                      <a:lnTo>
                        <a:pt x="885" y="181"/>
                      </a:lnTo>
                      <a:lnTo>
                        <a:pt x="885" y="177"/>
                      </a:lnTo>
                      <a:lnTo>
                        <a:pt x="885" y="174"/>
                      </a:lnTo>
                      <a:lnTo>
                        <a:pt x="885" y="168"/>
                      </a:lnTo>
                      <a:lnTo>
                        <a:pt x="885" y="165"/>
                      </a:lnTo>
                      <a:lnTo>
                        <a:pt x="885" y="165"/>
                      </a:lnTo>
                      <a:lnTo>
                        <a:pt x="884" y="165"/>
                      </a:lnTo>
                      <a:lnTo>
                        <a:pt x="882" y="165"/>
                      </a:lnTo>
                      <a:lnTo>
                        <a:pt x="882" y="165"/>
                      </a:lnTo>
                      <a:lnTo>
                        <a:pt x="882" y="165"/>
                      </a:lnTo>
                      <a:lnTo>
                        <a:pt x="880" y="166"/>
                      </a:lnTo>
                      <a:lnTo>
                        <a:pt x="880" y="166"/>
                      </a:lnTo>
                      <a:lnTo>
                        <a:pt x="878" y="168"/>
                      </a:lnTo>
                      <a:lnTo>
                        <a:pt x="878" y="168"/>
                      </a:lnTo>
                      <a:lnTo>
                        <a:pt x="874" y="176"/>
                      </a:lnTo>
                      <a:lnTo>
                        <a:pt x="867" y="190"/>
                      </a:lnTo>
                      <a:lnTo>
                        <a:pt x="863" y="188"/>
                      </a:lnTo>
                      <a:lnTo>
                        <a:pt x="860" y="187"/>
                      </a:lnTo>
                      <a:lnTo>
                        <a:pt x="860" y="181"/>
                      </a:lnTo>
                      <a:lnTo>
                        <a:pt x="861" y="176"/>
                      </a:lnTo>
                      <a:lnTo>
                        <a:pt x="861" y="170"/>
                      </a:lnTo>
                      <a:lnTo>
                        <a:pt x="863" y="166"/>
                      </a:lnTo>
                      <a:lnTo>
                        <a:pt x="867" y="165"/>
                      </a:lnTo>
                      <a:lnTo>
                        <a:pt x="873" y="163"/>
                      </a:lnTo>
                      <a:lnTo>
                        <a:pt x="873" y="163"/>
                      </a:lnTo>
                      <a:lnTo>
                        <a:pt x="876" y="161"/>
                      </a:lnTo>
                      <a:lnTo>
                        <a:pt x="876" y="159"/>
                      </a:lnTo>
                      <a:lnTo>
                        <a:pt x="880" y="159"/>
                      </a:lnTo>
                      <a:lnTo>
                        <a:pt x="884" y="157"/>
                      </a:lnTo>
                      <a:lnTo>
                        <a:pt x="884" y="157"/>
                      </a:lnTo>
                      <a:lnTo>
                        <a:pt x="889" y="155"/>
                      </a:lnTo>
                      <a:lnTo>
                        <a:pt x="893" y="153"/>
                      </a:lnTo>
                      <a:lnTo>
                        <a:pt x="893" y="153"/>
                      </a:lnTo>
                      <a:lnTo>
                        <a:pt x="895" y="153"/>
                      </a:lnTo>
                      <a:lnTo>
                        <a:pt x="897" y="152"/>
                      </a:lnTo>
                      <a:lnTo>
                        <a:pt x="897" y="152"/>
                      </a:lnTo>
                      <a:lnTo>
                        <a:pt x="897" y="150"/>
                      </a:lnTo>
                      <a:lnTo>
                        <a:pt x="898" y="148"/>
                      </a:lnTo>
                      <a:lnTo>
                        <a:pt x="898" y="148"/>
                      </a:lnTo>
                      <a:lnTo>
                        <a:pt x="900" y="146"/>
                      </a:lnTo>
                      <a:lnTo>
                        <a:pt x="900" y="146"/>
                      </a:lnTo>
                      <a:lnTo>
                        <a:pt x="902" y="144"/>
                      </a:lnTo>
                      <a:lnTo>
                        <a:pt x="897" y="144"/>
                      </a:lnTo>
                      <a:lnTo>
                        <a:pt x="897" y="144"/>
                      </a:lnTo>
                      <a:lnTo>
                        <a:pt x="895" y="144"/>
                      </a:lnTo>
                      <a:lnTo>
                        <a:pt x="891" y="146"/>
                      </a:lnTo>
                      <a:lnTo>
                        <a:pt x="891" y="146"/>
                      </a:lnTo>
                      <a:lnTo>
                        <a:pt x="889" y="146"/>
                      </a:lnTo>
                      <a:lnTo>
                        <a:pt x="889" y="146"/>
                      </a:lnTo>
                      <a:lnTo>
                        <a:pt x="882" y="150"/>
                      </a:lnTo>
                      <a:lnTo>
                        <a:pt x="873" y="155"/>
                      </a:lnTo>
                      <a:lnTo>
                        <a:pt x="871" y="157"/>
                      </a:lnTo>
                      <a:lnTo>
                        <a:pt x="871" y="157"/>
                      </a:lnTo>
                      <a:lnTo>
                        <a:pt x="871" y="159"/>
                      </a:lnTo>
                      <a:lnTo>
                        <a:pt x="856" y="165"/>
                      </a:lnTo>
                      <a:lnTo>
                        <a:pt x="843" y="170"/>
                      </a:lnTo>
                      <a:lnTo>
                        <a:pt x="828" y="176"/>
                      </a:lnTo>
                      <a:lnTo>
                        <a:pt x="815" y="179"/>
                      </a:lnTo>
                      <a:lnTo>
                        <a:pt x="808" y="181"/>
                      </a:lnTo>
                      <a:lnTo>
                        <a:pt x="802" y="185"/>
                      </a:lnTo>
                      <a:lnTo>
                        <a:pt x="795" y="187"/>
                      </a:lnTo>
                      <a:lnTo>
                        <a:pt x="788" y="187"/>
                      </a:lnTo>
                      <a:lnTo>
                        <a:pt x="780" y="188"/>
                      </a:lnTo>
                      <a:lnTo>
                        <a:pt x="775" y="190"/>
                      </a:lnTo>
                      <a:lnTo>
                        <a:pt x="766" y="190"/>
                      </a:lnTo>
                      <a:lnTo>
                        <a:pt x="758" y="192"/>
                      </a:lnTo>
                      <a:lnTo>
                        <a:pt x="758" y="192"/>
                      </a:lnTo>
                      <a:lnTo>
                        <a:pt x="758" y="196"/>
                      </a:lnTo>
                      <a:lnTo>
                        <a:pt x="758" y="201"/>
                      </a:lnTo>
                      <a:lnTo>
                        <a:pt x="758" y="205"/>
                      </a:lnTo>
                      <a:lnTo>
                        <a:pt x="758" y="209"/>
                      </a:lnTo>
                      <a:lnTo>
                        <a:pt x="758" y="209"/>
                      </a:lnTo>
                      <a:lnTo>
                        <a:pt x="764" y="211"/>
                      </a:lnTo>
                      <a:lnTo>
                        <a:pt x="767" y="211"/>
                      </a:lnTo>
                      <a:lnTo>
                        <a:pt x="771" y="212"/>
                      </a:lnTo>
                      <a:lnTo>
                        <a:pt x="775" y="212"/>
                      </a:lnTo>
                      <a:lnTo>
                        <a:pt x="775" y="218"/>
                      </a:lnTo>
                      <a:lnTo>
                        <a:pt x="775" y="224"/>
                      </a:lnTo>
                      <a:lnTo>
                        <a:pt x="773" y="225"/>
                      </a:lnTo>
                      <a:lnTo>
                        <a:pt x="773" y="227"/>
                      </a:lnTo>
                      <a:lnTo>
                        <a:pt x="771" y="229"/>
                      </a:lnTo>
                      <a:lnTo>
                        <a:pt x="771" y="229"/>
                      </a:lnTo>
                      <a:lnTo>
                        <a:pt x="771" y="231"/>
                      </a:lnTo>
                      <a:lnTo>
                        <a:pt x="769" y="233"/>
                      </a:lnTo>
                      <a:lnTo>
                        <a:pt x="767" y="233"/>
                      </a:lnTo>
                      <a:lnTo>
                        <a:pt x="767" y="233"/>
                      </a:lnTo>
                      <a:lnTo>
                        <a:pt x="766" y="235"/>
                      </a:lnTo>
                      <a:lnTo>
                        <a:pt x="764" y="236"/>
                      </a:lnTo>
                      <a:lnTo>
                        <a:pt x="758" y="238"/>
                      </a:lnTo>
                      <a:lnTo>
                        <a:pt x="753" y="240"/>
                      </a:lnTo>
                      <a:lnTo>
                        <a:pt x="753" y="240"/>
                      </a:lnTo>
                      <a:lnTo>
                        <a:pt x="753" y="248"/>
                      </a:lnTo>
                      <a:lnTo>
                        <a:pt x="753" y="255"/>
                      </a:lnTo>
                      <a:lnTo>
                        <a:pt x="753" y="262"/>
                      </a:lnTo>
                      <a:lnTo>
                        <a:pt x="753" y="270"/>
                      </a:lnTo>
                      <a:lnTo>
                        <a:pt x="753" y="270"/>
                      </a:lnTo>
                      <a:lnTo>
                        <a:pt x="758" y="270"/>
                      </a:lnTo>
                      <a:lnTo>
                        <a:pt x="764" y="270"/>
                      </a:lnTo>
                      <a:lnTo>
                        <a:pt x="766" y="270"/>
                      </a:lnTo>
                      <a:lnTo>
                        <a:pt x="766" y="264"/>
                      </a:lnTo>
                      <a:lnTo>
                        <a:pt x="766" y="259"/>
                      </a:lnTo>
                      <a:lnTo>
                        <a:pt x="769" y="259"/>
                      </a:lnTo>
                      <a:lnTo>
                        <a:pt x="775" y="259"/>
                      </a:lnTo>
                      <a:lnTo>
                        <a:pt x="775" y="262"/>
                      </a:lnTo>
                      <a:lnTo>
                        <a:pt x="775" y="268"/>
                      </a:lnTo>
                      <a:lnTo>
                        <a:pt x="775" y="273"/>
                      </a:lnTo>
                      <a:lnTo>
                        <a:pt x="775" y="279"/>
                      </a:lnTo>
                      <a:lnTo>
                        <a:pt x="775" y="279"/>
                      </a:lnTo>
                      <a:lnTo>
                        <a:pt x="778" y="281"/>
                      </a:lnTo>
                      <a:lnTo>
                        <a:pt x="780" y="283"/>
                      </a:lnTo>
                      <a:lnTo>
                        <a:pt x="784" y="283"/>
                      </a:lnTo>
                      <a:lnTo>
                        <a:pt x="788" y="284"/>
                      </a:lnTo>
                      <a:lnTo>
                        <a:pt x="788" y="286"/>
                      </a:lnTo>
                      <a:lnTo>
                        <a:pt x="789" y="290"/>
                      </a:lnTo>
                      <a:lnTo>
                        <a:pt x="789" y="294"/>
                      </a:lnTo>
                      <a:lnTo>
                        <a:pt x="791" y="296"/>
                      </a:lnTo>
                      <a:lnTo>
                        <a:pt x="791" y="297"/>
                      </a:lnTo>
                      <a:lnTo>
                        <a:pt x="797" y="297"/>
                      </a:lnTo>
                      <a:lnTo>
                        <a:pt x="802" y="297"/>
                      </a:lnTo>
                      <a:lnTo>
                        <a:pt x="799" y="301"/>
                      </a:lnTo>
                      <a:lnTo>
                        <a:pt x="797" y="305"/>
                      </a:lnTo>
                      <a:lnTo>
                        <a:pt x="795" y="310"/>
                      </a:lnTo>
                      <a:lnTo>
                        <a:pt x="793" y="314"/>
                      </a:lnTo>
                      <a:lnTo>
                        <a:pt x="789" y="312"/>
                      </a:lnTo>
                      <a:lnTo>
                        <a:pt x="786" y="312"/>
                      </a:lnTo>
                      <a:lnTo>
                        <a:pt x="784" y="310"/>
                      </a:lnTo>
                      <a:lnTo>
                        <a:pt x="784" y="310"/>
                      </a:lnTo>
                      <a:lnTo>
                        <a:pt x="780" y="310"/>
                      </a:lnTo>
                      <a:lnTo>
                        <a:pt x="780" y="310"/>
                      </a:lnTo>
                      <a:lnTo>
                        <a:pt x="778" y="308"/>
                      </a:lnTo>
                      <a:lnTo>
                        <a:pt x="778" y="308"/>
                      </a:lnTo>
                      <a:lnTo>
                        <a:pt x="775" y="308"/>
                      </a:lnTo>
                      <a:lnTo>
                        <a:pt x="775" y="308"/>
                      </a:lnTo>
                      <a:lnTo>
                        <a:pt x="771" y="310"/>
                      </a:lnTo>
                      <a:lnTo>
                        <a:pt x="766" y="310"/>
                      </a:lnTo>
                      <a:lnTo>
                        <a:pt x="766" y="310"/>
                      </a:lnTo>
                      <a:lnTo>
                        <a:pt x="766" y="318"/>
                      </a:lnTo>
                      <a:lnTo>
                        <a:pt x="766" y="325"/>
                      </a:lnTo>
                      <a:lnTo>
                        <a:pt x="766" y="332"/>
                      </a:lnTo>
                      <a:lnTo>
                        <a:pt x="767" y="340"/>
                      </a:lnTo>
                      <a:lnTo>
                        <a:pt x="767" y="342"/>
                      </a:lnTo>
                      <a:lnTo>
                        <a:pt x="769" y="338"/>
                      </a:lnTo>
                      <a:lnTo>
                        <a:pt x="769" y="338"/>
                      </a:lnTo>
                      <a:lnTo>
                        <a:pt x="771" y="338"/>
                      </a:lnTo>
                      <a:lnTo>
                        <a:pt x="773" y="340"/>
                      </a:lnTo>
                      <a:lnTo>
                        <a:pt x="771" y="340"/>
                      </a:lnTo>
                      <a:lnTo>
                        <a:pt x="769" y="342"/>
                      </a:lnTo>
                      <a:lnTo>
                        <a:pt x="769" y="342"/>
                      </a:lnTo>
                      <a:lnTo>
                        <a:pt x="769" y="345"/>
                      </a:lnTo>
                      <a:lnTo>
                        <a:pt x="769" y="349"/>
                      </a:lnTo>
                      <a:lnTo>
                        <a:pt x="762" y="349"/>
                      </a:lnTo>
                      <a:lnTo>
                        <a:pt x="754" y="349"/>
                      </a:lnTo>
                      <a:lnTo>
                        <a:pt x="747" y="347"/>
                      </a:lnTo>
                      <a:lnTo>
                        <a:pt x="740" y="347"/>
                      </a:lnTo>
                      <a:lnTo>
                        <a:pt x="732" y="347"/>
                      </a:lnTo>
                      <a:lnTo>
                        <a:pt x="725" y="345"/>
                      </a:lnTo>
                      <a:lnTo>
                        <a:pt x="718" y="345"/>
                      </a:lnTo>
                      <a:lnTo>
                        <a:pt x="710" y="344"/>
                      </a:lnTo>
                      <a:lnTo>
                        <a:pt x="710" y="344"/>
                      </a:lnTo>
                      <a:lnTo>
                        <a:pt x="703" y="356"/>
                      </a:lnTo>
                      <a:lnTo>
                        <a:pt x="695" y="368"/>
                      </a:lnTo>
                      <a:lnTo>
                        <a:pt x="688" y="379"/>
                      </a:lnTo>
                      <a:lnTo>
                        <a:pt x="682" y="391"/>
                      </a:lnTo>
                      <a:lnTo>
                        <a:pt x="673" y="391"/>
                      </a:lnTo>
                      <a:lnTo>
                        <a:pt x="666" y="391"/>
                      </a:lnTo>
                      <a:lnTo>
                        <a:pt x="660" y="391"/>
                      </a:lnTo>
                      <a:lnTo>
                        <a:pt x="657" y="390"/>
                      </a:lnTo>
                      <a:lnTo>
                        <a:pt x="651" y="390"/>
                      </a:lnTo>
                      <a:lnTo>
                        <a:pt x="647" y="388"/>
                      </a:lnTo>
                      <a:lnTo>
                        <a:pt x="640" y="386"/>
                      </a:lnTo>
                      <a:lnTo>
                        <a:pt x="634" y="382"/>
                      </a:lnTo>
                      <a:lnTo>
                        <a:pt x="634" y="379"/>
                      </a:lnTo>
                      <a:lnTo>
                        <a:pt x="634" y="373"/>
                      </a:lnTo>
                      <a:lnTo>
                        <a:pt x="634" y="371"/>
                      </a:lnTo>
                      <a:lnTo>
                        <a:pt x="627" y="373"/>
                      </a:lnTo>
                      <a:lnTo>
                        <a:pt x="627" y="373"/>
                      </a:lnTo>
                      <a:lnTo>
                        <a:pt x="623" y="377"/>
                      </a:lnTo>
                      <a:lnTo>
                        <a:pt x="622" y="377"/>
                      </a:lnTo>
                      <a:lnTo>
                        <a:pt x="625" y="384"/>
                      </a:lnTo>
                      <a:lnTo>
                        <a:pt x="627" y="391"/>
                      </a:lnTo>
                      <a:lnTo>
                        <a:pt x="629" y="399"/>
                      </a:lnTo>
                      <a:lnTo>
                        <a:pt x="631" y="406"/>
                      </a:lnTo>
                      <a:lnTo>
                        <a:pt x="631" y="417"/>
                      </a:lnTo>
                      <a:lnTo>
                        <a:pt x="633" y="430"/>
                      </a:lnTo>
                      <a:lnTo>
                        <a:pt x="636" y="449"/>
                      </a:lnTo>
                      <a:lnTo>
                        <a:pt x="638" y="469"/>
                      </a:lnTo>
                      <a:lnTo>
                        <a:pt x="633" y="467"/>
                      </a:lnTo>
                      <a:lnTo>
                        <a:pt x="625" y="465"/>
                      </a:lnTo>
                      <a:lnTo>
                        <a:pt x="618" y="463"/>
                      </a:lnTo>
                      <a:lnTo>
                        <a:pt x="610" y="460"/>
                      </a:lnTo>
                      <a:lnTo>
                        <a:pt x="601" y="456"/>
                      </a:lnTo>
                      <a:lnTo>
                        <a:pt x="588" y="452"/>
                      </a:lnTo>
                      <a:lnTo>
                        <a:pt x="575" y="445"/>
                      </a:lnTo>
                      <a:lnTo>
                        <a:pt x="561" y="438"/>
                      </a:lnTo>
                      <a:lnTo>
                        <a:pt x="561" y="434"/>
                      </a:lnTo>
                      <a:lnTo>
                        <a:pt x="561" y="430"/>
                      </a:lnTo>
                      <a:lnTo>
                        <a:pt x="561" y="425"/>
                      </a:lnTo>
                      <a:lnTo>
                        <a:pt x="561" y="421"/>
                      </a:lnTo>
                      <a:lnTo>
                        <a:pt x="561" y="421"/>
                      </a:lnTo>
                      <a:lnTo>
                        <a:pt x="557" y="417"/>
                      </a:lnTo>
                      <a:lnTo>
                        <a:pt x="553" y="415"/>
                      </a:lnTo>
                      <a:lnTo>
                        <a:pt x="553" y="415"/>
                      </a:lnTo>
                      <a:lnTo>
                        <a:pt x="551" y="417"/>
                      </a:lnTo>
                      <a:lnTo>
                        <a:pt x="551" y="417"/>
                      </a:lnTo>
                      <a:lnTo>
                        <a:pt x="551" y="419"/>
                      </a:lnTo>
                      <a:lnTo>
                        <a:pt x="548" y="419"/>
                      </a:lnTo>
                      <a:lnTo>
                        <a:pt x="544" y="419"/>
                      </a:lnTo>
                      <a:lnTo>
                        <a:pt x="540" y="417"/>
                      </a:lnTo>
                      <a:lnTo>
                        <a:pt x="537" y="417"/>
                      </a:lnTo>
                      <a:lnTo>
                        <a:pt x="531" y="415"/>
                      </a:lnTo>
                      <a:lnTo>
                        <a:pt x="526" y="412"/>
                      </a:lnTo>
                      <a:lnTo>
                        <a:pt x="515" y="406"/>
                      </a:lnTo>
                      <a:lnTo>
                        <a:pt x="503" y="399"/>
                      </a:lnTo>
                      <a:lnTo>
                        <a:pt x="515" y="399"/>
                      </a:lnTo>
                      <a:lnTo>
                        <a:pt x="522" y="399"/>
                      </a:lnTo>
                      <a:lnTo>
                        <a:pt x="526" y="401"/>
                      </a:lnTo>
                      <a:lnTo>
                        <a:pt x="527" y="401"/>
                      </a:lnTo>
                      <a:lnTo>
                        <a:pt x="531" y="403"/>
                      </a:lnTo>
                      <a:lnTo>
                        <a:pt x="533" y="404"/>
                      </a:lnTo>
                      <a:lnTo>
                        <a:pt x="535" y="404"/>
                      </a:lnTo>
                      <a:lnTo>
                        <a:pt x="537" y="406"/>
                      </a:lnTo>
                      <a:lnTo>
                        <a:pt x="539" y="408"/>
                      </a:lnTo>
                      <a:lnTo>
                        <a:pt x="539" y="404"/>
                      </a:lnTo>
                      <a:lnTo>
                        <a:pt x="540" y="404"/>
                      </a:lnTo>
                      <a:lnTo>
                        <a:pt x="540" y="404"/>
                      </a:lnTo>
                      <a:lnTo>
                        <a:pt x="542" y="399"/>
                      </a:lnTo>
                      <a:lnTo>
                        <a:pt x="542" y="395"/>
                      </a:lnTo>
                      <a:lnTo>
                        <a:pt x="542" y="393"/>
                      </a:lnTo>
                      <a:lnTo>
                        <a:pt x="542" y="391"/>
                      </a:lnTo>
                      <a:lnTo>
                        <a:pt x="542" y="390"/>
                      </a:lnTo>
                      <a:lnTo>
                        <a:pt x="542" y="390"/>
                      </a:lnTo>
                      <a:lnTo>
                        <a:pt x="542" y="386"/>
                      </a:lnTo>
                      <a:lnTo>
                        <a:pt x="540" y="386"/>
                      </a:lnTo>
                      <a:lnTo>
                        <a:pt x="540" y="382"/>
                      </a:lnTo>
                      <a:lnTo>
                        <a:pt x="539" y="379"/>
                      </a:lnTo>
                      <a:lnTo>
                        <a:pt x="539" y="379"/>
                      </a:lnTo>
                      <a:lnTo>
                        <a:pt x="535" y="373"/>
                      </a:lnTo>
                      <a:lnTo>
                        <a:pt x="535" y="373"/>
                      </a:lnTo>
                      <a:lnTo>
                        <a:pt x="529" y="373"/>
                      </a:lnTo>
                      <a:lnTo>
                        <a:pt x="526" y="373"/>
                      </a:lnTo>
                      <a:lnTo>
                        <a:pt x="522" y="373"/>
                      </a:lnTo>
                      <a:lnTo>
                        <a:pt x="518" y="373"/>
                      </a:lnTo>
                      <a:lnTo>
                        <a:pt x="520" y="369"/>
                      </a:lnTo>
                      <a:lnTo>
                        <a:pt x="520" y="364"/>
                      </a:lnTo>
                      <a:lnTo>
                        <a:pt x="522" y="360"/>
                      </a:lnTo>
                      <a:lnTo>
                        <a:pt x="522" y="356"/>
                      </a:lnTo>
                      <a:lnTo>
                        <a:pt x="522" y="355"/>
                      </a:lnTo>
                      <a:lnTo>
                        <a:pt x="518" y="351"/>
                      </a:lnTo>
                      <a:lnTo>
                        <a:pt x="515" y="347"/>
                      </a:lnTo>
                      <a:lnTo>
                        <a:pt x="515" y="344"/>
                      </a:lnTo>
                      <a:lnTo>
                        <a:pt x="516" y="342"/>
                      </a:lnTo>
                      <a:lnTo>
                        <a:pt x="516" y="338"/>
                      </a:lnTo>
                      <a:lnTo>
                        <a:pt x="518" y="336"/>
                      </a:lnTo>
                      <a:lnTo>
                        <a:pt x="518" y="334"/>
                      </a:lnTo>
                      <a:lnTo>
                        <a:pt x="513" y="334"/>
                      </a:lnTo>
                      <a:lnTo>
                        <a:pt x="507" y="334"/>
                      </a:lnTo>
                      <a:lnTo>
                        <a:pt x="505" y="332"/>
                      </a:lnTo>
                      <a:lnTo>
                        <a:pt x="503" y="329"/>
                      </a:lnTo>
                      <a:lnTo>
                        <a:pt x="503" y="329"/>
                      </a:lnTo>
                      <a:lnTo>
                        <a:pt x="500" y="327"/>
                      </a:lnTo>
                      <a:lnTo>
                        <a:pt x="500" y="327"/>
                      </a:lnTo>
                      <a:lnTo>
                        <a:pt x="498" y="325"/>
                      </a:lnTo>
                      <a:lnTo>
                        <a:pt x="498" y="325"/>
                      </a:lnTo>
                      <a:lnTo>
                        <a:pt x="494" y="321"/>
                      </a:lnTo>
                      <a:lnTo>
                        <a:pt x="494" y="321"/>
                      </a:lnTo>
                      <a:lnTo>
                        <a:pt x="489" y="320"/>
                      </a:lnTo>
                      <a:lnTo>
                        <a:pt x="485" y="318"/>
                      </a:lnTo>
                      <a:lnTo>
                        <a:pt x="481" y="314"/>
                      </a:lnTo>
                      <a:lnTo>
                        <a:pt x="479" y="314"/>
                      </a:lnTo>
                      <a:lnTo>
                        <a:pt x="476" y="312"/>
                      </a:lnTo>
                      <a:lnTo>
                        <a:pt x="474" y="310"/>
                      </a:lnTo>
                      <a:lnTo>
                        <a:pt x="472" y="307"/>
                      </a:lnTo>
                      <a:lnTo>
                        <a:pt x="472" y="307"/>
                      </a:lnTo>
                      <a:lnTo>
                        <a:pt x="468" y="308"/>
                      </a:lnTo>
                      <a:lnTo>
                        <a:pt x="468" y="310"/>
                      </a:lnTo>
                      <a:lnTo>
                        <a:pt x="461" y="312"/>
                      </a:lnTo>
                      <a:lnTo>
                        <a:pt x="454" y="312"/>
                      </a:lnTo>
                      <a:lnTo>
                        <a:pt x="448" y="314"/>
                      </a:lnTo>
                      <a:lnTo>
                        <a:pt x="441" y="316"/>
                      </a:lnTo>
                      <a:lnTo>
                        <a:pt x="439" y="316"/>
                      </a:lnTo>
                      <a:lnTo>
                        <a:pt x="443" y="320"/>
                      </a:lnTo>
                      <a:lnTo>
                        <a:pt x="443" y="320"/>
                      </a:lnTo>
                      <a:lnTo>
                        <a:pt x="444" y="321"/>
                      </a:lnTo>
                      <a:lnTo>
                        <a:pt x="444" y="323"/>
                      </a:lnTo>
                      <a:lnTo>
                        <a:pt x="443" y="325"/>
                      </a:lnTo>
                      <a:lnTo>
                        <a:pt x="441" y="325"/>
                      </a:lnTo>
                      <a:lnTo>
                        <a:pt x="441" y="325"/>
                      </a:lnTo>
                      <a:lnTo>
                        <a:pt x="441" y="325"/>
                      </a:lnTo>
                      <a:lnTo>
                        <a:pt x="437" y="327"/>
                      </a:lnTo>
                      <a:lnTo>
                        <a:pt x="431" y="327"/>
                      </a:lnTo>
                      <a:lnTo>
                        <a:pt x="431" y="327"/>
                      </a:lnTo>
                      <a:lnTo>
                        <a:pt x="433" y="325"/>
                      </a:lnTo>
                      <a:lnTo>
                        <a:pt x="433" y="325"/>
                      </a:lnTo>
                      <a:lnTo>
                        <a:pt x="431" y="323"/>
                      </a:lnTo>
                      <a:lnTo>
                        <a:pt x="431" y="321"/>
                      </a:lnTo>
                      <a:lnTo>
                        <a:pt x="430" y="321"/>
                      </a:lnTo>
                      <a:lnTo>
                        <a:pt x="428" y="323"/>
                      </a:lnTo>
                      <a:lnTo>
                        <a:pt x="428" y="323"/>
                      </a:lnTo>
                      <a:lnTo>
                        <a:pt x="426" y="325"/>
                      </a:lnTo>
                      <a:lnTo>
                        <a:pt x="420" y="331"/>
                      </a:lnTo>
                      <a:lnTo>
                        <a:pt x="417" y="334"/>
                      </a:lnTo>
                      <a:lnTo>
                        <a:pt x="415" y="331"/>
                      </a:lnTo>
                      <a:lnTo>
                        <a:pt x="415" y="327"/>
                      </a:lnTo>
                      <a:lnTo>
                        <a:pt x="415" y="327"/>
                      </a:lnTo>
                      <a:lnTo>
                        <a:pt x="417" y="325"/>
                      </a:lnTo>
                      <a:lnTo>
                        <a:pt x="417" y="325"/>
                      </a:lnTo>
                      <a:lnTo>
                        <a:pt x="419" y="320"/>
                      </a:lnTo>
                      <a:lnTo>
                        <a:pt x="420" y="314"/>
                      </a:lnTo>
                      <a:lnTo>
                        <a:pt x="420" y="314"/>
                      </a:lnTo>
                      <a:lnTo>
                        <a:pt x="417" y="314"/>
                      </a:lnTo>
                      <a:lnTo>
                        <a:pt x="415" y="314"/>
                      </a:lnTo>
                      <a:lnTo>
                        <a:pt x="415" y="314"/>
                      </a:lnTo>
                      <a:lnTo>
                        <a:pt x="415" y="314"/>
                      </a:lnTo>
                      <a:lnTo>
                        <a:pt x="413" y="314"/>
                      </a:lnTo>
                      <a:lnTo>
                        <a:pt x="413" y="314"/>
                      </a:lnTo>
                      <a:lnTo>
                        <a:pt x="413" y="316"/>
                      </a:lnTo>
                      <a:lnTo>
                        <a:pt x="413" y="316"/>
                      </a:lnTo>
                      <a:lnTo>
                        <a:pt x="413" y="318"/>
                      </a:lnTo>
                      <a:lnTo>
                        <a:pt x="413" y="318"/>
                      </a:lnTo>
                      <a:lnTo>
                        <a:pt x="413" y="320"/>
                      </a:lnTo>
                      <a:lnTo>
                        <a:pt x="413" y="321"/>
                      </a:lnTo>
                      <a:lnTo>
                        <a:pt x="411" y="323"/>
                      </a:lnTo>
                      <a:lnTo>
                        <a:pt x="411" y="323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07" y="325"/>
                      </a:lnTo>
                      <a:lnTo>
                        <a:pt x="407" y="325"/>
                      </a:lnTo>
                      <a:lnTo>
                        <a:pt x="406" y="325"/>
                      </a:lnTo>
                      <a:lnTo>
                        <a:pt x="400" y="323"/>
                      </a:lnTo>
                      <a:lnTo>
                        <a:pt x="395" y="323"/>
                      </a:lnTo>
                      <a:lnTo>
                        <a:pt x="395" y="323"/>
                      </a:lnTo>
                      <a:lnTo>
                        <a:pt x="391" y="321"/>
                      </a:lnTo>
                      <a:lnTo>
                        <a:pt x="383" y="320"/>
                      </a:lnTo>
                      <a:lnTo>
                        <a:pt x="380" y="320"/>
                      </a:lnTo>
                      <a:lnTo>
                        <a:pt x="380" y="320"/>
                      </a:lnTo>
                      <a:lnTo>
                        <a:pt x="374" y="318"/>
                      </a:lnTo>
                      <a:lnTo>
                        <a:pt x="374" y="318"/>
                      </a:lnTo>
                      <a:lnTo>
                        <a:pt x="374" y="323"/>
                      </a:lnTo>
                      <a:lnTo>
                        <a:pt x="374" y="327"/>
                      </a:lnTo>
                      <a:lnTo>
                        <a:pt x="374" y="332"/>
                      </a:lnTo>
                      <a:lnTo>
                        <a:pt x="374" y="336"/>
                      </a:lnTo>
                      <a:lnTo>
                        <a:pt x="369" y="336"/>
                      </a:lnTo>
                      <a:lnTo>
                        <a:pt x="365" y="336"/>
                      </a:lnTo>
                      <a:lnTo>
                        <a:pt x="363" y="336"/>
                      </a:lnTo>
                      <a:lnTo>
                        <a:pt x="365" y="344"/>
                      </a:lnTo>
                      <a:lnTo>
                        <a:pt x="367" y="351"/>
                      </a:lnTo>
                      <a:lnTo>
                        <a:pt x="371" y="358"/>
                      </a:lnTo>
                      <a:lnTo>
                        <a:pt x="372" y="366"/>
                      </a:lnTo>
                      <a:lnTo>
                        <a:pt x="374" y="373"/>
                      </a:lnTo>
                      <a:lnTo>
                        <a:pt x="376" y="380"/>
                      </a:lnTo>
                      <a:lnTo>
                        <a:pt x="378" y="390"/>
                      </a:lnTo>
                      <a:lnTo>
                        <a:pt x="378" y="390"/>
                      </a:lnTo>
                      <a:lnTo>
                        <a:pt x="380" y="395"/>
                      </a:lnTo>
                      <a:lnTo>
                        <a:pt x="367" y="399"/>
                      </a:lnTo>
                      <a:lnTo>
                        <a:pt x="350" y="403"/>
                      </a:lnTo>
                      <a:lnTo>
                        <a:pt x="341" y="404"/>
                      </a:lnTo>
                      <a:lnTo>
                        <a:pt x="332" y="408"/>
                      </a:lnTo>
                      <a:lnTo>
                        <a:pt x="321" y="410"/>
                      </a:lnTo>
                      <a:lnTo>
                        <a:pt x="312" y="412"/>
                      </a:lnTo>
                      <a:lnTo>
                        <a:pt x="302" y="412"/>
                      </a:lnTo>
                      <a:lnTo>
                        <a:pt x="293" y="412"/>
                      </a:lnTo>
                      <a:lnTo>
                        <a:pt x="288" y="412"/>
                      </a:lnTo>
                      <a:lnTo>
                        <a:pt x="284" y="412"/>
                      </a:lnTo>
                      <a:lnTo>
                        <a:pt x="280" y="412"/>
                      </a:lnTo>
                      <a:lnTo>
                        <a:pt x="276" y="410"/>
                      </a:lnTo>
                      <a:lnTo>
                        <a:pt x="273" y="408"/>
                      </a:lnTo>
                      <a:lnTo>
                        <a:pt x="269" y="408"/>
                      </a:lnTo>
                      <a:lnTo>
                        <a:pt x="265" y="406"/>
                      </a:lnTo>
                      <a:lnTo>
                        <a:pt x="264" y="403"/>
                      </a:lnTo>
                      <a:lnTo>
                        <a:pt x="260" y="401"/>
                      </a:lnTo>
                      <a:lnTo>
                        <a:pt x="258" y="397"/>
                      </a:lnTo>
                      <a:lnTo>
                        <a:pt x="256" y="395"/>
                      </a:lnTo>
                      <a:lnTo>
                        <a:pt x="256" y="391"/>
                      </a:lnTo>
                      <a:lnTo>
                        <a:pt x="258" y="391"/>
                      </a:lnTo>
                      <a:lnTo>
                        <a:pt x="262" y="391"/>
                      </a:lnTo>
                      <a:lnTo>
                        <a:pt x="264" y="391"/>
                      </a:lnTo>
                      <a:lnTo>
                        <a:pt x="264" y="391"/>
                      </a:lnTo>
                      <a:lnTo>
                        <a:pt x="265" y="391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7" y="388"/>
                      </a:lnTo>
                      <a:lnTo>
                        <a:pt x="267" y="388"/>
                      </a:lnTo>
                      <a:lnTo>
                        <a:pt x="267" y="386"/>
                      </a:lnTo>
                      <a:lnTo>
                        <a:pt x="267" y="384"/>
                      </a:lnTo>
                      <a:lnTo>
                        <a:pt x="254" y="386"/>
                      </a:lnTo>
                      <a:lnTo>
                        <a:pt x="243" y="386"/>
                      </a:lnTo>
                      <a:lnTo>
                        <a:pt x="230" y="386"/>
                      </a:lnTo>
                      <a:lnTo>
                        <a:pt x="219" y="388"/>
                      </a:lnTo>
                      <a:lnTo>
                        <a:pt x="208" y="388"/>
                      </a:lnTo>
                      <a:lnTo>
                        <a:pt x="195" y="390"/>
                      </a:lnTo>
                      <a:lnTo>
                        <a:pt x="184" y="390"/>
                      </a:lnTo>
                      <a:lnTo>
                        <a:pt x="171" y="391"/>
                      </a:lnTo>
                      <a:lnTo>
                        <a:pt x="171" y="397"/>
                      </a:lnTo>
                      <a:lnTo>
                        <a:pt x="171" y="403"/>
                      </a:lnTo>
                      <a:lnTo>
                        <a:pt x="166" y="403"/>
                      </a:lnTo>
                      <a:lnTo>
                        <a:pt x="160" y="403"/>
                      </a:lnTo>
                      <a:lnTo>
                        <a:pt x="160" y="403"/>
                      </a:lnTo>
                      <a:lnTo>
                        <a:pt x="155" y="404"/>
                      </a:lnTo>
                      <a:lnTo>
                        <a:pt x="149" y="406"/>
                      </a:lnTo>
                      <a:lnTo>
                        <a:pt x="149" y="406"/>
                      </a:lnTo>
                      <a:lnTo>
                        <a:pt x="147" y="412"/>
                      </a:lnTo>
                      <a:lnTo>
                        <a:pt x="147" y="417"/>
                      </a:lnTo>
                      <a:lnTo>
                        <a:pt x="147" y="425"/>
                      </a:lnTo>
                      <a:lnTo>
                        <a:pt x="147" y="428"/>
                      </a:lnTo>
                      <a:lnTo>
                        <a:pt x="145" y="427"/>
                      </a:lnTo>
                      <a:lnTo>
                        <a:pt x="144" y="425"/>
                      </a:lnTo>
                      <a:lnTo>
                        <a:pt x="142" y="421"/>
                      </a:lnTo>
                      <a:lnTo>
                        <a:pt x="140" y="417"/>
                      </a:lnTo>
                      <a:lnTo>
                        <a:pt x="136" y="412"/>
                      </a:lnTo>
                      <a:lnTo>
                        <a:pt x="134" y="403"/>
                      </a:lnTo>
                      <a:lnTo>
                        <a:pt x="132" y="397"/>
                      </a:lnTo>
                      <a:lnTo>
                        <a:pt x="129" y="388"/>
                      </a:lnTo>
                      <a:lnTo>
                        <a:pt x="125" y="380"/>
                      </a:lnTo>
                      <a:lnTo>
                        <a:pt x="120" y="373"/>
                      </a:lnTo>
                      <a:lnTo>
                        <a:pt x="120" y="382"/>
                      </a:lnTo>
                      <a:lnTo>
                        <a:pt x="121" y="388"/>
                      </a:lnTo>
                      <a:lnTo>
                        <a:pt x="121" y="395"/>
                      </a:lnTo>
                      <a:lnTo>
                        <a:pt x="123" y="403"/>
                      </a:lnTo>
                      <a:lnTo>
                        <a:pt x="114" y="403"/>
                      </a:lnTo>
                      <a:lnTo>
                        <a:pt x="103" y="403"/>
                      </a:lnTo>
                      <a:lnTo>
                        <a:pt x="94" y="403"/>
                      </a:lnTo>
                      <a:lnTo>
                        <a:pt x="85" y="403"/>
                      </a:lnTo>
                      <a:lnTo>
                        <a:pt x="79" y="403"/>
                      </a:lnTo>
                      <a:lnTo>
                        <a:pt x="73" y="403"/>
                      </a:lnTo>
                      <a:lnTo>
                        <a:pt x="73" y="403"/>
                      </a:lnTo>
                      <a:lnTo>
                        <a:pt x="73" y="404"/>
                      </a:lnTo>
                      <a:lnTo>
                        <a:pt x="73" y="408"/>
                      </a:lnTo>
                      <a:lnTo>
                        <a:pt x="73" y="414"/>
                      </a:lnTo>
                      <a:lnTo>
                        <a:pt x="73" y="419"/>
                      </a:lnTo>
                      <a:lnTo>
                        <a:pt x="73" y="423"/>
                      </a:lnTo>
                      <a:lnTo>
                        <a:pt x="73" y="427"/>
                      </a:lnTo>
                      <a:lnTo>
                        <a:pt x="73" y="432"/>
                      </a:lnTo>
                      <a:lnTo>
                        <a:pt x="73" y="434"/>
                      </a:lnTo>
                      <a:lnTo>
                        <a:pt x="68" y="434"/>
                      </a:lnTo>
                      <a:lnTo>
                        <a:pt x="64" y="434"/>
                      </a:lnTo>
                      <a:lnTo>
                        <a:pt x="62" y="434"/>
                      </a:lnTo>
                      <a:lnTo>
                        <a:pt x="62" y="438"/>
                      </a:lnTo>
                      <a:lnTo>
                        <a:pt x="62" y="438"/>
                      </a:lnTo>
                      <a:lnTo>
                        <a:pt x="62" y="439"/>
                      </a:lnTo>
                      <a:lnTo>
                        <a:pt x="62" y="439"/>
                      </a:lnTo>
                      <a:lnTo>
                        <a:pt x="62" y="439"/>
                      </a:lnTo>
                      <a:lnTo>
                        <a:pt x="64" y="441"/>
                      </a:lnTo>
                      <a:lnTo>
                        <a:pt x="64" y="441"/>
                      </a:lnTo>
                      <a:lnTo>
                        <a:pt x="68" y="441"/>
                      </a:lnTo>
                      <a:lnTo>
                        <a:pt x="73" y="441"/>
                      </a:lnTo>
                      <a:lnTo>
                        <a:pt x="75" y="449"/>
                      </a:lnTo>
                      <a:lnTo>
                        <a:pt x="75" y="456"/>
                      </a:lnTo>
                      <a:lnTo>
                        <a:pt x="77" y="463"/>
                      </a:lnTo>
                      <a:lnTo>
                        <a:pt x="79" y="471"/>
                      </a:lnTo>
                      <a:lnTo>
                        <a:pt x="81" y="478"/>
                      </a:lnTo>
                      <a:lnTo>
                        <a:pt x="81" y="478"/>
                      </a:lnTo>
                      <a:lnTo>
                        <a:pt x="83" y="486"/>
                      </a:lnTo>
                      <a:lnTo>
                        <a:pt x="83" y="493"/>
                      </a:lnTo>
                      <a:lnTo>
                        <a:pt x="85" y="500"/>
                      </a:lnTo>
                      <a:lnTo>
                        <a:pt x="85" y="502"/>
                      </a:lnTo>
                      <a:lnTo>
                        <a:pt x="88" y="502"/>
                      </a:lnTo>
                      <a:lnTo>
                        <a:pt x="94" y="502"/>
                      </a:lnTo>
                      <a:lnTo>
                        <a:pt x="97" y="502"/>
                      </a:lnTo>
                      <a:lnTo>
                        <a:pt x="101" y="502"/>
                      </a:lnTo>
                      <a:lnTo>
                        <a:pt x="101" y="502"/>
                      </a:lnTo>
                      <a:lnTo>
                        <a:pt x="101" y="502"/>
                      </a:lnTo>
                      <a:lnTo>
                        <a:pt x="99" y="506"/>
                      </a:lnTo>
                      <a:lnTo>
                        <a:pt x="97" y="510"/>
                      </a:lnTo>
                      <a:lnTo>
                        <a:pt x="96" y="511"/>
                      </a:lnTo>
                      <a:lnTo>
                        <a:pt x="96" y="513"/>
                      </a:lnTo>
                      <a:lnTo>
                        <a:pt x="103" y="517"/>
                      </a:lnTo>
                      <a:lnTo>
                        <a:pt x="107" y="521"/>
                      </a:lnTo>
                      <a:lnTo>
                        <a:pt x="112" y="524"/>
                      </a:lnTo>
                      <a:lnTo>
                        <a:pt x="116" y="528"/>
                      </a:lnTo>
                      <a:lnTo>
                        <a:pt x="118" y="532"/>
                      </a:lnTo>
                      <a:lnTo>
                        <a:pt x="118" y="532"/>
                      </a:lnTo>
                      <a:lnTo>
                        <a:pt x="121" y="535"/>
                      </a:lnTo>
                      <a:lnTo>
                        <a:pt x="123" y="539"/>
                      </a:lnTo>
                      <a:lnTo>
                        <a:pt x="125" y="543"/>
                      </a:lnTo>
                      <a:lnTo>
                        <a:pt x="127" y="547"/>
                      </a:lnTo>
                      <a:lnTo>
                        <a:pt x="129" y="550"/>
                      </a:lnTo>
                      <a:lnTo>
                        <a:pt x="131" y="554"/>
                      </a:lnTo>
                      <a:lnTo>
                        <a:pt x="132" y="559"/>
                      </a:lnTo>
                      <a:lnTo>
                        <a:pt x="134" y="570"/>
                      </a:lnTo>
                      <a:lnTo>
                        <a:pt x="138" y="583"/>
                      </a:lnTo>
                      <a:lnTo>
                        <a:pt x="144" y="585"/>
                      </a:lnTo>
                      <a:lnTo>
                        <a:pt x="147" y="585"/>
                      </a:lnTo>
                      <a:lnTo>
                        <a:pt x="153" y="587"/>
                      </a:lnTo>
                      <a:lnTo>
                        <a:pt x="156" y="589"/>
                      </a:lnTo>
                      <a:lnTo>
                        <a:pt x="155" y="593"/>
                      </a:lnTo>
                      <a:lnTo>
                        <a:pt x="155" y="598"/>
                      </a:lnTo>
                      <a:lnTo>
                        <a:pt x="153" y="604"/>
                      </a:lnTo>
                      <a:lnTo>
                        <a:pt x="153" y="609"/>
                      </a:lnTo>
                      <a:lnTo>
                        <a:pt x="140" y="618"/>
                      </a:lnTo>
                      <a:lnTo>
                        <a:pt x="127" y="626"/>
                      </a:lnTo>
                      <a:lnTo>
                        <a:pt x="114" y="633"/>
                      </a:lnTo>
                      <a:lnTo>
                        <a:pt x="103" y="642"/>
                      </a:lnTo>
                      <a:lnTo>
                        <a:pt x="101" y="650"/>
                      </a:lnTo>
                      <a:lnTo>
                        <a:pt x="101" y="657"/>
                      </a:lnTo>
                      <a:lnTo>
                        <a:pt x="101" y="663"/>
                      </a:lnTo>
                      <a:lnTo>
                        <a:pt x="101" y="670"/>
                      </a:lnTo>
                      <a:lnTo>
                        <a:pt x="97" y="670"/>
                      </a:lnTo>
                      <a:lnTo>
                        <a:pt x="97" y="670"/>
                      </a:lnTo>
                      <a:lnTo>
                        <a:pt x="94" y="672"/>
                      </a:lnTo>
                      <a:lnTo>
                        <a:pt x="90" y="674"/>
                      </a:lnTo>
                      <a:lnTo>
                        <a:pt x="86" y="674"/>
                      </a:lnTo>
                      <a:lnTo>
                        <a:pt x="85" y="674"/>
                      </a:lnTo>
                      <a:lnTo>
                        <a:pt x="85" y="689"/>
                      </a:lnTo>
                      <a:lnTo>
                        <a:pt x="85" y="702"/>
                      </a:lnTo>
                      <a:lnTo>
                        <a:pt x="86" y="716"/>
                      </a:lnTo>
                      <a:lnTo>
                        <a:pt x="86" y="729"/>
                      </a:lnTo>
                      <a:lnTo>
                        <a:pt x="79" y="727"/>
                      </a:lnTo>
                      <a:lnTo>
                        <a:pt x="72" y="726"/>
                      </a:lnTo>
                      <a:lnTo>
                        <a:pt x="66" y="726"/>
                      </a:lnTo>
                      <a:lnTo>
                        <a:pt x="59" y="724"/>
                      </a:lnTo>
                      <a:lnTo>
                        <a:pt x="59" y="724"/>
                      </a:lnTo>
                      <a:lnTo>
                        <a:pt x="59" y="729"/>
                      </a:lnTo>
                      <a:lnTo>
                        <a:pt x="59" y="735"/>
                      </a:lnTo>
                      <a:lnTo>
                        <a:pt x="46" y="738"/>
                      </a:lnTo>
                      <a:lnTo>
                        <a:pt x="33" y="742"/>
                      </a:lnTo>
                      <a:lnTo>
                        <a:pt x="22" y="746"/>
                      </a:lnTo>
                      <a:lnTo>
                        <a:pt x="9" y="751"/>
                      </a:lnTo>
                      <a:lnTo>
                        <a:pt x="7" y="753"/>
                      </a:lnTo>
                      <a:lnTo>
                        <a:pt x="5" y="755"/>
                      </a:lnTo>
                      <a:lnTo>
                        <a:pt x="3" y="757"/>
                      </a:lnTo>
                      <a:lnTo>
                        <a:pt x="3" y="757"/>
                      </a:lnTo>
                      <a:lnTo>
                        <a:pt x="3" y="762"/>
                      </a:lnTo>
                      <a:lnTo>
                        <a:pt x="3" y="766"/>
                      </a:lnTo>
                      <a:lnTo>
                        <a:pt x="5" y="770"/>
                      </a:lnTo>
                      <a:lnTo>
                        <a:pt x="5" y="773"/>
                      </a:lnTo>
                      <a:lnTo>
                        <a:pt x="7" y="777"/>
                      </a:lnTo>
                      <a:lnTo>
                        <a:pt x="7" y="781"/>
                      </a:lnTo>
                      <a:lnTo>
                        <a:pt x="7" y="781"/>
                      </a:lnTo>
                      <a:lnTo>
                        <a:pt x="9" y="785"/>
                      </a:lnTo>
                      <a:lnTo>
                        <a:pt x="11" y="786"/>
                      </a:lnTo>
                      <a:lnTo>
                        <a:pt x="11" y="786"/>
                      </a:lnTo>
                      <a:lnTo>
                        <a:pt x="20" y="799"/>
                      </a:lnTo>
                      <a:lnTo>
                        <a:pt x="29" y="812"/>
                      </a:lnTo>
                      <a:lnTo>
                        <a:pt x="29" y="827"/>
                      </a:lnTo>
                      <a:lnTo>
                        <a:pt x="31" y="842"/>
                      </a:lnTo>
                      <a:lnTo>
                        <a:pt x="31" y="857"/>
                      </a:lnTo>
                      <a:lnTo>
                        <a:pt x="33" y="871"/>
                      </a:lnTo>
                      <a:lnTo>
                        <a:pt x="35" y="886"/>
                      </a:lnTo>
                      <a:lnTo>
                        <a:pt x="35" y="901"/>
                      </a:lnTo>
                      <a:lnTo>
                        <a:pt x="37" y="917"/>
                      </a:lnTo>
                      <a:lnTo>
                        <a:pt x="38" y="930"/>
                      </a:lnTo>
                      <a:lnTo>
                        <a:pt x="31" y="932"/>
                      </a:lnTo>
                      <a:lnTo>
                        <a:pt x="31" y="932"/>
                      </a:lnTo>
                      <a:lnTo>
                        <a:pt x="25" y="936"/>
                      </a:lnTo>
                      <a:lnTo>
                        <a:pt x="25" y="936"/>
                      </a:lnTo>
                      <a:lnTo>
                        <a:pt x="18" y="938"/>
                      </a:lnTo>
                      <a:lnTo>
                        <a:pt x="18" y="938"/>
                      </a:lnTo>
                      <a:lnTo>
                        <a:pt x="13" y="941"/>
                      </a:lnTo>
                      <a:lnTo>
                        <a:pt x="9" y="943"/>
                      </a:lnTo>
                      <a:lnTo>
                        <a:pt x="7" y="945"/>
                      </a:lnTo>
                      <a:lnTo>
                        <a:pt x="7" y="945"/>
                      </a:lnTo>
                      <a:lnTo>
                        <a:pt x="5" y="949"/>
                      </a:lnTo>
                      <a:lnTo>
                        <a:pt x="3" y="951"/>
                      </a:lnTo>
                      <a:lnTo>
                        <a:pt x="3" y="951"/>
                      </a:lnTo>
                      <a:lnTo>
                        <a:pt x="1" y="954"/>
                      </a:lnTo>
                      <a:lnTo>
                        <a:pt x="1" y="954"/>
                      </a:lnTo>
                      <a:lnTo>
                        <a:pt x="0" y="958"/>
                      </a:lnTo>
                      <a:lnTo>
                        <a:pt x="0" y="958"/>
                      </a:lnTo>
                      <a:lnTo>
                        <a:pt x="0" y="960"/>
                      </a:lnTo>
                      <a:lnTo>
                        <a:pt x="0" y="960"/>
                      </a:lnTo>
                      <a:lnTo>
                        <a:pt x="0" y="964"/>
                      </a:lnTo>
                      <a:lnTo>
                        <a:pt x="0" y="965"/>
                      </a:lnTo>
                      <a:lnTo>
                        <a:pt x="3" y="965"/>
                      </a:lnTo>
                      <a:lnTo>
                        <a:pt x="7" y="965"/>
                      </a:lnTo>
                      <a:lnTo>
                        <a:pt x="13" y="965"/>
                      </a:lnTo>
                      <a:lnTo>
                        <a:pt x="16" y="965"/>
                      </a:lnTo>
                      <a:lnTo>
                        <a:pt x="18" y="971"/>
                      </a:lnTo>
                      <a:lnTo>
                        <a:pt x="20" y="975"/>
                      </a:lnTo>
                      <a:lnTo>
                        <a:pt x="22" y="980"/>
                      </a:lnTo>
                      <a:lnTo>
                        <a:pt x="24" y="984"/>
                      </a:lnTo>
                      <a:lnTo>
                        <a:pt x="24" y="991"/>
                      </a:lnTo>
                      <a:lnTo>
                        <a:pt x="25" y="999"/>
                      </a:lnTo>
                      <a:lnTo>
                        <a:pt x="25" y="1010"/>
                      </a:lnTo>
                      <a:lnTo>
                        <a:pt x="27" y="1024"/>
                      </a:lnTo>
                      <a:lnTo>
                        <a:pt x="33" y="1024"/>
                      </a:lnTo>
                      <a:lnTo>
                        <a:pt x="38" y="1024"/>
                      </a:lnTo>
                      <a:lnTo>
                        <a:pt x="38" y="1032"/>
                      </a:lnTo>
                      <a:lnTo>
                        <a:pt x="38" y="1041"/>
                      </a:lnTo>
                      <a:lnTo>
                        <a:pt x="38" y="1048"/>
                      </a:lnTo>
                      <a:lnTo>
                        <a:pt x="38" y="1058"/>
                      </a:lnTo>
                      <a:lnTo>
                        <a:pt x="38" y="1058"/>
                      </a:lnTo>
                      <a:lnTo>
                        <a:pt x="42" y="1060"/>
                      </a:lnTo>
                      <a:lnTo>
                        <a:pt x="42" y="1060"/>
                      </a:lnTo>
                      <a:lnTo>
                        <a:pt x="44" y="1060"/>
                      </a:lnTo>
                      <a:lnTo>
                        <a:pt x="48" y="1060"/>
                      </a:lnTo>
                      <a:lnTo>
                        <a:pt x="49" y="1061"/>
                      </a:lnTo>
                      <a:lnTo>
                        <a:pt x="49" y="1067"/>
                      </a:lnTo>
                      <a:lnTo>
                        <a:pt x="49" y="1072"/>
                      </a:lnTo>
                      <a:lnTo>
                        <a:pt x="48" y="1078"/>
                      </a:lnTo>
                      <a:lnTo>
                        <a:pt x="48" y="1084"/>
                      </a:lnTo>
                      <a:lnTo>
                        <a:pt x="46" y="1089"/>
                      </a:lnTo>
                      <a:lnTo>
                        <a:pt x="42" y="1093"/>
                      </a:lnTo>
                      <a:lnTo>
                        <a:pt x="40" y="1098"/>
                      </a:lnTo>
                      <a:lnTo>
                        <a:pt x="38" y="1104"/>
                      </a:lnTo>
                      <a:lnTo>
                        <a:pt x="33" y="1115"/>
                      </a:lnTo>
                      <a:lnTo>
                        <a:pt x="29" y="1126"/>
                      </a:lnTo>
                      <a:lnTo>
                        <a:pt x="27" y="1131"/>
                      </a:lnTo>
                      <a:lnTo>
                        <a:pt x="27" y="1131"/>
                      </a:lnTo>
                      <a:lnTo>
                        <a:pt x="25" y="1137"/>
                      </a:lnTo>
                      <a:lnTo>
                        <a:pt x="25" y="1143"/>
                      </a:lnTo>
                      <a:lnTo>
                        <a:pt x="25" y="1144"/>
                      </a:lnTo>
                      <a:lnTo>
                        <a:pt x="24" y="1150"/>
                      </a:lnTo>
                      <a:lnTo>
                        <a:pt x="24" y="1150"/>
                      </a:lnTo>
                      <a:lnTo>
                        <a:pt x="35" y="1154"/>
                      </a:lnTo>
                      <a:lnTo>
                        <a:pt x="44" y="1157"/>
                      </a:lnTo>
                      <a:lnTo>
                        <a:pt x="55" y="1161"/>
                      </a:lnTo>
                      <a:lnTo>
                        <a:pt x="66" y="1163"/>
                      </a:lnTo>
                      <a:lnTo>
                        <a:pt x="72" y="1165"/>
                      </a:lnTo>
                      <a:lnTo>
                        <a:pt x="77" y="1165"/>
                      </a:lnTo>
                      <a:lnTo>
                        <a:pt x="83" y="1167"/>
                      </a:lnTo>
                      <a:lnTo>
                        <a:pt x="83" y="1167"/>
                      </a:lnTo>
                      <a:lnTo>
                        <a:pt x="88" y="1167"/>
                      </a:lnTo>
                      <a:lnTo>
                        <a:pt x="94" y="1167"/>
                      </a:lnTo>
                      <a:lnTo>
                        <a:pt x="99" y="1168"/>
                      </a:lnTo>
                      <a:lnTo>
                        <a:pt x="99" y="1168"/>
                      </a:lnTo>
                      <a:lnTo>
                        <a:pt x="105" y="1167"/>
                      </a:lnTo>
                      <a:lnTo>
                        <a:pt x="105" y="1167"/>
                      </a:lnTo>
                      <a:lnTo>
                        <a:pt x="110" y="1167"/>
                      </a:lnTo>
                      <a:lnTo>
                        <a:pt x="116" y="1167"/>
                      </a:lnTo>
                      <a:lnTo>
                        <a:pt x="121" y="1167"/>
                      </a:lnTo>
                      <a:lnTo>
                        <a:pt x="121" y="1170"/>
                      </a:lnTo>
                      <a:lnTo>
                        <a:pt x="121" y="1178"/>
                      </a:lnTo>
                      <a:lnTo>
                        <a:pt x="121" y="1178"/>
                      </a:lnTo>
                      <a:lnTo>
                        <a:pt x="127" y="1178"/>
                      </a:lnTo>
                      <a:lnTo>
                        <a:pt x="132" y="1178"/>
                      </a:lnTo>
                      <a:lnTo>
                        <a:pt x="132" y="1181"/>
                      </a:lnTo>
                      <a:lnTo>
                        <a:pt x="132" y="1185"/>
                      </a:lnTo>
                      <a:lnTo>
                        <a:pt x="134" y="1191"/>
                      </a:lnTo>
                      <a:lnTo>
                        <a:pt x="134" y="1192"/>
                      </a:lnTo>
                      <a:lnTo>
                        <a:pt x="131" y="1194"/>
                      </a:lnTo>
                      <a:lnTo>
                        <a:pt x="125" y="1194"/>
                      </a:lnTo>
                      <a:lnTo>
                        <a:pt x="121" y="1196"/>
                      </a:lnTo>
                      <a:lnTo>
                        <a:pt x="116" y="1198"/>
                      </a:lnTo>
                      <a:lnTo>
                        <a:pt x="114" y="1198"/>
                      </a:lnTo>
                      <a:lnTo>
                        <a:pt x="116" y="1203"/>
                      </a:lnTo>
                      <a:lnTo>
                        <a:pt x="118" y="1209"/>
                      </a:lnTo>
                      <a:lnTo>
                        <a:pt x="118" y="1215"/>
                      </a:lnTo>
                      <a:lnTo>
                        <a:pt x="120" y="1218"/>
                      </a:lnTo>
                      <a:lnTo>
                        <a:pt x="120" y="1220"/>
                      </a:lnTo>
                      <a:lnTo>
                        <a:pt x="129" y="1218"/>
                      </a:lnTo>
                      <a:lnTo>
                        <a:pt x="136" y="1216"/>
                      </a:lnTo>
                      <a:lnTo>
                        <a:pt x="145" y="1216"/>
                      </a:lnTo>
                      <a:lnTo>
                        <a:pt x="153" y="1216"/>
                      </a:lnTo>
                      <a:lnTo>
                        <a:pt x="155" y="1222"/>
                      </a:lnTo>
                      <a:lnTo>
                        <a:pt x="158" y="1231"/>
                      </a:lnTo>
                      <a:lnTo>
                        <a:pt x="160" y="1239"/>
                      </a:lnTo>
                      <a:lnTo>
                        <a:pt x="162" y="1248"/>
                      </a:lnTo>
                      <a:lnTo>
                        <a:pt x="166" y="1255"/>
                      </a:lnTo>
                      <a:lnTo>
                        <a:pt x="169" y="1264"/>
                      </a:lnTo>
                      <a:lnTo>
                        <a:pt x="171" y="1266"/>
                      </a:lnTo>
                      <a:lnTo>
                        <a:pt x="173" y="1270"/>
                      </a:lnTo>
                      <a:lnTo>
                        <a:pt x="173" y="1270"/>
                      </a:lnTo>
                      <a:lnTo>
                        <a:pt x="177" y="1272"/>
                      </a:lnTo>
                      <a:lnTo>
                        <a:pt x="177" y="1272"/>
                      </a:lnTo>
                      <a:lnTo>
                        <a:pt x="179" y="1274"/>
                      </a:lnTo>
                      <a:lnTo>
                        <a:pt x="175" y="1279"/>
                      </a:lnTo>
                      <a:lnTo>
                        <a:pt x="173" y="1285"/>
                      </a:lnTo>
                      <a:lnTo>
                        <a:pt x="169" y="1292"/>
                      </a:lnTo>
                      <a:lnTo>
                        <a:pt x="166" y="1298"/>
                      </a:lnTo>
                      <a:lnTo>
                        <a:pt x="166" y="1298"/>
                      </a:lnTo>
                      <a:lnTo>
                        <a:pt x="175" y="1301"/>
                      </a:lnTo>
                      <a:lnTo>
                        <a:pt x="182" y="1305"/>
                      </a:lnTo>
                      <a:lnTo>
                        <a:pt x="190" y="1307"/>
                      </a:lnTo>
                      <a:lnTo>
                        <a:pt x="197" y="1310"/>
                      </a:lnTo>
                      <a:lnTo>
                        <a:pt x="197" y="1312"/>
                      </a:lnTo>
                      <a:lnTo>
                        <a:pt x="195" y="1314"/>
                      </a:lnTo>
                      <a:lnTo>
                        <a:pt x="195" y="1316"/>
                      </a:lnTo>
                      <a:lnTo>
                        <a:pt x="195" y="1316"/>
                      </a:lnTo>
                      <a:lnTo>
                        <a:pt x="193" y="1318"/>
                      </a:lnTo>
                      <a:lnTo>
                        <a:pt x="193" y="1327"/>
                      </a:lnTo>
                      <a:lnTo>
                        <a:pt x="193" y="1327"/>
                      </a:lnTo>
                      <a:lnTo>
                        <a:pt x="193" y="1338"/>
                      </a:lnTo>
                      <a:lnTo>
                        <a:pt x="188" y="1338"/>
                      </a:lnTo>
                      <a:lnTo>
                        <a:pt x="182" y="1338"/>
                      </a:lnTo>
                      <a:lnTo>
                        <a:pt x="180" y="1338"/>
                      </a:lnTo>
                      <a:lnTo>
                        <a:pt x="186" y="1351"/>
                      </a:lnTo>
                      <a:lnTo>
                        <a:pt x="192" y="1362"/>
                      </a:lnTo>
                      <a:lnTo>
                        <a:pt x="193" y="1366"/>
                      </a:lnTo>
                      <a:lnTo>
                        <a:pt x="195" y="1370"/>
                      </a:lnTo>
                      <a:lnTo>
                        <a:pt x="197" y="1373"/>
                      </a:lnTo>
                      <a:lnTo>
                        <a:pt x="197" y="1373"/>
                      </a:lnTo>
                      <a:lnTo>
                        <a:pt x="199" y="1377"/>
                      </a:lnTo>
                      <a:lnTo>
                        <a:pt x="201" y="1381"/>
                      </a:lnTo>
                      <a:lnTo>
                        <a:pt x="203" y="1381"/>
                      </a:lnTo>
                      <a:lnTo>
                        <a:pt x="204" y="1384"/>
                      </a:lnTo>
                      <a:lnTo>
                        <a:pt x="208" y="1388"/>
                      </a:lnTo>
                      <a:lnTo>
                        <a:pt x="212" y="1390"/>
                      </a:lnTo>
                      <a:lnTo>
                        <a:pt x="216" y="1394"/>
                      </a:lnTo>
                      <a:lnTo>
                        <a:pt x="216" y="1394"/>
                      </a:lnTo>
                      <a:lnTo>
                        <a:pt x="221" y="1395"/>
                      </a:lnTo>
                      <a:lnTo>
                        <a:pt x="225" y="1397"/>
                      </a:lnTo>
                      <a:lnTo>
                        <a:pt x="230" y="1401"/>
                      </a:lnTo>
                      <a:lnTo>
                        <a:pt x="230" y="1410"/>
                      </a:lnTo>
                      <a:lnTo>
                        <a:pt x="228" y="1419"/>
                      </a:lnTo>
                      <a:lnTo>
                        <a:pt x="227" y="1430"/>
                      </a:lnTo>
                      <a:lnTo>
                        <a:pt x="223" y="1442"/>
                      </a:lnTo>
                      <a:lnTo>
                        <a:pt x="217" y="1464"/>
                      </a:lnTo>
                      <a:lnTo>
                        <a:pt x="212" y="1486"/>
                      </a:lnTo>
                      <a:lnTo>
                        <a:pt x="210" y="1497"/>
                      </a:lnTo>
                      <a:lnTo>
                        <a:pt x="208" y="1508"/>
                      </a:lnTo>
                      <a:lnTo>
                        <a:pt x="206" y="1519"/>
                      </a:lnTo>
                      <a:lnTo>
                        <a:pt x="206" y="1530"/>
                      </a:lnTo>
                      <a:lnTo>
                        <a:pt x="206" y="1536"/>
                      </a:lnTo>
                      <a:lnTo>
                        <a:pt x="208" y="1541"/>
                      </a:lnTo>
                      <a:lnTo>
                        <a:pt x="208" y="1545"/>
                      </a:lnTo>
                      <a:lnTo>
                        <a:pt x="208" y="1545"/>
                      </a:lnTo>
                      <a:lnTo>
                        <a:pt x="208" y="1550"/>
                      </a:lnTo>
                      <a:lnTo>
                        <a:pt x="208" y="1550"/>
                      </a:lnTo>
                      <a:lnTo>
                        <a:pt x="210" y="1556"/>
                      </a:lnTo>
                      <a:lnTo>
                        <a:pt x="212" y="1560"/>
                      </a:lnTo>
                      <a:lnTo>
                        <a:pt x="212" y="1560"/>
                      </a:lnTo>
                      <a:lnTo>
                        <a:pt x="214" y="1565"/>
                      </a:lnTo>
                      <a:lnTo>
                        <a:pt x="216" y="1569"/>
                      </a:lnTo>
                      <a:lnTo>
                        <a:pt x="216" y="1569"/>
                      </a:lnTo>
                      <a:lnTo>
                        <a:pt x="225" y="1571"/>
                      </a:lnTo>
                      <a:lnTo>
                        <a:pt x="232" y="1571"/>
                      </a:lnTo>
                      <a:lnTo>
                        <a:pt x="241" y="1571"/>
                      </a:lnTo>
                      <a:lnTo>
                        <a:pt x="249" y="1573"/>
                      </a:lnTo>
                      <a:lnTo>
                        <a:pt x="249" y="1573"/>
                      </a:lnTo>
                      <a:lnTo>
                        <a:pt x="252" y="1569"/>
                      </a:lnTo>
                      <a:lnTo>
                        <a:pt x="254" y="1567"/>
                      </a:lnTo>
                      <a:lnTo>
                        <a:pt x="254" y="1567"/>
                      </a:lnTo>
                      <a:lnTo>
                        <a:pt x="254" y="1565"/>
                      </a:lnTo>
                      <a:lnTo>
                        <a:pt x="256" y="1563"/>
                      </a:lnTo>
                      <a:lnTo>
                        <a:pt x="256" y="1563"/>
                      </a:lnTo>
                      <a:lnTo>
                        <a:pt x="258" y="1558"/>
                      </a:lnTo>
                      <a:lnTo>
                        <a:pt x="260" y="1547"/>
                      </a:lnTo>
                      <a:lnTo>
                        <a:pt x="286" y="1543"/>
                      </a:lnTo>
                      <a:lnTo>
                        <a:pt x="300" y="1539"/>
                      </a:lnTo>
                      <a:lnTo>
                        <a:pt x="304" y="1537"/>
                      </a:lnTo>
                      <a:lnTo>
                        <a:pt x="304" y="1537"/>
                      </a:lnTo>
                      <a:lnTo>
                        <a:pt x="308" y="1536"/>
                      </a:lnTo>
                      <a:lnTo>
                        <a:pt x="312" y="1534"/>
                      </a:lnTo>
                      <a:lnTo>
                        <a:pt x="315" y="1532"/>
                      </a:lnTo>
                      <a:lnTo>
                        <a:pt x="317" y="1532"/>
                      </a:lnTo>
                      <a:lnTo>
                        <a:pt x="319" y="1521"/>
                      </a:lnTo>
                      <a:lnTo>
                        <a:pt x="321" y="1515"/>
                      </a:lnTo>
                      <a:lnTo>
                        <a:pt x="323" y="1515"/>
                      </a:lnTo>
                      <a:lnTo>
                        <a:pt x="323" y="1515"/>
                      </a:lnTo>
                      <a:lnTo>
                        <a:pt x="324" y="1515"/>
                      </a:lnTo>
                      <a:lnTo>
                        <a:pt x="324" y="1515"/>
                      </a:lnTo>
                      <a:lnTo>
                        <a:pt x="324" y="1517"/>
                      </a:lnTo>
                      <a:lnTo>
                        <a:pt x="324" y="1521"/>
                      </a:lnTo>
                      <a:lnTo>
                        <a:pt x="324" y="1526"/>
                      </a:lnTo>
                      <a:lnTo>
                        <a:pt x="324" y="1530"/>
                      </a:lnTo>
                      <a:lnTo>
                        <a:pt x="324" y="1530"/>
                      </a:lnTo>
                      <a:lnTo>
                        <a:pt x="332" y="1530"/>
                      </a:lnTo>
                      <a:lnTo>
                        <a:pt x="336" y="1530"/>
                      </a:lnTo>
                      <a:lnTo>
                        <a:pt x="336" y="1539"/>
                      </a:lnTo>
                      <a:lnTo>
                        <a:pt x="336" y="1549"/>
                      </a:lnTo>
                      <a:lnTo>
                        <a:pt x="336" y="1558"/>
                      </a:lnTo>
                      <a:lnTo>
                        <a:pt x="336" y="1569"/>
                      </a:lnTo>
                      <a:lnTo>
                        <a:pt x="336" y="1569"/>
                      </a:lnTo>
                      <a:lnTo>
                        <a:pt x="339" y="1569"/>
                      </a:lnTo>
                      <a:lnTo>
                        <a:pt x="339" y="1569"/>
                      </a:lnTo>
                      <a:lnTo>
                        <a:pt x="341" y="1569"/>
                      </a:lnTo>
                      <a:lnTo>
                        <a:pt x="341" y="1569"/>
                      </a:lnTo>
                      <a:lnTo>
                        <a:pt x="341" y="1567"/>
                      </a:lnTo>
                      <a:lnTo>
                        <a:pt x="341" y="1567"/>
                      </a:lnTo>
                      <a:lnTo>
                        <a:pt x="343" y="1565"/>
                      </a:lnTo>
                      <a:lnTo>
                        <a:pt x="343" y="1565"/>
                      </a:lnTo>
                      <a:lnTo>
                        <a:pt x="343" y="1560"/>
                      </a:lnTo>
                      <a:lnTo>
                        <a:pt x="343" y="1560"/>
                      </a:lnTo>
                      <a:lnTo>
                        <a:pt x="343" y="1547"/>
                      </a:lnTo>
                      <a:lnTo>
                        <a:pt x="348" y="1547"/>
                      </a:lnTo>
                      <a:lnTo>
                        <a:pt x="354" y="1547"/>
                      </a:lnTo>
                      <a:lnTo>
                        <a:pt x="354" y="1547"/>
                      </a:lnTo>
                      <a:lnTo>
                        <a:pt x="354" y="1541"/>
                      </a:lnTo>
                      <a:lnTo>
                        <a:pt x="354" y="1536"/>
                      </a:lnTo>
                      <a:lnTo>
                        <a:pt x="358" y="1536"/>
                      </a:lnTo>
                      <a:lnTo>
                        <a:pt x="361" y="1536"/>
                      </a:lnTo>
                      <a:lnTo>
                        <a:pt x="365" y="1536"/>
                      </a:lnTo>
                      <a:lnTo>
                        <a:pt x="371" y="1536"/>
                      </a:lnTo>
                      <a:lnTo>
                        <a:pt x="371" y="1536"/>
                      </a:lnTo>
                      <a:lnTo>
                        <a:pt x="372" y="1525"/>
                      </a:lnTo>
                      <a:lnTo>
                        <a:pt x="372" y="1513"/>
                      </a:lnTo>
                      <a:lnTo>
                        <a:pt x="372" y="1513"/>
                      </a:lnTo>
                      <a:lnTo>
                        <a:pt x="374" y="1502"/>
                      </a:lnTo>
                      <a:lnTo>
                        <a:pt x="376" y="1491"/>
                      </a:lnTo>
                      <a:lnTo>
                        <a:pt x="380" y="1489"/>
                      </a:lnTo>
                      <a:lnTo>
                        <a:pt x="380" y="1489"/>
                      </a:lnTo>
                      <a:lnTo>
                        <a:pt x="383" y="1488"/>
                      </a:lnTo>
                      <a:lnTo>
                        <a:pt x="387" y="1484"/>
                      </a:lnTo>
                      <a:lnTo>
                        <a:pt x="389" y="1482"/>
                      </a:lnTo>
                      <a:lnTo>
                        <a:pt x="393" y="1480"/>
                      </a:lnTo>
                      <a:lnTo>
                        <a:pt x="395" y="1477"/>
                      </a:lnTo>
                      <a:lnTo>
                        <a:pt x="395" y="1477"/>
                      </a:lnTo>
                      <a:lnTo>
                        <a:pt x="396" y="1475"/>
                      </a:lnTo>
                      <a:lnTo>
                        <a:pt x="396" y="1471"/>
                      </a:lnTo>
                      <a:lnTo>
                        <a:pt x="398" y="1469"/>
                      </a:lnTo>
                      <a:lnTo>
                        <a:pt x="400" y="1466"/>
                      </a:lnTo>
                      <a:lnTo>
                        <a:pt x="400" y="1466"/>
                      </a:lnTo>
                      <a:lnTo>
                        <a:pt x="400" y="1462"/>
                      </a:lnTo>
                      <a:lnTo>
                        <a:pt x="402" y="1460"/>
                      </a:lnTo>
                      <a:lnTo>
                        <a:pt x="402" y="1458"/>
                      </a:lnTo>
                      <a:lnTo>
                        <a:pt x="402" y="1451"/>
                      </a:lnTo>
                      <a:lnTo>
                        <a:pt x="404" y="1443"/>
                      </a:lnTo>
                      <a:lnTo>
                        <a:pt x="406" y="1442"/>
                      </a:lnTo>
                      <a:lnTo>
                        <a:pt x="407" y="1442"/>
                      </a:lnTo>
                      <a:lnTo>
                        <a:pt x="411" y="1440"/>
                      </a:lnTo>
                      <a:lnTo>
                        <a:pt x="415" y="1440"/>
                      </a:lnTo>
                      <a:lnTo>
                        <a:pt x="415" y="1440"/>
                      </a:lnTo>
                      <a:lnTo>
                        <a:pt x="415" y="1432"/>
                      </a:lnTo>
                      <a:lnTo>
                        <a:pt x="417" y="1427"/>
                      </a:lnTo>
                      <a:lnTo>
                        <a:pt x="419" y="1421"/>
                      </a:lnTo>
                      <a:lnTo>
                        <a:pt x="419" y="1416"/>
                      </a:lnTo>
                      <a:lnTo>
                        <a:pt x="431" y="1416"/>
                      </a:lnTo>
                      <a:lnTo>
                        <a:pt x="443" y="1416"/>
                      </a:lnTo>
                      <a:lnTo>
                        <a:pt x="454" y="1418"/>
                      </a:lnTo>
                      <a:lnTo>
                        <a:pt x="463" y="1418"/>
                      </a:lnTo>
                      <a:lnTo>
                        <a:pt x="472" y="1421"/>
                      </a:lnTo>
                      <a:lnTo>
                        <a:pt x="483" y="1423"/>
                      </a:lnTo>
                      <a:lnTo>
                        <a:pt x="494" y="1427"/>
                      </a:lnTo>
                      <a:lnTo>
                        <a:pt x="505" y="1432"/>
                      </a:lnTo>
                      <a:lnTo>
                        <a:pt x="507" y="1440"/>
                      </a:lnTo>
                      <a:lnTo>
                        <a:pt x="509" y="1449"/>
                      </a:lnTo>
                      <a:lnTo>
                        <a:pt x="509" y="1460"/>
                      </a:lnTo>
                      <a:lnTo>
                        <a:pt x="511" y="1469"/>
                      </a:lnTo>
                      <a:lnTo>
                        <a:pt x="520" y="1469"/>
                      </a:lnTo>
                      <a:lnTo>
                        <a:pt x="527" y="1467"/>
                      </a:lnTo>
                      <a:lnTo>
                        <a:pt x="537" y="1467"/>
                      </a:lnTo>
                      <a:lnTo>
                        <a:pt x="546" y="1467"/>
                      </a:lnTo>
                      <a:lnTo>
                        <a:pt x="548" y="1467"/>
                      </a:lnTo>
                      <a:lnTo>
                        <a:pt x="542" y="1462"/>
                      </a:lnTo>
                      <a:lnTo>
                        <a:pt x="540" y="1460"/>
                      </a:lnTo>
                      <a:lnTo>
                        <a:pt x="544" y="1460"/>
                      </a:lnTo>
                      <a:lnTo>
                        <a:pt x="548" y="1458"/>
                      </a:lnTo>
                      <a:lnTo>
                        <a:pt x="551" y="1456"/>
                      </a:lnTo>
                      <a:lnTo>
                        <a:pt x="555" y="1454"/>
                      </a:lnTo>
                      <a:lnTo>
                        <a:pt x="555" y="1458"/>
                      </a:lnTo>
                      <a:lnTo>
                        <a:pt x="555" y="1464"/>
                      </a:lnTo>
                      <a:lnTo>
                        <a:pt x="555" y="1464"/>
                      </a:lnTo>
                      <a:lnTo>
                        <a:pt x="568" y="1466"/>
                      </a:lnTo>
                      <a:lnTo>
                        <a:pt x="575" y="1467"/>
                      </a:lnTo>
                      <a:lnTo>
                        <a:pt x="577" y="1467"/>
                      </a:lnTo>
                      <a:lnTo>
                        <a:pt x="579" y="1469"/>
                      </a:lnTo>
                      <a:lnTo>
                        <a:pt x="581" y="1471"/>
                      </a:lnTo>
                      <a:lnTo>
                        <a:pt x="583" y="1471"/>
                      </a:lnTo>
                      <a:lnTo>
                        <a:pt x="579" y="1473"/>
                      </a:lnTo>
                      <a:lnTo>
                        <a:pt x="579" y="1473"/>
                      </a:lnTo>
                      <a:lnTo>
                        <a:pt x="577" y="1477"/>
                      </a:lnTo>
                      <a:lnTo>
                        <a:pt x="577" y="1477"/>
                      </a:lnTo>
                      <a:lnTo>
                        <a:pt x="581" y="1480"/>
                      </a:lnTo>
                      <a:lnTo>
                        <a:pt x="585" y="1484"/>
                      </a:lnTo>
                      <a:lnTo>
                        <a:pt x="586" y="1488"/>
                      </a:lnTo>
                      <a:lnTo>
                        <a:pt x="588" y="1491"/>
                      </a:lnTo>
                      <a:lnTo>
                        <a:pt x="590" y="1499"/>
                      </a:lnTo>
                      <a:lnTo>
                        <a:pt x="592" y="1506"/>
                      </a:lnTo>
                      <a:lnTo>
                        <a:pt x="594" y="1508"/>
                      </a:lnTo>
                      <a:lnTo>
                        <a:pt x="594" y="1508"/>
                      </a:lnTo>
                      <a:lnTo>
                        <a:pt x="594" y="1512"/>
                      </a:lnTo>
                      <a:lnTo>
                        <a:pt x="594" y="1512"/>
                      </a:lnTo>
                      <a:lnTo>
                        <a:pt x="596" y="1515"/>
                      </a:lnTo>
                      <a:lnTo>
                        <a:pt x="598" y="1517"/>
                      </a:lnTo>
                      <a:lnTo>
                        <a:pt x="598" y="1519"/>
                      </a:lnTo>
                      <a:lnTo>
                        <a:pt x="599" y="1521"/>
                      </a:lnTo>
                      <a:lnTo>
                        <a:pt x="603" y="1523"/>
                      </a:lnTo>
                      <a:lnTo>
                        <a:pt x="603" y="1523"/>
                      </a:lnTo>
                      <a:lnTo>
                        <a:pt x="607" y="1526"/>
                      </a:lnTo>
                      <a:lnTo>
                        <a:pt x="607" y="1526"/>
                      </a:lnTo>
                      <a:lnTo>
                        <a:pt x="610" y="1528"/>
                      </a:lnTo>
                      <a:lnTo>
                        <a:pt x="614" y="1534"/>
                      </a:lnTo>
                      <a:lnTo>
                        <a:pt x="614" y="1534"/>
                      </a:lnTo>
                      <a:lnTo>
                        <a:pt x="616" y="1539"/>
                      </a:lnTo>
                      <a:lnTo>
                        <a:pt x="618" y="1545"/>
                      </a:lnTo>
                      <a:lnTo>
                        <a:pt x="622" y="1550"/>
                      </a:lnTo>
                      <a:lnTo>
                        <a:pt x="625" y="1569"/>
                      </a:lnTo>
                      <a:lnTo>
                        <a:pt x="629" y="1580"/>
                      </a:lnTo>
                      <a:lnTo>
                        <a:pt x="631" y="1585"/>
                      </a:lnTo>
                      <a:lnTo>
                        <a:pt x="631" y="1585"/>
                      </a:lnTo>
                      <a:lnTo>
                        <a:pt x="633" y="1589"/>
                      </a:lnTo>
                      <a:lnTo>
                        <a:pt x="634" y="1593"/>
                      </a:lnTo>
                      <a:lnTo>
                        <a:pt x="634" y="1593"/>
                      </a:lnTo>
                      <a:lnTo>
                        <a:pt x="638" y="1597"/>
                      </a:lnTo>
                      <a:lnTo>
                        <a:pt x="638" y="1598"/>
                      </a:lnTo>
                      <a:lnTo>
                        <a:pt x="644" y="1593"/>
                      </a:lnTo>
                      <a:lnTo>
                        <a:pt x="646" y="1589"/>
                      </a:lnTo>
                      <a:lnTo>
                        <a:pt x="651" y="1600"/>
                      </a:lnTo>
                      <a:lnTo>
                        <a:pt x="658" y="1615"/>
                      </a:lnTo>
                      <a:lnTo>
                        <a:pt x="662" y="1622"/>
                      </a:lnTo>
                      <a:lnTo>
                        <a:pt x="668" y="1630"/>
                      </a:lnTo>
                      <a:lnTo>
                        <a:pt x="670" y="1632"/>
                      </a:lnTo>
                      <a:lnTo>
                        <a:pt x="671" y="1635"/>
                      </a:lnTo>
                      <a:lnTo>
                        <a:pt x="675" y="1637"/>
                      </a:lnTo>
                      <a:lnTo>
                        <a:pt x="675" y="1637"/>
                      </a:lnTo>
                      <a:lnTo>
                        <a:pt x="677" y="1637"/>
                      </a:lnTo>
                      <a:lnTo>
                        <a:pt x="677" y="1637"/>
                      </a:lnTo>
                      <a:lnTo>
                        <a:pt x="677" y="1637"/>
                      </a:lnTo>
                      <a:lnTo>
                        <a:pt x="677" y="1639"/>
                      </a:lnTo>
                      <a:lnTo>
                        <a:pt x="681" y="1637"/>
                      </a:lnTo>
                      <a:lnTo>
                        <a:pt x="684" y="1635"/>
                      </a:lnTo>
                      <a:lnTo>
                        <a:pt x="686" y="1635"/>
                      </a:lnTo>
                      <a:lnTo>
                        <a:pt x="690" y="1633"/>
                      </a:lnTo>
                      <a:lnTo>
                        <a:pt x="690" y="1633"/>
                      </a:lnTo>
                      <a:lnTo>
                        <a:pt x="692" y="1630"/>
                      </a:lnTo>
                      <a:lnTo>
                        <a:pt x="692" y="1628"/>
                      </a:lnTo>
                      <a:lnTo>
                        <a:pt x="694" y="1624"/>
                      </a:lnTo>
                      <a:lnTo>
                        <a:pt x="694" y="1622"/>
                      </a:lnTo>
                      <a:lnTo>
                        <a:pt x="708" y="1621"/>
                      </a:lnTo>
                      <a:lnTo>
                        <a:pt x="723" y="1621"/>
                      </a:lnTo>
                      <a:lnTo>
                        <a:pt x="738" y="1621"/>
                      </a:lnTo>
                      <a:lnTo>
                        <a:pt x="751" y="1621"/>
                      </a:lnTo>
                      <a:lnTo>
                        <a:pt x="758" y="1621"/>
                      </a:lnTo>
                      <a:lnTo>
                        <a:pt x="766" y="1622"/>
                      </a:lnTo>
                      <a:lnTo>
                        <a:pt x="773" y="1622"/>
                      </a:lnTo>
                      <a:lnTo>
                        <a:pt x="780" y="1624"/>
                      </a:lnTo>
                      <a:lnTo>
                        <a:pt x="788" y="1626"/>
                      </a:lnTo>
                      <a:lnTo>
                        <a:pt x="795" y="1628"/>
                      </a:lnTo>
                      <a:lnTo>
                        <a:pt x="801" y="1630"/>
                      </a:lnTo>
                      <a:lnTo>
                        <a:pt x="808" y="1632"/>
                      </a:lnTo>
                      <a:lnTo>
                        <a:pt x="810" y="1632"/>
                      </a:lnTo>
                      <a:lnTo>
                        <a:pt x="812" y="1626"/>
                      </a:lnTo>
                      <a:lnTo>
                        <a:pt x="813" y="1622"/>
                      </a:lnTo>
                      <a:lnTo>
                        <a:pt x="823" y="1622"/>
                      </a:lnTo>
                      <a:lnTo>
                        <a:pt x="834" y="1622"/>
                      </a:lnTo>
                      <a:lnTo>
                        <a:pt x="845" y="1624"/>
                      </a:lnTo>
                      <a:lnTo>
                        <a:pt x="858" y="1626"/>
                      </a:lnTo>
                      <a:lnTo>
                        <a:pt x="863" y="1626"/>
                      </a:lnTo>
                      <a:lnTo>
                        <a:pt x="869" y="1628"/>
                      </a:lnTo>
                      <a:lnTo>
                        <a:pt x="874" y="1630"/>
                      </a:lnTo>
                      <a:lnTo>
                        <a:pt x="880" y="1632"/>
                      </a:lnTo>
                      <a:lnTo>
                        <a:pt x="884" y="1635"/>
                      </a:lnTo>
                      <a:lnTo>
                        <a:pt x="889" y="1639"/>
                      </a:lnTo>
                      <a:lnTo>
                        <a:pt x="891" y="1641"/>
                      </a:lnTo>
                      <a:lnTo>
                        <a:pt x="891" y="1643"/>
                      </a:lnTo>
                      <a:lnTo>
                        <a:pt x="893" y="1645"/>
                      </a:lnTo>
                      <a:lnTo>
                        <a:pt x="895" y="1646"/>
                      </a:lnTo>
                      <a:lnTo>
                        <a:pt x="895" y="1646"/>
                      </a:lnTo>
                      <a:lnTo>
                        <a:pt x="904" y="1645"/>
                      </a:lnTo>
                      <a:lnTo>
                        <a:pt x="913" y="1645"/>
                      </a:lnTo>
                      <a:lnTo>
                        <a:pt x="922" y="1643"/>
                      </a:lnTo>
                      <a:lnTo>
                        <a:pt x="932" y="1641"/>
                      </a:lnTo>
                      <a:lnTo>
                        <a:pt x="941" y="1641"/>
                      </a:lnTo>
                      <a:lnTo>
                        <a:pt x="950" y="1639"/>
                      </a:lnTo>
                      <a:lnTo>
                        <a:pt x="959" y="1637"/>
                      </a:lnTo>
                      <a:lnTo>
                        <a:pt x="967" y="1637"/>
                      </a:lnTo>
                      <a:lnTo>
                        <a:pt x="969" y="1641"/>
                      </a:lnTo>
                      <a:lnTo>
                        <a:pt x="969" y="1641"/>
                      </a:lnTo>
                      <a:lnTo>
                        <a:pt x="970" y="1646"/>
                      </a:lnTo>
                      <a:lnTo>
                        <a:pt x="970" y="1646"/>
                      </a:lnTo>
                      <a:lnTo>
                        <a:pt x="976" y="1645"/>
                      </a:lnTo>
                      <a:lnTo>
                        <a:pt x="976" y="1645"/>
                      </a:lnTo>
                      <a:lnTo>
                        <a:pt x="981" y="1645"/>
                      </a:lnTo>
                      <a:lnTo>
                        <a:pt x="985" y="1643"/>
                      </a:lnTo>
                      <a:lnTo>
                        <a:pt x="991" y="1643"/>
                      </a:lnTo>
                      <a:lnTo>
                        <a:pt x="991" y="1643"/>
                      </a:lnTo>
                      <a:lnTo>
                        <a:pt x="991" y="1635"/>
                      </a:lnTo>
                      <a:lnTo>
                        <a:pt x="991" y="1632"/>
                      </a:lnTo>
                      <a:lnTo>
                        <a:pt x="994" y="1632"/>
                      </a:lnTo>
                      <a:lnTo>
                        <a:pt x="1000" y="1632"/>
                      </a:lnTo>
                      <a:lnTo>
                        <a:pt x="1002" y="1632"/>
                      </a:lnTo>
                      <a:lnTo>
                        <a:pt x="1002" y="1626"/>
                      </a:lnTo>
                      <a:lnTo>
                        <a:pt x="1002" y="1621"/>
                      </a:lnTo>
                      <a:lnTo>
                        <a:pt x="1013" y="1617"/>
                      </a:lnTo>
                      <a:lnTo>
                        <a:pt x="1026" y="1615"/>
                      </a:lnTo>
                      <a:lnTo>
                        <a:pt x="1037" y="1611"/>
                      </a:lnTo>
                      <a:lnTo>
                        <a:pt x="1046" y="1608"/>
                      </a:lnTo>
                      <a:lnTo>
                        <a:pt x="1052" y="1608"/>
                      </a:lnTo>
                      <a:lnTo>
                        <a:pt x="1057" y="1606"/>
                      </a:lnTo>
                      <a:lnTo>
                        <a:pt x="1063" y="1606"/>
                      </a:lnTo>
                      <a:lnTo>
                        <a:pt x="1068" y="1604"/>
                      </a:lnTo>
                      <a:lnTo>
                        <a:pt x="1074" y="1604"/>
                      </a:lnTo>
                      <a:lnTo>
                        <a:pt x="1081" y="1604"/>
                      </a:lnTo>
                      <a:lnTo>
                        <a:pt x="1087" y="1604"/>
                      </a:lnTo>
                      <a:lnTo>
                        <a:pt x="1094" y="1604"/>
                      </a:lnTo>
                      <a:lnTo>
                        <a:pt x="1094" y="1604"/>
                      </a:lnTo>
                      <a:lnTo>
                        <a:pt x="1094" y="1598"/>
                      </a:lnTo>
                      <a:lnTo>
                        <a:pt x="1092" y="1593"/>
                      </a:lnTo>
                      <a:lnTo>
                        <a:pt x="1090" y="1589"/>
                      </a:lnTo>
                      <a:lnTo>
                        <a:pt x="1090" y="1585"/>
                      </a:lnTo>
                      <a:lnTo>
                        <a:pt x="1094" y="1582"/>
                      </a:lnTo>
                      <a:lnTo>
                        <a:pt x="1094" y="1582"/>
                      </a:lnTo>
                      <a:lnTo>
                        <a:pt x="1098" y="1578"/>
                      </a:lnTo>
                      <a:lnTo>
                        <a:pt x="1103" y="1576"/>
                      </a:lnTo>
                      <a:lnTo>
                        <a:pt x="1107" y="1573"/>
                      </a:lnTo>
                      <a:lnTo>
                        <a:pt x="1116" y="1567"/>
                      </a:lnTo>
                      <a:lnTo>
                        <a:pt x="1125" y="1563"/>
                      </a:lnTo>
                      <a:lnTo>
                        <a:pt x="1135" y="1560"/>
                      </a:lnTo>
                      <a:lnTo>
                        <a:pt x="1144" y="1556"/>
                      </a:lnTo>
                      <a:lnTo>
                        <a:pt x="1155" y="1552"/>
                      </a:lnTo>
                      <a:lnTo>
                        <a:pt x="1166" y="1549"/>
                      </a:lnTo>
                      <a:lnTo>
                        <a:pt x="1166" y="1547"/>
                      </a:lnTo>
                      <a:lnTo>
                        <a:pt x="1166" y="1547"/>
                      </a:lnTo>
                      <a:lnTo>
                        <a:pt x="1162" y="1543"/>
                      </a:lnTo>
                      <a:lnTo>
                        <a:pt x="1160" y="1541"/>
                      </a:lnTo>
                      <a:lnTo>
                        <a:pt x="1159" y="1537"/>
                      </a:lnTo>
                      <a:lnTo>
                        <a:pt x="1157" y="1532"/>
                      </a:lnTo>
                      <a:lnTo>
                        <a:pt x="1155" y="1526"/>
                      </a:lnTo>
                      <a:lnTo>
                        <a:pt x="1153" y="1517"/>
                      </a:lnTo>
                      <a:lnTo>
                        <a:pt x="1153" y="1517"/>
                      </a:lnTo>
                      <a:lnTo>
                        <a:pt x="1149" y="1504"/>
                      </a:lnTo>
                      <a:lnTo>
                        <a:pt x="1146" y="1488"/>
                      </a:lnTo>
                      <a:lnTo>
                        <a:pt x="1148" y="1486"/>
                      </a:lnTo>
                      <a:lnTo>
                        <a:pt x="1149" y="1484"/>
                      </a:lnTo>
                      <a:lnTo>
                        <a:pt x="1151" y="1482"/>
                      </a:lnTo>
                      <a:lnTo>
                        <a:pt x="1153" y="1482"/>
                      </a:lnTo>
                      <a:lnTo>
                        <a:pt x="1157" y="1480"/>
                      </a:lnTo>
                      <a:lnTo>
                        <a:pt x="1164" y="1478"/>
                      </a:lnTo>
                      <a:lnTo>
                        <a:pt x="1166" y="1478"/>
                      </a:lnTo>
                      <a:lnTo>
                        <a:pt x="1164" y="1473"/>
                      </a:lnTo>
                      <a:lnTo>
                        <a:pt x="1160" y="1467"/>
                      </a:lnTo>
                      <a:lnTo>
                        <a:pt x="1160" y="1467"/>
                      </a:lnTo>
                      <a:lnTo>
                        <a:pt x="1159" y="1464"/>
                      </a:lnTo>
                      <a:lnTo>
                        <a:pt x="1159" y="1464"/>
                      </a:lnTo>
                      <a:lnTo>
                        <a:pt x="1157" y="1460"/>
                      </a:lnTo>
                      <a:lnTo>
                        <a:pt x="1157" y="1460"/>
                      </a:lnTo>
                      <a:lnTo>
                        <a:pt x="1155" y="1458"/>
                      </a:lnTo>
                      <a:lnTo>
                        <a:pt x="1155" y="1458"/>
                      </a:lnTo>
                      <a:lnTo>
                        <a:pt x="1153" y="1454"/>
                      </a:lnTo>
                      <a:lnTo>
                        <a:pt x="1153" y="1454"/>
                      </a:lnTo>
                      <a:lnTo>
                        <a:pt x="1149" y="1453"/>
                      </a:lnTo>
                      <a:lnTo>
                        <a:pt x="1149" y="1453"/>
                      </a:lnTo>
                      <a:lnTo>
                        <a:pt x="1148" y="1449"/>
                      </a:lnTo>
                      <a:lnTo>
                        <a:pt x="1144" y="1447"/>
                      </a:lnTo>
                      <a:lnTo>
                        <a:pt x="1144" y="1447"/>
                      </a:lnTo>
                      <a:lnTo>
                        <a:pt x="1140" y="1445"/>
                      </a:lnTo>
                      <a:lnTo>
                        <a:pt x="1140" y="1445"/>
                      </a:lnTo>
                      <a:lnTo>
                        <a:pt x="1136" y="1443"/>
                      </a:lnTo>
                      <a:lnTo>
                        <a:pt x="1133" y="1442"/>
                      </a:lnTo>
                      <a:lnTo>
                        <a:pt x="1133" y="1442"/>
                      </a:lnTo>
                      <a:lnTo>
                        <a:pt x="1129" y="1442"/>
                      </a:lnTo>
                      <a:lnTo>
                        <a:pt x="1125" y="1440"/>
                      </a:lnTo>
                      <a:lnTo>
                        <a:pt x="1125" y="1440"/>
                      </a:lnTo>
                      <a:lnTo>
                        <a:pt x="1120" y="1440"/>
                      </a:lnTo>
                      <a:lnTo>
                        <a:pt x="1116" y="1438"/>
                      </a:lnTo>
                      <a:lnTo>
                        <a:pt x="1116" y="1436"/>
                      </a:lnTo>
                      <a:lnTo>
                        <a:pt x="1118" y="1430"/>
                      </a:lnTo>
                      <a:lnTo>
                        <a:pt x="1118" y="1427"/>
                      </a:lnTo>
                      <a:lnTo>
                        <a:pt x="1120" y="1425"/>
                      </a:lnTo>
                      <a:lnTo>
                        <a:pt x="1124" y="1425"/>
                      </a:lnTo>
                      <a:lnTo>
                        <a:pt x="1129" y="1425"/>
                      </a:lnTo>
                      <a:lnTo>
                        <a:pt x="1131" y="1425"/>
                      </a:lnTo>
                      <a:lnTo>
                        <a:pt x="1131" y="1412"/>
                      </a:lnTo>
                      <a:lnTo>
                        <a:pt x="1131" y="1401"/>
                      </a:lnTo>
                      <a:lnTo>
                        <a:pt x="1131" y="1390"/>
                      </a:lnTo>
                      <a:lnTo>
                        <a:pt x="1131" y="1379"/>
                      </a:lnTo>
                      <a:lnTo>
                        <a:pt x="1122" y="1373"/>
                      </a:lnTo>
                      <a:lnTo>
                        <a:pt x="1112" y="1370"/>
                      </a:lnTo>
                      <a:lnTo>
                        <a:pt x="1103" y="1364"/>
                      </a:lnTo>
                      <a:lnTo>
                        <a:pt x="1094" y="1360"/>
                      </a:lnTo>
                      <a:lnTo>
                        <a:pt x="1100" y="1358"/>
                      </a:lnTo>
                      <a:lnTo>
                        <a:pt x="1105" y="1357"/>
                      </a:lnTo>
                      <a:lnTo>
                        <a:pt x="1112" y="1355"/>
                      </a:lnTo>
                      <a:lnTo>
                        <a:pt x="1118" y="1353"/>
                      </a:lnTo>
                      <a:lnTo>
                        <a:pt x="1120" y="1353"/>
                      </a:lnTo>
                      <a:lnTo>
                        <a:pt x="1118" y="1340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18"/>
                      </a:lnTo>
                      <a:lnTo>
                        <a:pt x="1116" y="1318"/>
                      </a:lnTo>
                      <a:lnTo>
                        <a:pt x="1114" y="1307"/>
                      </a:lnTo>
                      <a:lnTo>
                        <a:pt x="1114" y="1294"/>
                      </a:lnTo>
                      <a:lnTo>
                        <a:pt x="1116" y="1283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8" y="1259"/>
                      </a:lnTo>
                      <a:lnTo>
                        <a:pt x="1127" y="1253"/>
                      </a:lnTo>
                      <a:lnTo>
                        <a:pt x="1136" y="1248"/>
                      </a:lnTo>
                      <a:lnTo>
                        <a:pt x="1146" y="1242"/>
                      </a:lnTo>
                      <a:lnTo>
                        <a:pt x="1155" y="1239"/>
                      </a:lnTo>
                      <a:lnTo>
                        <a:pt x="1164" y="1235"/>
                      </a:lnTo>
                      <a:lnTo>
                        <a:pt x="1175" y="1231"/>
                      </a:lnTo>
                      <a:lnTo>
                        <a:pt x="1184" y="1229"/>
                      </a:lnTo>
                      <a:lnTo>
                        <a:pt x="1197" y="1227"/>
                      </a:lnTo>
                      <a:lnTo>
                        <a:pt x="1197" y="1215"/>
                      </a:lnTo>
                      <a:lnTo>
                        <a:pt x="1197" y="1205"/>
                      </a:lnTo>
                      <a:lnTo>
                        <a:pt x="1197" y="1194"/>
                      </a:lnTo>
                      <a:lnTo>
                        <a:pt x="1197" y="1183"/>
                      </a:lnTo>
                      <a:lnTo>
                        <a:pt x="1205" y="1183"/>
                      </a:lnTo>
                      <a:lnTo>
                        <a:pt x="1214" y="1183"/>
                      </a:lnTo>
                      <a:lnTo>
                        <a:pt x="1225" y="1183"/>
                      </a:lnTo>
                      <a:lnTo>
                        <a:pt x="1234" y="1183"/>
                      </a:lnTo>
                      <a:lnTo>
                        <a:pt x="1234" y="1178"/>
                      </a:lnTo>
                      <a:lnTo>
                        <a:pt x="1234" y="1172"/>
                      </a:lnTo>
                      <a:lnTo>
                        <a:pt x="1240" y="1172"/>
                      </a:lnTo>
                      <a:lnTo>
                        <a:pt x="1245" y="1172"/>
                      </a:lnTo>
                      <a:lnTo>
                        <a:pt x="1245" y="1172"/>
                      </a:lnTo>
                      <a:lnTo>
                        <a:pt x="1249" y="1155"/>
                      </a:lnTo>
                      <a:lnTo>
                        <a:pt x="1255" y="1143"/>
                      </a:lnTo>
                      <a:lnTo>
                        <a:pt x="1256" y="1139"/>
                      </a:lnTo>
                      <a:lnTo>
                        <a:pt x="1256" y="1139"/>
                      </a:lnTo>
                      <a:lnTo>
                        <a:pt x="1256" y="1135"/>
                      </a:lnTo>
                      <a:lnTo>
                        <a:pt x="1258" y="1131"/>
                      </a:lnTo>
                      <a:lnTo>
                        <a:pt x="1260" y="1130"/>
                      </a:lnTo>
                      <a:lnTo>
                        <a:pt x="1264" y="1128"/>
                      </a:lnTo>
                      <a:lnTo>
                        <a:pt x="1266" y="1124"/>
                      </a:lnTo>
                      <a:lnTo>
                        <a:pt x="1269" y="1122"/>
                      </a:lnTo>
                      <a:lnTo>
                        <a:pt x="1273" y="1120"/>
                      </a:lnTo>
                      <a:lnTo>
                        <a:pt x="1273" y="1120"/>
                      </a:lnTo>
                      <a:lnTo>
                        <a:pt x="1264" y="1104"/>
                      </a:lnTo>
                      <a:lnTo>
                        <a:pt x="1256" y="1091"/>
                      </a:lnTo>
                      <a:lnTo>
                        <a:pt x="1253" y="1082"/>
                      </a:lnTo>
                      <a:lnTo>
                        <a:pt x="1249" y="1074"/>
                      </a:lnTo>
                      <a:lnTo>
                        <a:pt x="1247" y="1074"/>
                      </a:lnTo>
                      <a:lnTo>
                        <a:pt x="1249" y="1074"/>
                      </a:lnTo>
                      <a:lnTo>
                        <a:pt x="1247" y="1074"/>
                      </a:lnTo>
                      <a:lnTo>
                        <a:pt x="1249" y="1074"/>
                      </a:lnTo>
                      <a:lnTo>
                        <a:pt x="1245" y="1067"/>
                      </a:lnTo>
                      <a:lnTo>
                        <a:pt x="1243" y="1061"/>
                      </a:lnTo>
                      <a:lnTo>
                        <a:pt x="1242" y="1054"/>
                      </a:lnTo>
                      <a:lnTo>
                        <a:pt x="1240" y="1045"/>
                      </a:lnTo>
                      <a:lnTo>
                        <a:pt x="1236" y="1045"/>
                      </a:lnTo>
                      <a:lnTo>
                        <a:pt x="1231" y="1045"/>
                      </a:lnTo>
                      <a:lnTo>
                        <a:pt x="1227" y="1045"/>
                      </a:lnTo>
                      <a:lnTo>
                        <a:pt x="1223" y="1045"/>
                      </a:lnTo>
                      <a:lnTo>
                        <a:pt x="1223" y="1036"/>
                      </a:lnTo>
                      <a:lnTo>
                        <a:pt x="1223" y="1028"/>
                      </a:lnTo>
                      <a:lnTo>
                        <a:pt x="1223" y="1019"/>
                      </a:lnTo>
                      <a:lnTo>
                        <a:pt x="1223" y="1012"/>
                      </a:lnTo>
                      <a:lnTo>
                        <a:pt x="1223" y="1006"/>
                      </a:lnTo>
                      <a:lnTo>
                        <a:pt x="1225" y="997"/>
                      </a:lnTo>
                      <a:lnTo>
                        <a:pt x="1229" y="989"/>
                      </a:lnTo>
                      <a:lnTo>
                        <a:pt x="1231" y="980"/>
                      </a:lnTo>
                      <a:lnTo>
                        <a:pt x="1231" y="958"/>
                      </a:lnTo>
                      <a:lnTo>
                        <a:pt x="1231" y="941"/>
                      </a:lnTo>
                      <a:lnTo>
                        <a:pt x="1231" y="927"/>
                      </a:lnTo>
                      <a:lnTo>
                        <a:pt x="1229" y="914"/>
                      </a:lnTo>
                      <a:lnTo>
                        <a:pt x="1229" y="905"/>
                      </a:lnTo>
                      <a:lnTo>
                        <a:pt x="1227" y="895"/>
                      </a:lnTo>
                      <a:lnTo>
                        <a:pt x="1227" y="886"/>
                      </a:lnTo>
                      <a:lnTo>
                        <a:pt x="1229" y="877"/>
                      </a:lnTo>
                      <a:lnTo>
                        <a:pt x="1236" y="877"/>
                      </a:lnTo>
                      <a:lnTo>
                        <a:pt x="1243" y="879"/>
                      </a:lnTo>
                      <a:lnTo>
                        <a:pt x="1251" y="879"/>
                      </a:lnTo>
                      <a:lnTo>
                        <a:pt x="1258" y="881"/>
                      </a:lnTo>
                      <a:lnTo>
                        <a:pt x="1266" y="882"/>
                      </a:lnTo>
                      <a:lnTo>
                        <a:pt x="1271" y="884"/>
                      </a:lnTo>
                      <a:lnTo>
                        <a:pt x="1280" y="886"/>
                      </a:lnTo>
                      <a:lnTo>
                        <a:pt x="1288" y="888"/>
                      </a:lnTo>
                      <a:lnTo>
                        <a:pt x="1291" y="882"/>
                      </a:lnTo>
                      <a:lnTo>
                        <a:pt x="1291" y="879"/>
                      </a:lnTo>
                      <a:lnTo>
                        <a:pt x="1295" y="879"/>
                      </a:lnTo>
                      <a:lnTo>
                        <a:pt x="1301" y="881"/>
                      </a:lnTo>
                      <a:lnTo>
                        <a:pt x="1304" y="882"/>
                      </a:lnTo>
                      <a:lnTo>
                        <a:pt x="1310" y="884"/>
                      </a:lnTo>
                      <a:lnTo>
                        <a:pt x="1310" y="884"/>
                      </a:lnTo>
                      <a:lnTo>
                        <a:pt x="1310" y="877"/>
                      </a:lnTo>
                      <a:lnTo>
                        <a:pt x="1310" y="873"/>
                      </a:lnTo>
                      <a:lnTo>
                        <a:pt x="1315" y="873"/>
                      </a:lnTo>
                      <a:lnTo>
                        <a:pt x="1321" y="873"/>
                      </a:lnTo>
                      <a:lnTo>
                        <a:pt x="1321" y="873"/>
                      </a:lnTo>
                      <a:lnTo>
                        <a:pt x="1321" y="868"/>
                      </a:lnTo>
                      <a:lnTo>
                        <a:pt x="1321" y="864"/>
                      </a:lnTo>
                      <a:lnTo>
                        <a:pt x="1321" y="858"/>
                      </a:lnTo>
                      <a:lnTo>
                        <a:pt x="1321" y="857"/>
                      </a:lnTo>
                      <a:lnTo>
                        <a:pt x="1336" y="855"/>
                      </a:lnTo>
                      <a:lnTo>
                        <a:pt x="1345" y="853"/>
                      </a:lnTo>
                      <a:lnTo>
                        <a:pt x="1356" y="855"/>
                      </a:lnTo>
                      <a:lnTo>
                        <a:pt x="1371" y="857"/>
                      </a:lnTo>
                      <a:lnTo>
                        <a:pt x="1371" y="847"/>
                      </a:lnTo>
                      <a:lnTo>
                        <a:pt x="1371" y="838"/>
                      </a:lnTo>
                      <a:lnTo>
                        <a:pt x="1371" y="831"/>
                      </a:lnTo>
                      <a:lnTo>
                        <a:pt x="1371" y="821"/>
                      </a:lnTo>
                      <a:lnTo>
                        <a:pt x="1371" y="821"/>
                      </a:lnTo>
                      <a:lnTo>
                        <a:pt x="1369" y="821"/>
                      </a:lnTo>
                      <a:lnTo>
                        <a:pt x="1369" y="821"/>
                      </a:lnTo>
                      <a:lnTo>
                        <a:pt x="1369" y="820"/>
                      </a:lnTo>
                      <a:lnTo>
                        <a:pt x="1369" y="820"/>
                      </a:lnTo>
                      <a:lnTo>
                        <a:pt x="1371" y="818"/>
                      </a:lnTo>
                      <a:lnTo>
                        <a:pt x="1371" y="816"/>
                      </a:lnTo>
                      <a:lnTo>
                        <a:pt x="1371" y="810"/>
                      </a:lnTo>
                      <a:lnTo>
                        <a:pt x="1371" y="807"/>
                      </a:lnTo>
                      <a:lnTo>
                        <a:pt x="1371" y="799"/>
                      </a:lnTo>
                      <a:lnTo>
                        <a:pt x="1371" y="796"/>
                      </a:lnTo>
                      <a:lnTo>
                        <a:pt x="1371" y="794"/>
                      </a:lnTo>
                      <a:lnTo>
                        <a:pt x="1365" y="794"/>
                      </a:lnTo>
                      <a:lnTo>
                        <a:pt x="1360" y="794"/>
                      </a:lnTo>
                      <a:lnTo>
                        <a:pt x="1360" y="788"/>
                      </a:lnTo>
                      <a:lnTo>
                        <a:pt x="1360" y="781"/>
                      </a:lnTo>
                      <a:lnTo>
                        <a:pt x="1360" y="773"/>
                      </a:lnTo>
                      <a:lnTo>
                        <a:pt x="1360" y="766"/>
                      </a:lnTo>
                      <a:lnTo>
                        <a:pt x="1360" y="766"/>
                      </a:lnTo>
                      <a:lnTo>
                        <a:pt x="1352" y="759"/>
                      </a:lnTo>
                      <a:lnTo>
                        <a:pt x="1345" y="751"/>
                      </a:lnTo>
                      <a:lnTo>
                        <a:pt x="1339" y="746"/>
                      </a:lnTo>
                      <a:lnTo>
                        <a:pt x="1334" y="738"/>
                      </a:lnTo>
                      <a:lnTo>
                        <a:pt x="1328" y="733"/>
                      </a:lnTo>
                      <a:lnTo>
                        <a:pt x="1325" y="726"/>
                      </a:lnTo>
                      <a:lnTo>
                        <a:pt x="1323" y="720"/>
                      </a:lnTo>
                      <a:lnTo>
                        <a:pt x="1319" y="714"/>
                      </a:lnTo>
                      <a:lnTo>
                        <a:pt x="1317" y="707"/>
                      </a:lnTo>
                      <a:lnTo>
                        <a:pt x="1315" y="702"/>
                      </a:lnTo>
                      <a:lnTo>
                        <a:pt x="1314" y="694"/>
                      </a:lnTo>
                      <a:lnTo>
                        <a:pt x="1312" y="687"/>
                      </a:lnTo>
                      <a:lnTo>
                        <a:pt x="1310" y="670"/>
                      </a:lnTo>
                      <a:lnTo>
                        <a:pt x="1306" y="654"/>
                      </a:lnTo>
                      <a:lnTo>
                        <a:pt x="1317" y="648"/>
                      </a:lnTo>
                      <a:lnTo>
                        <a:pt x="1327" y="642"/>
                      </a:lnTo>
                      <a:lnTo>
                        <a:pt x="1330" y="641"/>
                      </a:lnTo>
                      <a:lnTo>
                        <a:pt x="1332" y="641"/>
                      </a:lnTo>
                      <a:lnTo>
                        <a:pt x="1336" y="637"/>
                      </a:lnTo>
                      <a:lnTo>
                        <a:pt x="1336" y="637"/>
                      </a:lnTo>
                      <a:lnTo>
                        <a:pt x="1338" y="635"/>
                      </a:lnTo>
                      <a:lnTo>
                        <a:pt x="1338" y="635"/>
                      </a:lnTo>
                      <a:lnTo>
                        <a:pt x="1339" y="633"/>
                      </a:lnTo>
                      <a:lnTo>
                        <a:pt x="1339" y="633"/>
                      </a:lnTo>
                      <a:lnTo>
                        <a:pt x="1339" y="630"/>
                      </a:lnTo>
                      <a:lnTo>
                        <a:pt x="1339" y="630"/>
                      </a:lnTo>
                      <a:lnTo>
                        <a:pt x="1341" y="628"/>
                      </a:lnTo>
                      <a:lnTo>
                        <a:pt x="1345" y="628"/>
                      </a:lnTo>
                      <a:lnTo>
                        <a:pt x="1349" y="630"/>
                      </a:lnTo>
                      <a:lnTo>
                        <a:pt x="1352" y="631"/>
                      </a:lnTo>
                      <a:lnTo>
                        <a:pt x="1358" y="631"/>
                      </a:lnTo>
                      <a:lnTo>
                        <a:pt x="1358" y="631"/>
                      </a:lnTo>
                      <a:lnTo>
                        <a:pt x="1358" y="624"/>
                      </a:lnTo>
                      <a:lnTo>
                        <a:pt x="1358" y="617"/>
                      </a:lnTo>
                      <a:lnTo>
                        <a:pt x="1358" y="611"/>
                      </a:lnTo>
                      <a:lnTo>
                        <a:pt x="1358" y="604"/>
                      </a:lnTo>
                      <a:lnTo>
                        <a:pt x="1358" y="604"/>
                      </a:lnTo>
                      <a:lnTo>
                        <a:pt x="1352" y="602"/>
                      </a:lnTo>
                      <a:lnTo>
                        <a:pt x="1347" y="602"/>
                      </a:lnTo>
                      <a:lnTo>
                        <a:pt x="1343" y="600"/>
                      </a:lnTo>
                      <a:lnTo>
                        <a:pt x="1341" y="600"/>
                      </a:lnTo>
                      <a:lnTo>
                        <a:pt x="1338" y="600"/>
                      </a:lnTo>
                      <a:lnTo>
                        <a:pt x="1339" y="596"/>
                      </a:lnTo>
                      <a:lnTo>
                        <a:pt x="1339" y="596"/>
                      </a:lnTo>
                      <a:lnTo>
                        <a:pt x="1339" y="591"/>
                      </a:lnTo>
                      <a:lnTo>
                        <a:pt x="1341" y="587"/>
                      </a:lnTo>
                      <a:lnTo>
                        <a:pt x="1341" y="583"/>
                      </a:lnTo>
                      <a:lnTo>
                        <a:pt x="1347" y="582"/>
                      </a:lnTo>
                      <a:lnTo>
                        <a:pt x="1352" y="582"/>
                      </a:lnTo>
                      <a:lnTo>
                        <a:pt x="1358" y="580"/>
                      </a:lnTo>
                      <a:lnTo>
                        <a:pt x="1365" y="578"/>
                      </a:lnTo>
                      <a:lnTo>
                        <a:pt x="1365" y="578"/>
                      </a:lnTo>
                      <a:lnTo>
                        <a:pt x="1371" y="569"/>
                      </a:lnTo>
                      <a:lnTo>
                        <a:pt x="1375" y="559"/>
                      </a:lnTo>
                      <a:lnTo>
                        <a:pt x="1378" y="558"/>
                      </a:lnTo>
                      <a:lnTo>
                        <a:pt x="1382" y="554"/>
                      </a:lnTo>
                      <a:lnTo>
                        <a:pt x="1384" y="552"/>
                      </a:lnTo>
                      <a:lnTo>
                        <a:pt x="1386" y="552"/>
                      </a:lnTo>
                      <a:lnTo>
                        <a:pt x="1387" y="550"/>
                      </a:lnTo>
                      <a:lnTo>
                        <a:pt x="1389" y="550"/>
                      </a:lnTo>
                      <a:lnTo>
                        <a:pt x="1389" y="556"/>
                      </a:lnTo>
                      <a:lnTo>
                        <a:pt x="1389" y="559"/>
                      </a:lnTo>
                      <a:lnTo>
                        <a:pt x="1389" y="561"/>
                      </a:lnTo>
                      <a:lnTo>
                        <a:pt x="1395" y="561"/>
                      </a:lnTo>
                      <a:lnTo>
                        <a:pt x="1402" y="563"/>
                      </a:lnTo>
                      <a:lnTo>
                        <a:pt x="1406" y="565"/>
                      </a:lnTo>
                      <a:lnTo>
                        <a:pt x="1411" y="567"/>
                      </a:lnTo>
                      <a:lnTo>
                        <a:pt x="1413" y="567"/>
                      </a:lnTo>
                      <a:lnTo>
                        <a:pt x="1411" y="561"/>
                      </a:lnTo>
                      <a:lnTo>
                        <a:pt x="1411" y="556"/>
                      </a:lnTo>
                      <a:lnTo>
                        <a:pt x="1410" y="552"/>
                      </a:lnTo>
                      <a:lnTo>
                        <a:pt x="1410" y="548"/>
                      </a:lnTo>
                      <a:lnTo>
                        <a:pt x="1413" y="543"/>
                      </a:lnTo>
                      <a:lnTo>
                        <a:pt x="1413" y="543"/>
                      </a:lnTo>
                      <a:lnTo>
                        <a:pt x="1417" y="539"/>
                      </a:lnTo>
                      <a:lnTo>
                        <a:pt x="1417" y="539"/>
                      </a:lnTo>
                      <a:lnTo>
                        <a:pt x="1421" y="534"/>
                      </a:lnTo>
                      <a:lnTo>
                        <a:pt x="1421" y="534"/>
                      </a:lnTo>
                      <a:lnTo>
                        <a:pt x="1423" y="530"/>
                      </a:lnTo>
                      <a:lnTo>
                        <a:pt x="1423" y="530"/>
                      </a:lnTo>
                      <a:lnTo>
                        <a:pt x="1426" y="519"/>
                      </a:lnTo>
                      <a:lnTo>
                        <a:pt x="1430" y="506"/>
                      </a:lnTo>
                      <a:lnTo>
                        <a:pt x="1434" y="506"/>
                      </a:lnTo>
                      <a:lnTo>
                        <a:pt x="1439" y="504"/>
                      </a:lnTo>
                      <a:lnTo>
                        <a:pt x="1445" y="502"/>
                      </a:lnTo>
                      <a:lnTo>
                        <a:pt x="1448" y="502"/>
                      </a:lnTo>
                      <a:lnTo>
                        <a:pt x="1450" y="500"/>
                      </a:lnTo>
                      <a:lnTo>
                        <a:pt x="1446" y="499"/>
                      </a:lnTo>
                      <a:lnTo>
                        <a:pt x="1446" y="497"/>
                      </a:lnTo>
                      <a:lnTo>
                        <a:pt x="1445" y="495"/>
                      </a:lnTo>
                      <a:lnTo>
                        <a:pt x="1443" y="491"/>
                      </a:lnTo>
                      <a:lnTo>
                        <a:pt x="1439" y="484"/>
                      </a:lnTo>
                      <a:lnTo>
                        <a:pt x="1435" y="471"/>
                      </a:lnTo>
                      <a:lnTo>
                        <a:pt x="1432" y="467"/>
                      </a:lnTo>
                      <a:lnTo>
                        <a:pt x="1428" y="465"/>
                      </a:lnTo>
                      <a:lnTo>
                        <a:pt x="1424" y="463"/>
                      </a:lnTo>
                      <a:lnTo>
                        <a:pt x="1423" y="462"/>
                      </a:lnTo>
                      <a:lnTo>
                        <a:pt x="1417" y="456"/>
                      </a:lnTo>
                      <a:lnTo>
                        <a:pt x="1410" y="449"/>
                      </a:lnTo>
                      <a:lnTo>
                        <a:pt x="1411" y="439"/>
                      </a:lnTo>
                      <a:lnTo>
                        <a:pt x="1413" y="430"/>
                      </a:lnTo>
                      <a:lnTo>
                        <a:pt x="1417" y="421"/>
                      </a:lnTo>
                      <a:lnTo>
                        <a:pt x="1419" y="412"/>
                      </a:lnTo>
                      <a:lnTo>
                        <a:pt x="1415" y="412"/>
                      </a:lnTo>
                      <a:lnTo>
                        <a:pt x="1411" y="410"/>
                      </a:lnTo>
                      <a:lnTo>
                        <a:pt x="1408" y="408"/>
                      </a:lnTo>
                      <a:lnTo>
                        <a:pt x="1406" y="408"/>
                      </a:lnTo>
                      <a:lnTo>
                        <a:pt x="1402" y="401"/>
                      </a:lnTo>
                      <a:lnTo>
                        <a:pt x="1402" y="395"/>
                      </a:lnTo>
                      <a:lnTo>
                        <a:pt x="1400" y="393"/>
                      </a:lnTo>
                      <a:lnTo>
                        <a:pt x="1400" y="391"/>
                      </a:lnTo>
                      <a:lnTo>
                        <a:pt x="1400" y="390"/>
                      </a:lnTo>
                      <a:lnTo>
                        <a:pt x="1400" y="386"/>
                      </a:lnTo>
                      <a:lnTo>
                        <a:pt x="1402" y="382"/>
                      </a:lnTo>
                      <a:lnTo>
                        <a:pt x="1404" y="377"/>
                      </a:lnTo>
                      <a:lnTo>
                        <a:pt x="1404" y="371"/>
                      </a:lnTo>
                      <a:lnTo>
                        <a:pt x="1408" y="364"/>
                      </a:lnTo>
                      <a:lnTo>
                        <a:pt x="1408" y="364"/>
                      </a:lnTo>
                      <a:lnTo>
                        <a:pt x="1400" y="364"/>
                      </a:lnTo>
                      <a:lnTo>
                        <a:pt x="1397" y="364"/>
                      </a:lnTo>
                      <a:lnTo>
                        <a:pt x="1395" y="358"/>
                      </a:lnTo>
                      <a:lnTo>
                        <a:pt x="1393" y="353"/>
                      </a:lnTo>
                      <a:lnTo>
                        <a:pt x="1391" y="347"/>
                      </a:lnTo>
                      <a:lnTo>
                        <a:pt x="1391" y="342"/>
                      </a:lnTo>
                      <a:lnTo>
                        <a:pt x="1393" y="342"/>
                      </a:lnTo>
                      <a:lnTo>
                        <a:pt x="1397" y="342"/>
                      </a:lnTo>
                      <a:lnTo>
                        <a:pt x="1402" y="342"/>
                      </a:lnTo>
                      <a:lnTo>
                        <a:pt x="1406" y="342"/>
                      </a:lnTo>
                      <a:lnTo>
                        <a:pt x="1408" y="342"/>
                      </a:lnTo>
                      <a:lnTo>
                        <a:pt x="1408" y="336"/>
                      </a:lnTo>
                      <a:lnTo>
                        <a:pt x="1408" y="332"/>
                      </a:lnTo>
                      <a:lnTo>
                        <a:pt x="1410" y="332"/>
                      </a:lnTo>
                      <a:lnTo>
                        <a:pt x="1413" y="332"/>
                      </a:lnTo>
                      <a:lnTo>
                        <a:pt x="1419" y="332"/>
                      </a:lnTo>
                      <a:lnTo>
                        <a:pt x="1423" y="332"/>
                      </a:lnTo>
                      <a:lnTo>
                        <a:pt x="1423" y="332"/>
                      </a:lnTo>
                      <a:lnTo>
                        <a:pt x="1423" y="327"/>
                      </a:lnTo>
                      <a:lnTo>
                        <a:pt x="1423" y="321"/>
                      </a:lnTo>
                      <a:lnTo>
                        <a:pt x="1428" y="320"/>
                      </a:lnTo>
                      <a:lnTo>
                        <a:pt x="1432" y="320"/>
                      </a:lnTo>
                      <a:lnTo>
                        <a:pt x="1435" y="318"/>
                      </a:lnTo>
                      <a:lnTo>
                        <a:pt x="1439" y="316"/>
                      </a:lnTo>
                      <a:lnTo>
                        <a:pt x="1441" y="316"/>
                      </a:lnTo>
                      <a:lnTo>
                        <a:pt x="1439" y="312"/>
                      </a:lnTo>
                      <a:lnTo>
                        <a:pt x="1439" y="307"/>
                      </a:lnTo>
                      <a:lnTo>
                        <a:pt x="1439" y="303"/>
                      </a:lnTo>
                      <a:lnTo>
                        <a:pt x="1439" y="299"/>
                      </a:lnTo>
                      <a:lnTo>
                        <a:pt x="1446" y="299"/>
                      </a:lnTo>
                      <a:lnTo>
                        <a:pt x="1456" y="299"/>
                      </a:lnTo>
                      <a:lnTo>
                        <a:pt x="1465" y="299"/>
                      </a:lnTo>
                      <a:lnTo>
                        <a:pt x="1472" y="301"/>
                      </a:lnTo>
                      <a:lnTo>
                        <a:pt x="1474" y="301"/>
                      </a:lnTo>
                      <a:lnTo>
                        <a:pt x="1474" y="292"/>
                      </a:lnTo>
                      <a:lnTo>
                        <a:pt x="1472" y="284"/>
                      </a:lnTo>
                      <a:lnTo>
                        <a:pt x="1472" y="277"/>
                      </a:lnTo>
                      <a:lnTo>
                        <a:pt x="1472" y="272"/>
                      </a:lnTo>
                      <a:lnTo>
                        <a:pt x="1476" y="270"/>
                      </a:lnTo>
                      <a:lnTo>
                        <a:pt x="1478" y="268"/>
                      </a:lnTo>
                      <a:lnTo>
                        <a:pt x="1482" y="266"/>
                      </a:lnTo>
                      <a:lnTo>
                        <a:pt x="1485" y="264"/>
                      </a:lnTo>
                      <a:lnTo>
                        <a:pt x="1487" y="262"/>
                      </a:lnTo>
                      <a:lnTo>
                        <a:pt x="1483" y="259"/>
                      </a:lnTo>
                      <a:lnTo>
                        <a:pt x="1482" y="255"/>
                      </a:lnTo>
                      <a:lnTo>
                        <a:pt x="1482" y="255"/>
                      </a:lnTo>
                      <a:lnTo>
                        <a:pt x="1480" y="251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6" y="249"/>
                      </a:lnTo>
                      <a:lnTo>
                        <a:pt x="1478" y="253"/>
                      </a:lnTo>
                      <a:lnTo>
                        <a:pt x="1478" y="253"/>
                      </a:lnTo>
                      <a:lnTo>
                        <a:pt x="1480" y="255"/>
                      </a:lnTo>
                      <a:lnTo>
                        <a:pt x="1482" y="259"/>
                      </a:lnTo>
                      <a:lnTo>
                        <a:pt x="1482" y="260"/>
                      </a:lnTo>
                      <a:lnTo>
                        <a:pt x="1483" y="262"/>
                      </a:lnTo>
                      <a:lnTo>
                        <a:pt x="1482" y="264"/>
                      </a:lnTo>
                      <a:lnTo>
                        <a:pt x="1478" y="266"/>
                      </a:lnTo>
                      <a:lnTo>
                        <a:pt x="1478" y="266"/>
                      </a:lnTo>
                      <a:lnTo>
                        <a:pt x="1474" y="268"/>
                      </a:lnTo>
                      <a:lnTo>
                        <a:pt x="1470" y="270"/>
                      </a:lnTo>
                      <a:lnTo>
                        <a:pt x="1470" y="272"/>
                      </a:lnTo>
                      <a:lnTo>
                        <a:pt x="1470" y="277"/>
                      </a:lnTo>
                      <a:lnTo>
                        <a:pt x="1472" y="284"/>
                      </a:lnTo>
                      <a:lnTo>
                        <a:pt x="1472" y="292"/>
                      </a:lnTo>
                      <a:lnTo>
                        <a:pt x="1472" y="299"/>
                      </a:lnTo>
                      <a:lnTo>
                        <a:pt x="1465" y="299"/>
                      </a:lnTo>
                      <a:lnTo>
                        <a:pt x="1456" y="297"/>
                      </a:lnTo>
                      <a:lnTo>
                        <a:pt x="1446" y="297"/>
                      </a:lnTo>
                      <a:lnTo>
                        <a:pt x="1439" y="297"/>
                      </a:lnTo>
                      <a:lnTo>
                        <a:pt x="1437" y="297"/>
                      </a:lnTo>
                      <a:lnTo>
                        <a:pt x="1437" y="303"/>
                      </a:lnTo>
                      <a:lnTo>
                        <a:pt x="1437" y="307"/>
                      </a:lnTo>
                      <a:lnTo>
                        <a:pt x="1437" y="307"/>
                      </a:lnTo>
                      <a:lnTo>
                        <a:pt x="1439" y="312"/>
                      </a:lnTo>
                      <a:lnTo>
                        <a:pt x="1439" y="316"/>
                      </a:lnTo>
                      <a:lnTo>
                        <a:pt x="1435" y="316"/>
                      </a:lnTo>
                      <a:lnTo>
                        <a:pt x="1432" y="318"/>
                      </a:lnTo>
                      <a:lnTo>
                        <a:pt x="1426" y="318"/>
                      </a:lnTo>
                      <a:lnTo>
                        <a:pt x="1423" y="320"/>
                      </a:lnTo>
                      <a:lnTo>
                        <a:pt x="1423" y="320"/>
                      </a:lnTo>
                      <a:lnTo>
                        <a:pt x="1423" y="327"/>
                      </a:lnTo>
                      <a:lnTo>
                        <a:pt x="1423" y="331"/>
                      </a:lnTo>
                      <a:lnTo>
                        <a:pt x="1419" y="331"/>
                      </a:lnTo>
                      <a:lnTo>
                        <a:pt x="1413" y="331"/>
                      </a:lnTo>
                      <a:lnTo>
                        <a:pt x="1410" y="331"/>
                      </a:lnTo>
                      <a:lnTo>
                        <a:pt x="1406" y="331"/>
                      </a:lnTo>
                      <a:lnTo>
                        <a:pt x="1406" y="331"/>
                      </a:lnTo>
                      <a:lnTo>
                        <a:pt x="1406" y="336"/>
                      </a:lnTo>
                      <a:lnTo>
                        <a:pt x="1406" y="342"/>
                      </a:lnTo>
                      <a:lnTo>
                        <a:pt x="1402" y="342"/>
                      </a:lnTo>
                      <a:lnTo>
                        <a:pt x="1397" y="342"/>
                      </a:lnTo>
                      <a:lnTo>
                        <a:pt x="1393" y="342"/>
                      </a:lnTo>
                      <a:lnTo>
                        <a:pt x="1389" y="342"/>
                      </a:lnTo>
                      <a:lnTo>
                        <a:pt x="1389" y="342"/>
                      </a:lnTo>
                      <a:lnTo>
                        <a:pt x="1389" y="347"/>
                      </a:lnTo>
                      <a:lnTo>
                        <a:pt x="1391" y="353"/>
                      </a:lnTo>
                      <a:lnTo>
                        <a:pt x="1393" y="358"/>
                      </a:lnTo>
                      <a:lnTo>
                        <a:pt x="1395" y="364"/>
                      </a:lnTo>
                      <a:lnTo>
                        <a:pt x="1395" y="366"/>
                      </a:lnTo>
                      <a:lnTo>
                        <a:pt x="1400" y="366"/>
                      </a:lnTo>
                      <a:lnTo>
                        <a:pt x="1406" y="364"/>
                      </a:lnTo>
                      <a:lnTo>
                        <a:pt x="1404" y="369"/>
                      </a:lnTo>
                      <a:lnTo>
                        <a:pt x="1404" y="369"/>
                      </a:lnTo>
                      <a:lnTo>
                        <a:pt x="1402" y="377"/>
                      </a:lnTo>
                      <a:lnTo>
                        <a:pt x="1400" y="382"/>
                      </a:lnTo>
                      <a:lnTo>
                        <a:pt x="1400" y="382"/>
                      </a:lnTo>
                      <a:lnTo>
                        <a:pt x="1400" y="386"/>
                      </a:lnTo>
                      <a:lnTo>
                        <a:pt x="1399" y="390"/>
                      </a:lnTo>
                      <a:lnTo>
                        <a:pt x="1399" y="390"/>
                      </a:lnTo>
                      <a:lnTo>
                        <a:pt x="1399" y="391"/>
                      </a:lnTo>
                      <a:lnTo>
                        <a:pt x="1399" y="391"/>
                      </a:lnTo>
                      <a:lnTo>
                        <a:pt x="1400" y="393"/>
                      </a:lnTo>
                      <a:lnTo>
                        <a:pt x="1400" y="397"/>
                      </a:lnTo>
                      <a:lnTo>
                        <a:pt x="1400" y="397"/>
                      </a:lnTo>
                      <a:lnTo>
                        <a:pt x="1402" y="403"/>
                      </a:lnTo>
                      <a:lnTo>
                        <a:pt x="1402" y="403"/>
                      </a:lnTo>
                      <a:lnTo>
                        <a:pt x="1404" y="408"/>
                      </a:lnTo>
                      <a:lnTo>
                        <a:pt x="1404" y="408"/>
                      </a:lnTo>
                      <a:lnTo>
                        <a:pt x="1408" y="410"/>
                      </a:lnTo>
                      <a:lnTo>
                        <a:pt x="1411" y="412"/>
                      </a:lnTo>
                      <a:lnTo>
                        <a:pt x="1413" y="412"/>
                      </a:lnTo>
                      <a:lnTo>
                        <a:pt x="1417" y="414"/>
                      </a:lnTo>
                      <a:lnTo>
                        <a:pt x="1415" y="421"/>
                      </a:lnTo>
                      <a:lnTo>
                        <a:pt x="1413" y="430"/>
                      </a:lnTo>
                      <a:lnTo>
                        <a:pt x="1411" y="439"/>
                      </a:lnTo>
                      <a:lnTo>
                        <a:pt x="1410" y="449"/>
                      </a:lnTo>
                      <a:lnTo>
                        <a:pt x="1415" y="458"/>
                      </a:lnTo>
                      <a:lnTo>
                        <a:pt x="1421" y="463"/>
                      </a:lnTo>
                      <a:lnTo>
                        <a:pt x="1424" y="465"/>
                      </a:lnTo>
                      <a:lnTo>
                        <a:pt x="1424" y="465"/>
                      </a:lnTo>
                      <a:lnTo>
                        <a:pt x="1426" y="467"/>
                      </a:lnTo>
                      <a:lnTo>
                        <a:pt x="1430" y="469"/>
                      </a:lnTo>
                      <a:lnTo>
                        <a:pt x="1430" y="469"/>
                      </a:lnTo>
                      <a:lnTo>
                        <a:pt x="1435" y="471"/>
                      </a:lnTo>
                      <a:lnTo>
                        <a:pt x="1439" y="486"/>
                      </a:lnTo>
                      <a:lnTo>
                        <a:pt x="1441" y="493"/>
                      </a:lnTo>
                      <a:lnTo>
                        <a:pt x="1443" y="495"/>
                      </a:lnTo>
                      <a:lnTo>
                        <a:pt x="1443" y="495"/>
                      </a:lnTo>
                      <a:lnTo>
                        <a:pt x="1445" y="497"/>
                      </a:lnTo>
                      <a:lnTo>
                        <a:pt x="1446" y="499"/>
                      </a:lnTo>
                      <a:lnTo>
                        <a:pt x="1446" y="500"/>
                      </a:lnTo>
                      <a:lnTo>
                        <a:pt x="1445" y="500"/>
                      </a:lnTo>
                      <a:lnTo>
                        <a:pt x="1439" y="502"/>
                      </a:lnTo>
                      <a:lnTo>
                        <a:pt x="1434" y="504"/>
                      </a:lnTo>
                      <a:lnTo>
                        <a:pt x="1428" y="506"/>
                      </a:lnTo>
                      <a:lnTo>
                        <a:pt x="1428" y="506"/>
                      </a:lnTo>
                      <a:lnTo>
                        <a:pt x="1424" y="519"/>
                      </a:lnTo>
                      <a:lnTo>
                        <a:pt x="1421" y="528"/>
                      </a:lnTo>
                      <a:lnTo>
                        <a:pt x="1419" y="534"/>
                      </a:lnTo>
                      <a:lnTo>
                        <a:pt x="1417" y="539"/>
                      </a:lnTo>
                      <a:lnTo>
                        <a:pt x="1413" y="543"/>
                      </a:lnTo>
                      <a:lnTo>
                        <a:pt x="1408" y="547"/>
                      </a:lnTo>
                      <a:lnTo>
                        <a:pt x="1408" y="547"/>
                      </a:lnTo>
                      <a:lnTo>
                        <a:pt x="1408" y="552"/>
                      </a:lnTo>
                      <a:lnTo>
                        <a:pt x="1410" y="556"/>
                      </a:lnTo>
                      <a:lnTo>
                        <a:pt x="1410" y="561"/>
                      </a:lnTo>
                      <a:lnTo>
                        <a:pt x="1411" y="565"/>
                      </a:lnTo>
                      <a:lnTo>
                        <a:pt x="1408" y="563"/>
                      </a:lnTo>
                      <a:lnTo>
                        <a:pt x="1402" y="561"/>
                      </a:lnTo>
                      <a:lnTo>
                        <a:pt x="1402" y="561"/>
                      </a:lnTo>
                      <a:lnTo>
                        <a:pt x="1397" y="561"/>
                      </a:lnTo>
                      <a:lnTo>
                        <a:pt x="1391" y="559"/>
                      </a:lnTo>
                      <a:lnTo>
                        <a:pt x="1391" y="556"/>
                      </a:lnTo>
                      <a:lnTo>
                        <a:pt x="1391" y="548"/>
                      </a:lnTo>
                      <a:lnTo>
                        <a:pt x="1391" y="548"/>
                      </a:lnTo>
                      <a:lnTo>
                        <a:pt x="1387" y="548"/>
                      </a:lnTo>
                      <a:lnTo>
                        <a:pt x="1387" y="548"/>
                      </a:lnTo>
                      <a:lnTo>
                        <a:pt x="1384" y="550"/>
                      </a:lnTo>
                      <a:lnTo>
                        <a:pt x="1384" y="550"/>
                      </a:lnTo>
                      <a:lnTo>
                        <a:pt x="1382" y="552"/>
                      </a:lnTo>
                      <a:lnTo>
                        <a:pt x="1382" y="552"/>
                      </a:lnTo>
                      <a:lnTo>
                        <a:pt x="1380" y="552"/>
                      </a:lnTo>
                      <a:lnTo>
                        <a:pt x="1380" y="552"/>
                      </a:lnTo>
                      <a:lnTo>
                        <a:pt x="1376" y="556"/>
                      </a:lnTo>
                      <a:lnTo>
                        <a:pt x="1375" y="559"/>
                      </a:lnTo>
                      <a:lnTo>
                        <a:pt x="1375" y="559"/>
                      </a:lnTo>
                      <a:lnTo>
                        <a:pt x="1369" y="567"/>
                      </a:lnTo>
                      <a:lnTo>
                        <a:pt x="1363" y="576"/>
                      </a:lnTo>
                      <a:lnTo>
                        <a:pt x="1358" y="578"/>
                      </a:lnTo>
                      <a:lnTo>
                        <a:pt x="1352" y="580"/>
                      </a:lnTo>
                      <a:lnTo>
                        <a:pt x="1347" y="580"/>
                      </a:lnTo>
                      <a:lnTo>
                        <a:pt x="1341" y="582"/>
                      </a:lnTo>
                      <a:lnTo>
                        <a:pt x="1341" y="582"/>
                      </a:lnTo>
                      <a:lnTo>
                        <a:pt x="1339" y="587"/>
                      </a:lnTo>
                      <a:lnTo>
                        <a:pt x="1339" y="591"/>
                      </a:lnTo>
                      <a:lnTo>
                        <a:pt x="1338" y="594"/>
                      </a:lnTo>
                      <a:lnTo>
                        <a:pt x="1336" y="600"/>
                      </a:lnTo>
                      <a:lnTo>
                        <a:pt x="1336" y="600"/>
                      </a:lnTo>
                      <a:lnTo>
                        <a:pt x="1341" y="602"/>
                      </a:lnTo>
                      <a:lnTo>
                        <a:pt x="1347" y="602"/>
                      </a:lnTo>
                      <a:lnTo>
                        <a:pt x="1352" y="604"/>
                      </a:lnTo>
                      <a:lnTo>
                        <a:pt x="1358" y="604"/>
                      </a:lnTo>
                      <a:lnTo>
                        <a:pt x="1358" y="611"/>
                      </a:lnTo>
                      <a:lnTo>
                        <a:pt x="1358" y="617"/>
                      </a:lnTo>
                      <a:lnTo>
                        <a:pt x="1358" y="624"/>
                      </a:lnTo>
                      <a:lnTo>
                        <a:pt x="1358" y="630"/>
                      </a:lnTo>
                      <a:lnTo>
                        <a:pt x="1354" y="630"/>
                      </a:lnTo>
                      <a:lnTo>
                        <a:pt x="1349" y="628"/>
                      </a:lnTo>
                      <a:lnTo>
                        <a:pt x="1345" y="628"/>
                      </a:lnTo>
                      <a:lnTo>
                        <a:pt x="1345" y="628"/>
                      </a:lnTo>
                      <a:lnTo>
                        <a:pt x="1341" y="626"/>
                      </a:lnTo>
                      <a:lnTo>
                        <a:pt x="1339" y="626"/>
                      </a:lnTo>
                      <a:lnTo>
                        <a:pt x="1338" y="630"/>
                      </a:lnTo>
                      <a:lnTo>
                        <a:pt x="1338" y="631"/>
                      </a:lnTo>
                      <a:lnTo>
                        <a:pt x="1336" y="633"/>
                      </a:lnTo>
                      <a:lnTo>
                        <a:pt x="1334" y="635"/>
                      </a:lnTo>
                      <a:lnTo>
                        <a:pt x="1330" y="639"/>
                      </a:lnTo>
                      <a:lnTo>
                        <a:pt x="1327" y="642"/>
                      </a:lnTo>
                      <a:lnTo>
                        <a:pt x="1315" y="648"/>
                      </a:lnTo>
                      <a:lnTo>
                        <a:pt x="1306" y="654"/>
                      </a:lnTo>
                      <a:lnTo>
                        <a:pt x="1308" y="672"/>
                      </a:lnTo>
                      <a:lnTo>
                        <a:pt x="1312" y="687"/>
                      </a:lnTo>
                      <a:lnTo>
                        <a:pt x="1312" y="694"/>
                      </a:lnTo>
                      <a:lnTo>
                        <a:pt x="1314" y="702"/>
                      </a:lnTo>
                      <a:lnTo>
                        <a:pt x="1314" y="702"/>
                      </a:lnTo>
                      <a:lnTo>
                        <a:pt x="1315" y="707"/>
                      </a:lnTo>
                      <a:lnTo>
                        <a:pt x="1317" y="714"/>
                      </a:lnTo>
                      <a:lnTo>
                        <a:pt x="1317" y="714"/>
                      </a:lnTo>
                      <a:lnTo>
                        <a:pt x="1321" y="720"/>
                      </a:lnTo>
                      <a:lnTo>
                        <a:pt x="1325" y="727"/>
                      </a:lnTo>
                      <a:lnTo>
                        <a:pt x="1328" y="733"/>
                      </a:lnTo>
                      <a:lnTo>
                        <a:pt x="1332" y="740"/>
                      </a:lnTo>
                      <a:lnTo>
                        <a:pt x="1338" y="746"/>
                      </a:lnTo>
                      <a:lnTo>
                        <a:pt x="1343" y="753"/>
                      </a:lnTo>
                      <a:lnTo>
                        <a:pt x="1351" y="759"/>
                      </a:lnTo>
                      <a:lnTo>
                        <a:pt x="1360" y="766"/>
                      </a:lnTo>
                      <a:lnTo>
                        <a:pt x="1358" y="773"/>
                      </a:lnTo>
                      <a:lnTo>
                        <a:pt x="1358" y="781"/>
                      </a:lnTo>
                      <a:lnTo>
                        <a:pt x="1358" y="788"/>
                      </a:lnTo>
                      <a:lnTo>
                        <a:pt x="1358" y="796"/>
                      </a:lnTo>
                      <a:lnTo>
                        <a:pt x="1358" y="796"/>
                      </a:lnTo>
                      <a:lnTo>
                        <a:pt x="1365" y="796"/>
                      </a:lnTo>
                      <a:lnTo>
                        <a:pt x="1369" y="796"/>
                      </a:lnTo>
                      <a:lnTo>
                        <a:pt x="1369" y="799"/>
                      </a:lnTo>
                      <a:lnTo>
                        <a:pt x="1369" y="807"/>
                      </a:lnTo>
                      <a:lnTo>
                        <a:pt x="1369" y="810"/>
                      </a:lnTo>
                      <a:lnTo>
                        <a:pt x="1369" y="816"/>
                      </a:lnTo>
                      <a:lnTo>
                        <a:pt x="1367" y="818"/>
                      </a:lnTo>
                      <a:lnTo>
                        <a:pt x="1367" y="818"/>
                      </a:lnTo>
                      <a:lnTo>
                        <a:pt x="1367" y="820"/>
                      </a:lnTo>
                      <a:lnTo>
                        <a:pt x="1367" y="820"/>
                      </a:lnTo>
                      <a:lnTo>
                        <a:pt x="1367" y="821"/>
                      </a:lnTo>
                      <a:lnTo>
                        <a:pt x="1367" y="821"/>
                      </a:lnTo>
                      <a:lnTo>
                        <a:pt x="1369" y="823"/>
                      </a:lnTo>
                      <a:lnTo>
                        <a:pt x="1369" y="831"/>
                      </a:lnTo>
                      <a:lnTo>
                        <a:pt x="1369" y="838"/>
                      </a:lnTo>
                      <a:lnTo>
                        <a:pt x="1369" y="847"/>
                      </a:lnTo>
                      <a:lnTo>
                        <a:pt x="1369" y="855"/>
                      </a:lnTo>
                      <a:lnTo>
                        <a:pt x="1356" y="853"/>
                      </a:lnTo>
                      <a:lnTo>
                        <a:pt x="1345" y="851"/>
                      </a:lnTo>
                      <a:lnTo>
                        <a:pt x="1336" y="853"/>
                      </a:lnTo>
                      <a:lnTo>
                        <a:pt x="1319" y="855"/>
                      </a:lnTo>
                      <a:lnTo>
                        <a:pt x="1319" y="858"/>
                      </a:lnTo>
                      <a:lnTo>
                        <a:pt x="1319" y="864"/>
                      </a:lnTo>
                      <a:lnTo>
                        <a:pt x="1319" y="868"/>
                      </a:lnTo>
                      <a:lnTo>
                        <a:pt x="1319" y="871"/>
                      </a:lnTo>
                      <a:lnTo>
                        <a:pt x="1315" y="871"/>
                      </a:lnTo>
                      <a:lnTo>
                        <a:pt x="1310" y="871"/>
                      </a:lnTo>
                      <a:lnTo>
                        <a:pt x="1310" y="871"/>
                      </a:lnTo>
                      <a:lnTo>
                        <a:pt x="1310" y="877"/>
                      </a:lnTo>
                      <a:lnTo>
                        <a:pt x="1310" y="882"/>
                      </a:lnTo>
                      <a:lnTo>
                        <a:pt x="1304" y="881"/>
                      </a:lnTo>
                      <a:lnTo>
                        <a:pt x="1301" y="879"/>
                      </a:lnTo>
                      <a:lnTo>
                        <a:pt x="1297" y="879"/>
                      </a:lnTo>
                      <a:lnTo>
                        <a:pt x="1291" y="877"/>
                      </a:lnTo>
                      <a:lnTo>
                        <a:pt x="1291" y="877"/>
                      </a:lnTo>
                      <a:lnTo>
                        <a:pt x="1290" y="882"/>
                      </a:lnTo>
                      <a:lnTo>
                        <a:pt x="1288" y="886"/>
                      </a:lnTo>
                      <a:lnTo>
                        <a:pt x="1280" y="884"/>
                      </a:lnTo>
                      <a:lnTo>
                        <a:pt x="1273" y="882"/>
                      </a:lnTo>
                      <a:lnTo>
                        <a:pt x="1266" y="881"/>
                      </a:lnTo>
                      <a:lnTo>
                        <a:pt x="1258" y="879"/>
                      </a:lnTo>
                      <a:lnTo>
                        <a:pt x="1258" y="879"/>
                      </a:lnTo>
                      <a:lnTo>
                        <a:pt x="1251" y="877"/>
                      </a:lnTo>
                      <a:lnTo>
                        <a:pt x="1243" y="877"/>
                      </a:lnTo>
                      <a:lnTo>
                        <a:pt x="1236" y="877"/>
                      </a:lnTo>
                      <a:lnTo>
                        <a:pt x="1227" y="877"/>
                      </a:lnTo>
                      <a:lnTo>
                        <a:pt x="1227" y="877"/>
                      </a:lnTo>
                      <a:lnTo>
                        <a:pt x="1227" y="886"/>
                      </a:lnTo>
                      <a:lnTo>
                        <a:pt x="1227" y="895"/>
                      </a:lnTo>
                      <a:lnTo>
                        <a:pt x="1227" y="895"/>
                      </a:lnTo>
                      <a:lnTo>
                        <a:pt x="1227" y="905"/>
                      </a:lnTo>
                      <a:lnTo>
                        <a:pt x="1227" y="914"/>
                      </a:lnTo>
                      <a:lnTo>
                        <a:pt x="1229" y="927"/>
                      </a:lnTo>
                      <a:lnTo>
                        <a:pt x="1229" y="941"/>
                      </a:lnTo>
                      <a:lnTo>
                        <a:pt x="1229" y="958"/>
                      </a:lnTo>
                      <a:lnTo>
                        <a:pt x="1231" y="980"/>
                      </a:lnTo>
                      <a:lnTo>
                        <a:pt x="1227" y="989"/>
                      </a:lnTo>
                      <a:lnTo>
                        <a:pt x="1223" y="997"/>
                      </a:lnTo>
                      <a:lnTo>
                        <a:pt x="1221" y="1004"/>
                      </a:lnTo>
                      <a:lnTo>
                        <a:pt x="1221" y="1004"/>
                      </a:lnTo>
                      <a:lnTo>
                        <a:pt x="1221" y="1012"/>
                      </a:lnTo>
                      <a:lnTo>
                        <a:pt x="1221" y="1019"/>
                      </a:lnTo>
                      <a:lnTo>
                        <a:pt x="1221" y="1028"/>
                      </a:lnTo>
                      <a:lnTo>
                        <a:pt x="1221" y="1037"/>
                      </a:lnTo>
                      <a:lnTo>
                        <a:pt x="1221" y="1047"/>
                      </a:lnTo>
                      <a:lnTo>
                        <a:pt x="1227" y="1047"/>
                      </a:lnTo>
                      <a:lnTo>
                        <a:pt x="1231" y="1047"/>
                      </a:lnTo>
                      <a:lnTo>
                        <a:pt x="1236" y="1047"/>
                      </a:lnTo>
                      <a:lnTo>
                        <a:pt x="1238" y="1047"/>
                      </a:lnTo>
                      <a:lnTo>
                        <a:pt x="1240" y="1054"/>
                      </a:lnTo>
                      <a:lnTo>
                        <a:pt x="1240" y="1054"/>
                      </a:lnTo>
                      <a:lnTo>
                        <a:pt x="1242" y="1061"/>
                      </a:lnTo>
                      <a:lnTo>
                        <a:pt x="1243" y="1067"/>
                      </a:lnTo>
                      <a:lnTo>
                        <a:pt x="1247" y="1074"/>
                      </a:lnTo>
                      <a:lnTo>
                        <a:pt x="1247" y="1074"/>
                      </a:lnTo>
                      <a:lnTo>
                        <a:pt x="1251" y="1082"/>
                      </a:lnTo>
                      <a:lnTo>
                        <a:pt x="1256" y="1091"/>
                      </a:lnTo>
                      <a:lnTo>
                        <a:pt x="1262" y="1104"/>
                      </a:lnTo>
                      <a:lnTo>
                        <a:pt x="1271" y="1119"/>
                      </a:lnTo>
                      <a:lnTo>
                        <a:pt x="1267" y="1120"/>
                      </a:lnTo>
                      <a:lnTo>
                        <a:pt x="1266" y="1122"/>
                      </a:lnTo>
                      <a:lnTo>
                        <a:pt x="1266" y="1124"/>
                      </a:lnTo>
                      <a:lnTo>
                        <a:pt x="1262" y="1126"/>
                      </a:lnTo>
                      <a:lnTo>
                        <a:pt x="1260" y="1128"/>
                      </a:lnTo>
                      <a:lnTo>
                        <a:pt x="1260" y="1128"/>
                      </a:lnTo>
                      <a:lnTo>
                        <a:pt x="1258" y="1131"/>
                      </a:lnTo>
                      <a:lnTo>
                        <a:pt x="1258" y="1131"/>
                      </a:lnTo>
                      <a:lnTo>
                        <a:pt x="1256" y="1135"/>
                      </a:lnTo>
                      <a:lnTo>
                        <a:pt x="1256" y="1135"/>
                      </a:lnTo>
                      <a:lnTo>
                        <a:pt x="1255" y="1139"/>
                      </a:lnTo>
                      <a:lnTo>
                        <a:pt x="1253" y="1141"/>
                      </a:lnTo>
                      <a:lnTo>
                        <a:pt x="1253" y="1141"/>
                      </a:lnTo>
                      <a:lnTo>
                        <a:pt x="1249" y="1155"/>
                      </a:lnTo>
                      <a:lnTo>
                        <a:pt x="1245" y="1170"/>
                      </a:lnTo>
                      <a:lnTo>
                        <a:pt x="1240" y="1170"/>
                      </a:lnTo>
                      <a:lnTo>
                        <a:pt x="1234" y="1170"/>
                      </a:lnTo>
                      <a:lnTo>
                        <a:pt x="1234" y="1170"/>
                      </a:lnTo>
                      <a:lnTo>
                        <a:pt x="1234" y="1178"/>
                      </a:lnTo>
                      <a:lnTo>
                        <a:pt x="1234" y="1181"/>
                      </a:lnTo>
                      <a:lnTo>
                        <a:pt x="1225" y="1181"/>
                      </a:lnTo>
                      <a:lnTo>
                        <a:pt x="1214" y="1181"/>
                      </a:lnTo>
                      <a:lnTo>
                        <a:pt x="1205" y="1181"/>
                      </a:lnTo>
                      <a:lnTo>
                        <a:pt x="1196" y="1181"/>
                      </a:lnTo>
                      <a:lnTo>
                        <a:pt x="1196" y="1181"/>
                      </a:lnTo>
                      <a:lnTo>
                        <a:pt x="1196" y="1194"/>
                      </a:lnTo>
                      <a:lnTo>
                        <a:pt x="1196" y="1205"/>
                      </a:lnTo>
                      <a:lnTo>
                        <a:pt x="1196" y="1215"/>
                      </a:lnTo>
                      <a:lnTo>
                        <a:pt x="1196" y="1226"/>
                      </a:lnTo>
                      <a:lnTo>
                        <a:pt x="1184" y="1227"/>
                      </a:lnTo>
                      <a:lnTo>
                        <a:pt x="1173" y="1229"/>
                      </a:lnTo>
                      <a:lnTo>
                        <a:pt x="1164" y="1233"/>
                      </a:lnTo>
                      <a:lnTo>
                        <a:pt x="1153" y="1237"/>
                      </a:lnTo>
                      <a:lnTo>
                        <a:pt x="1144" y="1240"/>
                      </a:lnTo>
                      <a:lnTo>
                        <a:pt x="1135" y="1246"/>
                      </a:lnTo>
                      <a:lnTo>
                        <a:pt x="1125" y="1251"/>
                      </a:lnTo>
                      <a:lnTo>
                        <a:pt x="1116" y="1259"/>
                      </a:lnTo>
                      <a:lnTo>
                        <a:pt x="1114" y="1272"/>
                      </a:lnTo>
                      <a:lnTo>
                        <a:pt x="1114" y="1283"/>
                      </a:lnTo>
                      <a:lnTo>
                        <a:pt x="1114" y="1294"/>
                      </a:lnTo>
                      <a:lnTo>
                        <a:pt x="1112" y="1307"/>
                      </a:lnTo>
                      <a:lnTo>
                        <a:pt x="1114" y="1318"/>
                      </a:lnTo>
                      <a:lnTo>
                        <a:pt x="1114" y="1329"/>
                      </a:lnTo>
                      <a:lnTo>
                        <a:pt x="1116" y="1340"/>
                      </a:lnTo>
                      <a:lnTo>
                        <a:pt x="1118" y="1353"/>
                      </a:lnTo>
                      <a:lnTo>
                        <a:pt x="1112" y="1353"/>
                      </a:lnTo>
                      <a:lnTo>
                        <a:pt x="1105" y="1355"/>
                      </a:lnTo>
                      <a:lnTo>
                        <a:pt x="1100" y="1357"/>
                      </a:lnTo>
                      <a:lnTo>
                        <a:pt x="1092" y="1360"/>
                      </a:lnTo>
                      <a:lnTo>
                        <a:pt x="1090" y="1360"/>
                      </a:lnTo>
                      <a:lnTo>
                        <a:pt x="1101" y="1366"/>
                      </a:lnTo>
                      <a:lnTo>
                        <a:pt x="1112" y="1370"/>
                      </a:lnTo>
                      <a:lnTo>
                        <a:pt x="1122" y="1375"/>
                      </a:lnTo>
                      <a:lnTo>
                        <a:pt x="1131" y="1381"/>
                      </a:lnTo>
                      <a:lnTo>
                        <a:pt x="1129" y="1390"/>
                      </a:lnTo>
                      <a:lnTo>
                        <a:pt x="1129" y="1401"/>
                      </a:lnTo>
                      <a:lnTo>
                        <a:pt x="1129" y="1412"/>
                      </a:lnTo>
                      <a:lnTo>
                        <a:pt x="1129" y="1423"/>
                      </a:lnTo>
                      <a:lnTo>
                        <a:pt x="1124" y="1423"/>
                      </a:lnTo>
                      <a:lnTo>
                        <a:pt x="1118" y="1423"/>
                      </a:lnTo>
                      <a:lnTo>
                        <a:pt x="1118" y="1423"/>
                      </a:lnTo>
                      <a:lnTo>
                        <a:pt x="1116" y="1427"/>
                      </a:lnTo>
                      <a:lnTo>
                        <a:pt x="1116" y="1427"/>
                      </a:lnTo>
                      <a:lnTo>
                        <a:pt x="1116" y="1430"/>
                      </a:lnTo>
                      <a:lnTo>
                        <a:pt x="1116" y="1430"/>
                      </a:lnTo>
                      <a:lnTo>
                        <a:pt x="1114" y="1434"/>
                      </a:lnTo>
                      <a:lnTo>
                        <a:pt x="1114" y="1440"/>
                      </a:lnTo>
                      <a:lnTo>
                        <a:pt x="1114" y="1440"/>
                      </a:lnTo>
                      <a:lnTo>
                        <a:pt x="1120" y="1442"/>
                      </a:lnTo>
                      <a:lnTo>
                        <a:pt x="1125" y="1442"/>
                      </a:lnTo>
                      <a:lnTo>
                        <a:pt x="1129" y="1443"/>
                      </a:lnTo>
                      <a:lnTo>
                        <a:pt x="1133" y="1443"/>
                      </a:lnTo>
                      <a:lnTo>
                        <a:pt x="1136" y="1445"/>
                      </a:lnTo>
                      <a:lnTo>
                        <a:pt x="1140" y="1447"/>
                      </a:lnTo>
                      <a:lnTo>
                        <a:pt x="1144" y="1449"/>
                      </a:lnTo>
                      <a:lnTo>
                        <a:pt x="1146" y="1451"/>
                      </a:lnTo>
                      <a:lnTo>
                        <a:pt x="1149" y="1453"/>
                      </a:lnTo>
                      <a:lnTo>
                        <a:pt x="1151" y="1454"/>
                      </a:lnTo>
                      <a:lnTo>
                        <a:pt x="1153" y="1458"/>
                      </a:lnTo>
                      <a:lnTo>
                        <a:pt x="1155" y="1462"/>
                      </a:lnTo>
                      <a:lnTo>
                        <a:pt x="1159" y="1466"/>
                      </a:lnTo>
                      <a:lnTo>
                        <a:pt x="1160" y="1469"/>
                      </a:lnTo>
                      <a:lnTo>
                        <a:pt x="1162" y="1473"/>
                      </a:lnTo>
                      <a:lnTo>
                        <a:pt x="1164" y="1477"/>
                      </a:lnTo>
                      <a:lnTo>
                        <a:pt x="1157" y="1478"/>
                      </a:lnTo>
                      <a:lnTo>
                        <a:pt x="1157" y="1478"/>
                      </a:lnTo>
                      <a:lnTo>
                        <a:pt x="1153" y="1480"/>
                      </a:lnTo>
                      <a:lnTo>
                        <a:pt x="1153" y="1480"/>
                      </a:lnTo>
                      <a:lnTo>
                        <a:pt x="1151" y="1482"/>
                      </a:lnTo>
                      <a:lnTo>
                        <a:pt x="1149" y="1484"/>
                      </a:lnTo>
                      <a:lnTo>
                        <a:pt x="1149" y="1484"/>
                      </a:lnTo>
                      <a:lnTo>
                        <a:pt x="1148" y="1486"/>
                      </a:lnTo>
                      <a:lnTo>
                        <a:pt x="1144" y="1488"/>
                      </a:lnTo>
                      <a:lnTo>
                        <a:pt x="1144" y="1488"/>
                      </a:lnTo>
                      <a:lnTo>
                        <a:pt x="1148" y="1504"/>
                      </a:lnTo>
                      <a:lnTo>
                        <a:pt x="1151" y="1517"/>
                      </a:lnTo>
                      <a:lnTo>
                        <a:pt x="1153" y="1526"/>
                      </a:lnTo>
                      <a:lnTo>
                        <a:pt x="1155" y="1532"/>
                      </a:lnTo>
                      <a:lnTo>
                        <a:pt x="1155" y="1532"/>
                      </a:lnTo>
                      <a:lnTo>
                        <a:pt x="1157" y="1537"/>
                      </a:lnTo>
                      <a:lnTo>
                        <a:pt x="1157" y="1537"/>
                      </a:lnTo>
                      <a:lnTo>
                        <a:pt x="1159" y="1541"/>
                      </a:lnTo>
                      <a:lnTo>
                        <a:pt x="1162" y="1545"/>
                      </a:lnTo>
                      <a:lnTo>
                        <a:pt x="1162" y="1545"/>
                      </a:lnTo>
                      <a:lnTo>
                        <a:pt x="1164" y="1547"/>
                      </a:lnTo>
                      <a:lnTo>
                        <a:pt x="1153" y="1550"/>
                      </a:lnTo>
                      <a:lnTo>
                        <a:pt x="1144" y="1554"/>
                      </a:lnTo>
                      <a:lnTo>
                        <a:pt x="1135" y="1558"/>
                      </a:lnTo>
                      <a:lnTo>
                        <a:pt x="1125" y="1561"/>
                      </a:lnTo>
                      <a:lnTo>
                        <a:pt x="1116" y="1567"/>
                      </a:lnTo>
                      <a:lnTo>
                        <a:pt x="1107" y="1571"/>
                      </a:lnTo>
                      <a:lnTo>
                        <a:pt x="1101" y="1574"/>
                      </a:lnTo>
                      <a:lnTo>
                        <a:pt x="1098" y="1578"/>
                      </a:lnTo>
                      <a:lnTo>
                        <a:pt x="1098" y="1578"/>
                      </a:lnTo>
                      <a:lnTo>
                        <a:pt x="1094" y="1580"/>
                      </a:lnTo>
                      <a:lnTo>
                        <a:pt x="1088" y="1584"/>
                      </a:lnTo>
                      <a:lnTo>
                        <a:pt x="1088" y="1584"/>
                      </a:lnTo>
                      <a:lnTo>
                        <a:pt x="1090" y="1589"/>
                      </a:lnTo>
                      <a:lnTo>
                        <a:pt x="1090" y="1595"/>
                      </a:lnTo>
                      <a:lnTo>
                        <a:pt x="1092" y="1598"/>
                      </a:lnTo>
                      <a:lnTo>
                        <a:pt x="1092" y="1602"/>
                      </a:lnTo>
                      <a:lnTo>
                        <a:pt x="1087" y="1602"/>
                      </a:lnTo>
                      <a:lnTo>
                        <a:pt x="1087" y="1602"/>
                      </a:lnTo>
                      <a:lnTo>
                        <a:pt x="1081" y="1602"/>
                      </a:lnTo>
                      <a:lnTo>
                        <a:pt x="1074" y="1602"/>
                      </a:lnTo>
                      <a:lnTo>
                        <a:pt x="1074" y="1602"/>
                      </a:lnTo>
                      <a:lnTo>
                        <a:pt x="1068" y="1602"/>
                      </a:lnTo>
                      <a:lnTo>
                        <a:pt x="1063" y="1604"/>
                      </a:lnTo>
                      <a:lnTo>
                        <a:pt x="1057" y="1604"/>
                      </a:lnTo>
                      <a:lnTo>
                        <a:pt x="1057" y="1604"/>
                      </a:lnTo>
                      <a:lnTo>
                        <a:pt x="1052" y="1606"/>
                      </a:lnTo>
                      <a:lnTo>
                        <a:pt x="1046" y="1608"/>
                      </a:lnTo>
                      <a:lnTo>
                        <a:pt x="1035" y="1609"/>
                      </a:lnTo>
                      <a:lnTo>
                        <a:pt x="1026" y="1613"/>
                      </a:lnTo>
                      <a:lnTo>
                        <a:pt x="1013" y="1617"/>
                      </a:lnTo>
                      <a:lnTo>
                        <a:pt x="1000" y="1619"/>
                      </a:lnTo>
                      <a:lnTo>
                        <a:pt x="1000" y="1626"/>
                      </a:lnTo>
                      <a:lnTo>
                        <a:pt x="1000" y="1630"/>
                      </a:lnTo>
                      <a:lnTo>
                        <a:pt x="994" y="1630"/>
                      </a:lnTo>
                      <a:lnTo>
                        <a:pt x="991" y="1630"/>
                      </a:lnTo>
                      <a:lnTo>
                        <a:pt x="989" y="1630"/>
                      </a:lnTo>
                      <a:lnTo>
                        <a:pt x="989" y="1635"/>
                      </a:lnTo>
                      <a:lnTo>
                        <a:pt x="989" y="1641"/>
                      </a:lnTo>
                      <a:lnTo>
                        <a:pt x="985" y="1643"/>
                      </a:lnTo>
                      <a:lnTo>
                        <a:pt x="980" y="1643"/>
                      </a:lnTo>
                      <a:lnTo>
                        <a:pt x="980" y="1643"/>
                      </a:lnTo>
                      <a:lnTo>
                        <a:pt x="976" y="1645"/>
                      </a:lnTo>
                      <a:lnTo>
                        <a:pt x="972" y="1645"/>
                      </a:lnTo>
                      <a:lnTo>
                        <a:pt x="970" y="1641"/>
                      </a:lnTo>
                      <a:lnTo>
                        <a:pt x="969" y="1635"/>
                      </a:lnTo>
                      <a:lnTo>
                        <a:pt x="969" y="1635"/>
                      </a:lnTo>
                      <a:lnTo>
                        <a:pt x="959" y="1637"/>
                      </a:lnTo>
                      <a:lnTo>
                        <a:pt x="950" y="1637"/>
                      </a:lnTo>
                      <a:lnTo>
                        <a:pt x="941" y="1639"/>
                      </a:lnTo>
                      <a:lnTo>
                        <a:pt x="932" y="1641"/>
                      </a:lnTo>
                      <a:lnTo>
                        <a:pt x="922" y="1641"/>
                      </a:lnTo>
                      <a:lnTo>
                        <a:pt x="913" y="1643"/>
                      </a:lnTo>
                      <a:lnTo>
                        <a:pt x="904" y="1645"/>
                      </a:lnTo>
                      <a:lnTo>
                        <a:pt x="897" y="1645"/>
                      </a:lnTo>
                      <a:lnTo>
                        <a:pt x="895" y="1643"/>
                      </a:lnTo>
                      <a:lnTo>
                        <a:pt x="895" y="1643"/>
                      </a:lnTo>
                      <a:lnTo>
                        <a:pt x="893" y="1641"/>
                      </a:lnTo>
                      <a:lnTo>
                        <a:pt x="891" y="1639"/>
                      </a:lnTo>
                      <a:lnTo>
                        <a:pt x="891" y="1639"/>
                      </a:lnTo>
                      <a:lnTo>
                        <a:pt x="889" y="1637"/>
                      </a:lnTo>
                      <a:lnTo>
                        <a:pt x="889" y="1637"/>
                      </a:lnTo>
                      <a:lnTo>
                        <a:pt x="885" y="1633"/>
                      </a:lnTo>
                      <a:lnTo>
                        <a:pt x="885" y="1633"/>
                      </a:lnTo>
                      <a:lnTo>
                        <a:pt x="880" y="1632"/>
                      </a:lnTo>
                      <a:lnTo>
                        <a:pt x="880" y="1632"/>
                      </a:lnTo>
                      <a:lnTo>
                        <a:pt x="876" y="1630"/>
                      </a:lnTo>
                      <a:lnTo>
                        <a:pt x="871" y="1628"/>
                      </a:lnTo>
                      <a:lnTo>
                        <a:pt x="871" y="1628"/>
                      </a:lnTo>
                      <a:lnTo>
                        <a:pt x="863" y="1626"/>
                      </a:lnTo>
                      <a:lnTo>
                        <a:pt x="858" y="1624"/>
                      </a:lnTo>
                      <a:lnTo>
                        <a:pt x="845" y="1622"/>
                      </a:lnTo>
                      <a:lnTo>
                        <a:pt x="834" y="1622"/>
                      </a:lnTo>
                      <a:lnTo>
                        <a:pt x="823" y="1622"/>
                      </a:lnTo>
                      <a:lnTo>
                        <a:pt x="812" y="1621"/>
                      </a:lnTo>
                      <a:lnTo>
                        <a:pt x="810" y="1626"/>
                      </a:lnTo>
                      <a:lnTo>
                        <a:pt x="808" y="1630"/>
                      </a:lnTo>
                      <a:lnTo>
                        <a:pt x="802" y="1628"/>
                      </a:lnTo>
                      <a:lnTo>
                        <a:pt x="795" y="1626"/>
                      </a:lnTo>
                      <a:lnTo>
                        <a:pt x="788" y="1624"/>
                      </a:lnTo>
                      <a:lnTo>
                        <a:pt x="780" y="1622"/>
                      </a:lnTo>
                      <a:lnTo>
                        <a:pt x="780" y="1622"/>
                      </a:lnTo>
                      <a:lnTo>
                        <a:pt x="773" y="1622"/>
                      </a:lnTo>
                      <a:lnTo>
                        <a:pt x="766" y="1621"/>
                      </a:lnTo>
                      <a:lnTo>
                        <a:pt x="766" y="1621"/>
                      </a:lnTo>
                      <a:lnTo>
                        <a:pt x="758" y="1621"/>
                      </a:lnTo>
                      <a:lnTo>
                        <a:pt x="751" y="1619"/>
                      </a:lnTo>
                      <a:lnTo>
                        <a:pt x="738" y="1619"/>
                      </a:lnTo>
                      <a:lnTo>
                        <a:pt x="723" y="1619"/>
                      </a:lnTo>
                      <a:lnTo>
                        <a:pt x="708" y="1621"/>
                      </a:lnTo>
                      <a:lnTo>
                        <a:pt x="694" y="1621"/>
                      </a:lnTo>
                      <a:lnTo>
                        <a:pt x="692" y="1624"/>
                      </a:lnTo>
                      <a:lnTo>
                        <a:pt x="690" y="1626"/>
                      </a:lnTo>
                      <a:lnTo>
                        <a:pt x="690" y="1630"/>
                      </a:lnTo>
                      <a:lnTo>
                        <a:pt x="688" y="1632"/>
                      </a:lnTo>
                      <a:lnTo>
                        <a:pt x="686" y="1633"/>
                      </a:lnTo>
                      <a:lnTo>
                        <a:pt x="686" y="1633"/>
                      </a:lnTo>
                      <a:lnTo>
                        <a:pt x="682" y="1635"/>
                      </a:lnTo>
                      <a:lnTo>
                        <a:pt x="681" y="1635"/>
                      </a:lnTo>
                      <a:lnTo>
                        <a:pt x="677" y="1637"/>
                      </a:lnTo>
                      <a:lnTo>
                        <a:pt x="675" y="1635"/>
                      </a:lnTo>
                      <a:lnTo>
                        <a:pt x="673" y="1633"/>
                      </a:lnTo>
                      <a:lnTo>
                        <a:pt x="671" y="1632"/>
                      </a:lnTo>
                      <a:lnTo>
                        <a:pt x="670" y="1628"/>
                      </a:lnTo>
                      <a:lnTo>
                        <a:pt x="664" y="1622"/>
                      </a:lnTo>
                      <a:lnTo>
                        <a:pt x="660" y="1615"/>
                      </a:lnTo>
                      <a:lnTo>
                        <a:pt x="653" y="1600"/>
                      </a:lnTo>
                      <a:lnTo>
                        <a:pt x="647" y="1587"/>
                      </a:lnTo>
                      <a:lnTo>
                        <a:pt x="642" y="1593"/>
                      </a:lnTo>
                      <a:lnTo>
                        <a:pt x="638" y="1595"/>
                      </a:lnTo>
                      <a:lnTo>
                        <a:pt x="636" y="1591"/>
                      </a:lnTo>
                      <a:lnTo>
                        <a:pt x="634" y="1587"/>
                      </a:lnTo>
                      <a:lnTo>
                        <a:pt x="633" y="1585"/>
                      </a:lnTo>
                      <a:lnTo>
                        <a:pt x="631" y="1580"/>
                      </a:lnTo>
                      <a:lnTo>
                        <a:pt x="627" y="1569"/>
                      </a:lnTo>
                      <a:lnTo>
                        <a:pt x="623" y="1550"/>
                      </a:lnTo>
                      <a:lnTo>
                        <a:pt x="623" y="1550"/>
                      </a:lnTo>
                      <a:lnTo>
                        <a:pt x="622" y="1549"/>
                      </a:lnTo>
                      <a:lnTo>
                        <a:pt x="620" y="1545"/>
                      </a:lnTo>
                      <a:lnTo>
                        <a:pt x="618" y="1537"/>
                      </a:lnTo>
                      <a:lnTo>
                        <a:pt x="614" y="1532"/>
                      </a:lnTo>
                      <a:lnTo>
                        <a:pt x="612" y="1526"/>
                      </a:lnTo>
                      <a:lnTo>
                        <a:pt x="612" y="1526"/>
                      </a:lnTo>
                      <a:lnTo>
                        <a:pt x="607" y="1525"/>
                      </a:lnTo>
                      <a:lnTo>
                        <a:pt x="603" y="1523"/>
                      </a:lnTo>
                      <a:lnTo>
                        <a:pt x="601" y="1519"/>
                      </a:lnTo>
                      <a:lnTo>
                        <a:pt x="599" y="1517"/>
                      </a:lnTo>
                      <a:lnTo>
                        <a:pt x="598" y="1513"/>
                      </a:lnTo>
                      <a:lnTo>
                        <a:pt x="596" y="1512"/>
                      </a:lnTo>
                      <a:lnTo>
                        <a:pt x="594" y="1508"/>
                      </a:lnTo>
                      <a:lnTo>
                        <a:pt x="594" y="1504"/>
                      </a:lnTo>
                      <a:lnTo>
                        <a:pt x="592" y="1497"/>
                      </a:lnTo>
                      <a:lnTo>
                        <a:pt x="592" y="1497"/>
                      </a:lnTo>
                      <a:lnTo>
                        <a:pt x="588" y="1491"/>
                      </a:lnTo>
                      <a:lnTo>
                        <a:pt x="586" y="1488"/>
                      </a:lnTo>
                      <a:lnTo>
                        <a:pt x="586" y="1488"/>
                      </a:lnTo>
                      <a:lnTo>
                        <a:pt x="585" y="1484"/>
                      </a:lnTo>
                      <a:lnTo>
                        <a:pt x="585" y="1484"/>
                      </a:lnTo>
                      <a:lnTo>
                        <a:pt x="581" y="1480"/>
                      </a:lnTo>
                      <a:lnTo>
                        <a:pt x="581" y="1480"/>
                      </a:lnTo>
                      <a:lnTo>
                        <a:pt x="579" y="1477"/>
                      </a:lnTo>
                      <a:lnTo>
                        <a:pt x="581" y="1475"/>
                      </a:lnTo>
                      <a:lnTo>
                        <a:pt x="583" y="1473"/>
                      </a:lnTo>
                      <a:lnTo>
                        <a:pt x="585" y="1471"/>
                      </a:lnTo>
                      <a:lnTo>
                        <a:pt x="581" y="1469"/>
                      </a:lnTo>
                      <a:lnTo>
                        <a:pt x="581" y="1469"/>
                      </a:lnTo>
                      <a:lnTo>
                        <a:pt x="581" y="1467"/>
                      </a:lnTo>
                      <a:lnTo>
                        <a:pt x="581" y="1467"/>
                      </a:lnTo>
                      <a:lnTo>
                        <a:pt x="577" y="1467"/>
                      </a:lnTo>
                      <a:lnTo>
                        <a:pt x="577" y="1467"/>
                      </a:lnTo>
                      <a:lnTo>
                        <a:pt x="575" y="1466"/>
                      </a:lnTo>
                      <a:lnTo>
                        <a:pt x="575" y="1466"/>
                      </a:lnTo>
                      <a:lnTo>
                        <a:pt x="568" y="1464"/>
                      </a:lnTo>
                      <a:lnTo>
                        <a:pt x="568" y="1464"/>
                      </a:lnTo>
                      <a:lnTo>
                        <a:pt x="557" y="1464"/>
                      </a:lnTo>
                      <a:lnTo>
                        <a:pt x="557" y="1458"/>
                      </a:lnTo>
                      <a:lnTo>
                        <a:pt x="557" y="1453"/>
                      </a:lnTo>
                      <a:lnTo>
                        <a:pt x="557" y="1451"/>
                      </a:lnTo>
                      <a:lnTo>
                        <a:pt x="551" y="1454"/>
                      </a:lnTo>
                      <a:lnTo>
                        <a:pt x="548" y="1456"/>
                      </a:lnTo>
                      <a:lnTo>
                        <a:pt x="542" y="1458"/>
                      </a:lnTo>
                      <a:lnTo>
                        <a:pt x="539" y="1460"/>
                      </a:lnTo>
                      <a:lnTo>
                        <a:pt x="537" y="1460"/>
                      </a:lnTo>
                      <a:lnTo>
                        <a:pt x="540" y="1464"/>
                      </a:lnTo>
                      <a:lnTo>
                        <a:pt x="540" y="1464"/>
                      </a:lnTo>
                      <a:lnTo>
                        <a:pt x="544" y="1466"/>
                      </a:lnTo>
                      <a:lnTo>
                        <a:pt x="537" y="1466"/>
                      </a:lnTo>
                      <a:lnTo>
                        <a:pt x="527" y="1467"/>
                      </a:lnTo>
                      <a:lnTo>
                        <a:pt x="520" y="1467"/>
                      </a:lnTo>
                      <a:lnTo>
                        <a:pt x="513" y="1469"/>
                      </a:lnTo>
                      <a:lnTo>
                        <a:pt x="511" y="1460"/>
                      </a:lnTo>
                      <a:lnTo>
                        <a:pt x="509" y="1449"/>
                      </a:lnTo>
                      <a:lnTo>
                        <a:pt x="509" y="1440"/>
                      </a:lnTo>
                      <a:lnTo>
                        <a:pt x="507" y="1430"/>
                      </a:lnTo>
                      <a:lnTo>
                        <a:pt x="494" y="1425"/>
                      </a:lnTo>
                      <a:lnTo>
                        <a:pt x="483" y="1423"/>
                      </a:lnTo>
                      <a:lnTo>
                        <a:pt x="474" y="1419"/>
                      </a:lnTo>
                      <a:lnTo>
                        <a:pt x="463" y="1418"/>
                      </a:lnTo>
                      <a:lnTo>
                        <a:pt x="454" y="1416"/>
                      </a:lnTo>
                      <a:lnTo>
                        <a:pt x="443" y="1414"/>
                      </a:lnTo>
                      <a:lnTo>
                        <a:pt x="431" y="1414"/>
                      </a:lnTo>
                      <a:lnTo>
                        <a:pt x="419" y="1414"/>
                      </a:lnTo>
                      <a:lnTo>
                        <a:pt x="417" y="1421"/>
                      </a:lnTo>
                      <a:lnTo>
                        <a:pt x="415" y="1427"/>
                      </a:lnTo>
                      <a:lnTo>
                        <a:pt x="415" y="1432"/>
                      </a:lnTo>
                      <a:lnTo>
                        <a:pt x="413" y="1438"/>
                      </a:lnTo>
                      <a:lnTo>
                        <a:pt x="411" y="1438"/>
                      </a:lnTo>
                      <a:lnTo>
                        <a:pt x="411" y="1438"/>
                      </a:lnTo>
                      <a:lnTo>
                        <a:pt x="407" y="1440"/>
                      </a:lnTo>
                      <a:lnTo>
                        <a:pt x="404" y="1440"/>
                      </a:lnTo>
                      <a:lnTo>
                        <a:pt x="402" y="1442"/>
                      </a:lnTo>
                      <a:lnTo>
                        <a:pt x="402" y="1442"/>
                      </a:lnTo>
                      <a:lnTo>
                        <a:pt x="400" y="1451"/>
                      </a:lnTo>
                      <a:lnTo>
                        <a:pt x="400" y="1458"/>
                      </a:lnTo>
                      <a:lnTo>
                        <a:pt x="398" y="1462"/>
                      </a:lnTo>
                      <a:lnTo>
                        <a:pt x="398" y="1466"/>
                      </a:lnTo>
                      <a:lnTo>
                        <a:pt x="396" y="1467"/>
                      </a:lnTo>
                      <a:lnTo>
                        <a:pt x="396" y="1471"/>
                      </a:lnTo>
                      <a:lnTo>
                        <a:pt x="395" y="1475"/>
                      </a:lnTo>
                      <a:lnTo>
                        <a:pt x="393" y="1477"/>
                      </a:lnTo>
                      <a:lnTo>
                        <a:pt x="391" y="1478"/>
                      </a:lnTo>
                      <a:lnTo>
                        <a:pt x="389" y="1482"/>
                      </a:lnTo>
                      <a:lnTo>
                        <a:pt x="385" y="1484"/>
                      </a:lnTo>
                      <a:lnTo>
                        <a:pt x="382" y="1486"/>
                      </a:lnTo>
                      <a:lnTo>
                        <a:pt x="380" y="1489"/>
                      </a:lnTo>
                      <a:lnTo>
                        <a:pt x="374" y="1491"/>
                      </a:lnTo>
                      <a:lnTo>
                        <a:pt x="374" y="1491"/>
                      </a:lnTo>
                      <a:lnTo>
                        <a:pt x="372" y="1502"/>
                      </a:lnTo>
                      <a:lnTo>
                        <a:pt x="371" y="1513"/>
                      </a:lnTo>
                      <a:lnTo>
                        <a:pt x="371" y="1525"/>
                      </a:lnTo>
                      <a:lnTo>
                        <a:pt x="369" y="1534"/>
                      </a:lnTo>
                      <a:lnTo>
                        <a:pt x="365" y="1534"/>
                      </a:lnTo>
                      <a:lnTo>
                        <a:pt x="361" y="1534"/>
                      </a:lnTo>
                      <a:lnTo>
                        <a:pt x="358" y="1534"/>
                      </a:lnTo>
                      <a:lnTo>
                        <a:pt x="352" y="1534"/>
                      </a:lnTo>
                      <a:lnTo>
                        <a:pt x="352" y="1534"/>
                      </a:lnTo>
                      <a:lnTo>
                        <a:pt x="352" y="1541"/>
                      </a:lnTo>
                      <a:lnTo>
                        <a:pt x="352" y="1545"/>
                      </a:lnTo>
                      <a:lnTo>
                        <a:pt x="348" y="1545"/>
                      </a:lnTo>
                      <a:lnTo>
                        <a:pt x="341" y="1545"/>
                      </a:lnTo>
                      <a:lnTo>
                        <a:pt x="341" y="1545"/>
                      </a:lnTo>
                      <a:lnTo>
                        <a:pt x="341" y="1560"/>
                      </a:lnTo>
                      <a:lnTo>
                        <a:pt x="341" y="1565"/>
                      </a:lnTo>
                      <a:lnTo>
                        <a:pt x="341" y="1567"/>
                      </a:lnTo>
                      <a:lnTo>
                        <a:pt x="339" y="1567"/>
                      </a:lnTo>
                      <a:lnTo>
                        <a:pt x="339" y="1567"/>
                      </a:lnTo>
                      <a:lnTo>
                        <a:pt x="337" y="1567"/>
                      </a:lnTo>
                      <a:lnTo>
                        <a:pt x="337" y="1558"/>
                      </a:lnTo>
                      <a:lnTo>
                        <a:pt x="337" y="1549"/>
                      </a:lnTo>
                      <a:lnTo>
                        <a:pt x="337" y="1539"/>
                      </a:lnTo>
                      <a:lnTo>
                        <a:pt x="337" y="1530"/>
                      </a:lnTo>
                      <a:lnTo>
                        <a:pt x="337" y="1530"/>
                      </a:lnTo>
                      <a:lnTo>
                        <a:pt x="332" y="1530"/>
                      </a:lnTo>
                      <a:lnTo>
                        <a:pt x="326" y="1530"/>
                      </a:lnTo>
                      <a:lnTo>
                        <a:pt x="326" y="1526"/>
                      </a:lnTo>
                      <a:lnTo>
                        <a:pt x="326" y="1521"/>
                      </a:lnTo>
                      <a:lnTo>
                        <a:pt x="326" y="1517"/>
                      </a:lnTo>
                      <a:lnTo>
                        <a:pt x="326" y="1513"/>
                      </a:lnTo>
                      <a:lnTo>
                        <a:pt x="326" y="1513"/>
                      </a:lnTo>
                      <a:lnTo>
                        <a:pt x="324" y="1513"/>
                      </a:lnTo>
                      <a:lnTo>
                        <a:pt x="323" y="1513"/>
                      </a:lnTo>
                      <a:lnTo>
                        <a:pt x="323" y="1513"/>
                      </a:lnTo>
                      <a:lnTo>
                        <a:pt x="321" y="1513"/>
                      </a:lnTo>
                      <a:lnTo>
                        <a:pt x="321" y="1513"/>
                      </a:lnTo>
                      <a:lnTo>
                        <a:pt x="319" y="1515"/>
                      </a:lnTo>
                      <a:lnTo>
                        <a:pt x="319" y="1515"/>
                      </a:lnTo>
                      <a:lnTo>
                        <a:pt x="317" y="1521"/>
                      </a:lnTo>
                      <a:lnTo>
                        <a:pt x="317" y="1521"/>
                      </a:lnTo>
                      <a:lnTo>
                        <a:pt x="315" y="1530"/>
                      </a:lnTo>
                      <a:lnTo>
                        <a:pt x="312" y="1532"/>
                      </a:lnTo>
                      <a:lnTo>
                        <a:pt x="308" y="1536"/>
                      </a:lnTo>
                      <a:lnTo>
                        <a:pt x="304" y="1536"/>
                      </a:lnTo>
                      <a:lnTo>
                        <a:pt x="300" y="1537"/>
                      </a:lnTo>
                      <a:lnTo>
                        <a:pt x="286" y="1541"/>
                      </a:lnTo>
                      <a:lnTo>
                        <a:pt x="260" y="1547"/>
                      </a:lnTo>
                      <a:lnTo>
                        <a:pt x="256" y="1556"/>
                      </a:lnTo>
                      <a:lnTo>
                        <a:pt x="254" y="1563"/>
                      </a:lnTo>
                      <a:lnTo>
                        <a:pt x="254" y="1565"/>
                      </a:lnTo>
                      <a:lnTo>
                        <a:pt x="252" y="1567"/>
                      </a:lnTo>
                      <a:lnTo>
                        <a:pt x="251" y="1569"/>
                      </a:lnTo>
                      <a:lnTo>
                        <a:pt x="249" y="1571"/>
                      </a:lnTo>
                      <a:lnTo>
                        <a:pt x="241" y="1571"/>
                      </a:lnTo>
                      <a:lnTo>
                        <a:pt x="232" y="1569"/>
                      </a:lnTo>
                      <a:lnTo>
                        <a:pt x="225" y="1569"/>
                      </a:lnTo>
                      <a:lnTo>
                        <a:pt x="225" y="1569"/>
                      </a:lnTo>
                      <a:lnTo>
                        <a:pt x="217" y="1569"/>
                      </a:lnTo>
                      <a:lnTo>
                        <a:pt x="216" y="1563"/>
                      </a:lnTo>
                      <a:lnTo>
                        <a:pt x="216" y="1563"/>
                      </a:lnTo>
                      <a:lnTo>
                        <a:pt x="214" y="1560"/>
                      </a:lnTo>
                      <a:lnTo>
                        <a:pt x="212" y="1554"/>
                      </a:lnTo>
                      <a:lnTo>
                        <a:pt x="210" y="1550"/>
                      </a:lnTo>
                      <a:lnTo>
                        <a:pt x="210" y="1545"/>
                      </a:lnTo>
                      <a:lnTo>
                        <a:pt x="208" y="1541"/>
                      </a:lnTo>
                      <a:lnTo>
                        <a:pt x="208" y="1536"/>
                      </a:lnTo>
                      <a:lnTo>
                        <a:pt x="208" y="1530"/>
                      </a:lnTo>
                      <a:lnTo>
                        <a:pt x="208" y="1519"/>
                      </a:lnTo>
                      <a:lnTo>
                        <a:pt x="210" y="1508"/>
                      </a:lnTo>
                      <a:lnTo>
                        <a:pt x="212" y="1497"/>
                      </a:lnTo>
                      <a:lnTo>
                        <a:pt x="214" y="1486"/>
                      </a:lnTo>
                      <a:lnTo>
                        <a:pt x="219" y="1464"/>
                      </a:lnTo>
                      <a:lnTo>
                        <a:pt x="225" y="1442"/>
                      </a:lnTo>
                      <a:lnTo>
                        <a:pt x="227" y="1430"/>
                      </a:lnTo>
                      <a:lnTo>
                        <a:pt x="230" y="1419"/>
                      </a:lnTo>
                      <a:lnTo>
                        <a:pt x="232" y="1410"/>
                      </a:lnTo>
                      <a:lnTo>
                        <a:pt x="232" y="1399"/>
                      </a:lnTo>
                      <a:lnTo>
                        <a:pt x="227" y="1397"/>
                      </a:lnTo>
                      <a:lnTo>
                        <a:pt x="221" y="1394"/>
                      </a:lnTo>
                      <a:lnTo>
                        <a:pt x="217" y="1392"/>
                      </a:lnTo>
                      <a:lnTo>
                        <a:pt x="212" y="1388"/>
                      </a:lnTo>
                      <a:lnTo>
                        <a:pt x="208" y="1386"/>
                      </a:lnTo>
                      <a:lnTo>
                        <a:pt x="206" y="1382"/>
                      </a:lnTo>
                      <a:lnTo>
                        <a:pt x="203" y="1381"/>
                      </a:lnTo>
                      <a:lnTo>
                        <a:pt x="201" y="1377"/>
                      </a:lnTo>
                      <a:lnTo>
                        <a:pt x="199" y="1373"/>
                      </a:lnTo>
                      <a:lnTo>
                        <a:pt x="197" y="1370"/>
                      </a:lnTo>
                      <a:lnTo>
                        <a:pt x="193" y="1366"/>
                      </a:lnTo>
                      <a:lnTo>
                        <a:pt x="192" y="1360"/>
                      </a:lnTo>
                      <a:lnTo>
                        <a:pt x="188" y="1351"/>
                      </a:lnTo>
                      <a:lnTo>
                        <a:pt x="182" y="1340"/>
                      </a:lnTo>
                      <a:lnTo>
                        <a:pt x="188" y="1340"/>
                      </a:lnTo>
                      <a:lnTo>
                        <a:pt x="193" y="1340"/>
                      </a:lnTo>
                      <a:lnTo>
                        <a:pt x="193" y="1340"/>
                      </a:lnTo>
                      <a:lnTo>
                        <a:pt x="195" y="1327"/>
                      </a:lnTo>
                      <a:lnTo>
                        <a:pt x="195" y="1320"/>
                      </a:lnTo>
                      <a:lnTo>
                        <a:pt x="195" y="1316"/>
                      </a:lnTo>
                      <a:lnTo>
                        <a:pt x="197" y="1314"/>
                      </a:lnTo>
                      <a:lnTo>
                        <a:pt x="199" y="1312"/>
                      </a:lnTo>
                      <a:lnTo>
                        <a:pt x="199" y="1310"/>
                      </a:lnTo>
                      <a:lnTo>
                        <a:pt x="201" y="1309"/>
                      </a:lnTo>
                      <a:lnTo>
                        <a:pt x="192" y="1307"/>
                      </a:lnTo>
                      <a:lnTo>
                        <a:pt x="182" y="1303"/>
                      </a:lnTo>
                      <a:lnTo>
                        <a:pt x="175" y="1299"/>
                      </a:lnTo>
                      <a:lnTo>
                        <a:pt x="168" y="1298"/>
                      </a:lnTo>
                      <a:lnTo>
                        <a:pt x="171" y="1292"/>
                      </a:lnTo>
                      <a:lnTo>
                        <a:pt x="171" y="1292"/>
                      </a:lnTo>
                      <a:lnTo>
                        <a:pt x="173" y="1287"/>
                      </a:lnTo>
                      <a:lnTo>
                        <a:pt x="177" y="1281"/>
                      </a:lnTo>
                      <a:lnTo>
                        <a:pt x="177" y="1281"/>
                      </a:lnTo>
                      <a:lnTo>
                        <a:pt x="180" y="1275"/>
                      </a:lnTo>
                      <a:lnTo>
                        <a:pt x="180" y="1274"/>
                      </a:lnTo>
                      <a:lnTo>
                        <a:pt x="177" y="1272"/>
                      </a:lnTo>
                      <a:lnTo>
                        <a:pt x="175" y="1270"/>
                      </a:lnTo>
                      <a:lnTo>
                        <a:pt x="173" y="1266"/>
                      </a:lnTo>
                      <a:lnTo>
                        <a:pt x="171" y="1263"/>
                      </a:lnTo>
                      <a:lnTo>
                        <a:pt x="168" y="1255"/>
                      </a:lnTo>
                      <a:lnTo>
                        <a:pt x="164" y="1248"/>
                      </a:lnTo>
                      <a:lnTo>
                        <a:pt x="162" y="1239"/>
                      </a:lnTo>
                      <a:lnTo>
                        <a:pt x="158" y="1229"/>
                      </a:lnTo>
                      <a:lnTo>
                        <a:pt x="156" y="1222"/>
                      </a:lnTo>
                      <a:lnTo>
                        <a:pt x="155" y="1215"/>
                      </a:lnTo>
                      <a:lnTo>
                        <a:pt x="155" y="1215"/>
                      </a:lnTo>
                      <a:lnTo>
                        <a:pt x="145" y="1215"/>
                      </a:lnTo>
                      <a:lnTo>
                        <a:pt x="136" y="1216"/>
                      </a:lnTo>
                      <a:lnTo>
                        <a:pt x="129" y="1216"/>
                      </a:lnTo>
                      <a:lnTo>
                        <a:pt x="121" y="1218"/>
                      </a:lnTo>
                      <a:lnTo>
                        <a:pt x="120" y="1213"/>
                      </a:lnTo>
                      <a:lnTo>
                        <a:pt x="118" y="1209"/>
                      </a:lnTo>
                      <a:lnTo>
                        <a:pt x="118" y="1203"/>
                      </a:lnTo>
                      <a:lnTo>
                        <a:pt x="116" y="1198"/>
                      </a:lnTo>
                      <a:lnTo>
                        <a:pt x="121" y="1198"/>
                      </a:lnTo>
                      <a:lnTo>
                        <a:pt x="127" y="1196"/>
                      </a:lnTo>
                      <a:lnTo>
                        <a:pt x="131" y="1196"/>
                      </a:lnTo>
                      <a:lnTo>
                        <a:pt x="136" y="1194"/>
                      </a:lnTo>
                      <a:lnTo>
                        <a:pt x="136" y="1194"/>
                      </a:lnTo>
                      <a:lnTo>
                        <a:pt x="136" y="1189"/>
                      </a:lnTo>
                      <a:lnTo>
                        <a:pt x="134" y="1185"/>
                      </a:lnTo>
                      <a:lnTo>
                        <a:pt x="134" y="1181"/>
                      </a:lnTo>
                      <a:lnTo>
                        <a:pt x="132" y="1176"/>
                      </a:lnTo>
                      <a:lnTo>
                        <a:pt x="132" y="1176"/>
                      </a:lnTo>
                      <a:lnTo>
                        <a:pt x="127" y="1176"/>
                      </a:lnTo>
                      <a:lnTo>
                        <a:pt x="121" y="1176"/>
                      </a:lnTo>
                      <a:lnTo>
                        <a:pt x="121" y="1170"/>
                      </a:lnTo>
                      <a:lnTo>
                        <a:pt x="121" y="1167"/>
                      </a:lnTo>
                      <a:lnTo>
                        <a:pt x="121" y="1165"/>
                      </a:lnTo>
                      <a:lnTo>
                        <a:pt x="116" y="1165"/>
                      </a:lnTo>
                      <a:lnTo>
                        <a:pt x="110" y="1165"/>
                      </a:lnTo>
                      <a:lnTo>
                        <a:pt x="110" y="1165"/>
                      </a:lnTo>
                      <a:lnTo>
                        <a:pt x="110" y="1165"/>
                      </a:lnTo>
                      <a:lnTo>
                        <a:pt x="105" y="1167"/>
                      </a:lnTo>
                      <a:lnTo>
                        <a:pt x="99" y="1167"/>
                      </a:lnTo>
                      <a:lnTo>
                        <a:pt x="94" y="1167"/>
                      </a:lnTo>
                      <a:lnTo>
                        <a:pt x="88" y="1165"/>
                      </a:lnTo>
                      <a:lnTo>
                        <a:pt x="83" y="1165"/>
                      </a:lnTo>
                      <a:lnTo>
                        <a:pt x="77" y="1165"/>
                      </a:lnTo>
                      <a:lnTo>
                        <a:pt x="72" y="1163"/>
                      </a:lnTo>
                      <a:lnTo>
                        <a:pt x="66" y="1161"/>
                      </a:lnTo>
                      <a:lnTo>
                        <a:pt x="55" y="1159"/>
                      </a:lnTo>
                      <a:lnTo>
                        <a:pt x="44" y="1155"/>
                      </a:lnTo>
                      <a:lnTo>
                        <a:pt x="35" y="1152"/>
                      </a:lnTo>
                      <a:lnTo>
                        <a:pt x="25" y="1150"/>
                      </a:lnTo>
                      <a:lnTo>
                        <a:pt x="25" y="1144"/>
                      </a:lnTo>
                      <a:lnTo>
                        <a:pt x="27" y="1137"/>
                      </a:lnTo>
                      <a:lnTo>
                        <a:pt x="27" y="1131"/>
                      </a:lnTo>
                      <a:lnTo>
                        <a:pt x="29" y="1126"/>
                      </a:lnTo>
                      <a:lnTo>
                        <a:pt x="35" y="1115"/>
                      </a:lnTo>
                      <a:lnTo>
                        <a:pt x="40" y="1104"/>
                      </a:lnTo>
                      <a:lnTo>
                        <a:pt x="42" y="1100"/>
                      </a:lnTo>
                      <a:lnTo>
                        <a:pt x="44" y="1095"/>
                      </a:lnTo>
                      <a:lnTo>
                        <a:pt x="44" y="1095"/>
                      </a:lnTo>
                      <a:lnTo>
                        <a:pt x="46" y="1089"/>
                      </a:lnTo>
                      <a:lnTo>
                        <a:pt x="48" y="1084"/>
                      </a:lnTo>
                      <a:lnTo>
                        <a:pt x="49" y="1078"/>
                      </a:lnTo>
                      <a:lnTo>
                        <a:pt x="49" y="1078"/>
                      </a:lnTo>
                      <a:lnTo>
                        <a:pt x="51" y="1072"/>
                      </a:lnTo>
                      <a:lnTo>
                        <a:pt x="51" y="1072"/>
                      </a:lnTo>
                      <a:lnTo>
                        <a:pt x="51" y="1067"/>
                      </a:lnTo>
                      <a:lnTo>
                        <a:pt x="51" y="1067"/>
                      </a:lnTo>
                      <a:lnTo>
                        <a:pt x="51" y="1061"/>
                      </a:lnTo>
                      <a:lnTo>
                        <a:pt x="51" y="1060"/>
                      </a:lnTo>
                      <a:lnTo>
                        <a:pt x="48" y="1060"/>
                      </a:lnTo>
                      <a:lnTo>
                        <a:pt x="48" y="1060"/>
                      </a:lnTo>
                      <a:lnTo>
                        <a:pt x="44" y="1058"/>
                      </a:lnTo>
                      <a:lnTo>
                        <a:pt x="42" y="1058"/>
                      </a:lnTo>
                      <a:lnTo>
                        <a:pt x="40" y="1056"/>
                      </a:lnTo>
                      <a:lnTo>
                        <a:pt x="40" y="1048"/>
                      </a:lnTo>
                      <a:lnTo>
                        <a:pt x="40" y="1041"/>
                      </a:lnTo>
                      <a:lnTo>
                        <a:pt x="40" y="1032"/>
                      </a:lnTo>
                      <a:lnTo>
                        <a:pt x="40" y="1024"/>
                      </a:lnTo>
                      <a:lnTo>
                        <a:pt x="40" y="1023"/>
                      </a:lnTo>
                      <a:lnTo>
                        <a:pt x="33" y="1023"/>
                      </a:lnTo>
                      <a:lnTo>
                        <a:pt x="29" y="1023"/>
                      </a:lnTo>
                      <a:lnTo>
                        <a:pt x="27" y="1010"/>
                      </a:lnTo>
                      <a:lnTo>
                        <a:pt x="25" y="999"/>
                      </a:lnTo>
                      <a:lnTo>
                        <a:pt x="25" y="991"/>
                      </a:lnTo>
                      <a:lnTo>
                        <a:pt x="25" y="991"/>
                      </a:lnTo>
                      <a:lnTo>
                        <a:pt x="24" y="984"/>
                      </a:lnTo>
                      <a:lnTo>
                        <a:pt x="24" y="978"/>
                      </a:lnTo>
                      <a:lnTo>
                        <a:pt x="24" y="978"/>
                      </a:lnTo>
                      <a:lnTo>
                        <a:pt x="22" y="975"/>
                      </a:lnTo>
                      <a:lnTo>
                        <a:pt x="20" y="969"/>
                      </a:lnTo>
                      <a:lnTo>
                        <a:pt x="20" y="969"/>
                      </a:lnTo>
                      <a:lnTo>
                        <a:pt x="16" y="964"/>
                      </a:lnTo>
                      <a:lnTo>
                        <a:pt x="16" y="964"/>
                      </a:lnTo>
                      <a:lnTo>
                        <a:pt x="13" y="964"/>
                      </a:lnTo>
                      <a:lnTo>
                        <a:pt x="7" y="964"/>
                      </a:lnTo>
                      <a:lnTo>
                        <a:pt x="3" y="964"/>
                      </a:lnTo>
                      <a:lnTo>
                        <a:pt x="1" y="964"/>
                      </a:lnTo>
                      <a:lnTo>
                        <a:pt x="1" y="962"/>
                      </a:lnTo>
                      <a:lnTo>
                        <a:pt x="1" y="958"/>
                      </a:lnTo>
                      <a:lnTo>
                        <a:pt x="3" y="954"/>
                      </a:lnTo>
                      <a:lnTo>
                        <a:pt x="3" y="952"/>
                      </a:lnTo>
                      <a:lnTo>
                        <a:pt x="5" y="949"/>
                      </a:lnTo>
                      <a:lnTo>
                        <a:pt x="9" y="947"/>
                      </a:lnTo>
                      <a:lnTo>
                        <a:pt x="11" y="945"/>
                      </a:lnTo>
                      <a:lnTo>
                        <a:pt x="13" y="943"/>
                      </a:lnTo>
                      <a:lnTo>
                        <a:pt x="20" y="940"/>
                      </a:lnTo>
                      <a:lnTo>
                        <a:pt x="25" y="936"/>
                      </a:lnTo>
                      <a:lnTo>
                        <a:pt x="33" y="934"/>
                      </a:lnTo>
                      <a:lnTo>
                        <a:pt x="38" y="932"/>
                      </a:lnTo>
                      <a:lnTo>
                        <a:pt x="38" y="932"/>
                      </a:lnTo>
                      <a:lnTo>
                        <a:pt x="38" y="917"/>
                      </a:lnTo>
                      <a:lnTo>
                        <a:pt x="37" y="901"/>
                      </a:lnTo>
                      <a:lnTo>
                        <a:pt x="35" y="886"/>
                      </a:lnTo>
                      <a:lnTo>
                        <a:pt x="35" y="871"/>
                      </a:lnTo>
                      <a:lnTo>
                        <a:pt x="33" y="857"/>
                      </a:lnTo>
                      <a:lnTo>
                        <a:pt x="33" y="857"/>
                      </a:lnTo>
                      <a:lnTo>
                        <a:pt x="33" y="842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29" y="812"/>
                      </a:lnTo>
                      <a:lnTo>
                        <a:pt x="20" y="797"/>
                      </a:lnTo>
                      <a:lnTo>
                        <a:pt x="13" y="786"/>
                      </a:lnTo>
                      <a:lnTo>
                        <a:pt x="11" y="783"/>
                      </a:lnTo>
                      <a:lnTo>
                        <a:pt x="9" y="781"/>
                      </a:lnTo>
                      <a:lnTo>
                        <a:pt x="9" y="777"/>
                      </a:lnTo>
                      <a:lnTo>
                        <a:pt x="7" y="773"/>
                      </a:lnTo>
                      <a:lnTo>
                        <a:pt x="5" y="770"/>
                      </a:lnTo>
                      <a:lnTo>
                        <a:pt x="5" y="766"/>
                      </a:lnTo>
                      <a:lnTo>
                        <a:pt x="5" y="762"/>
                      </a:lnTo>
                      <a:lnTo>
                        <a:pt x="5" y="757"/>
                      </a:lnTo>
                      <a:lnTo>
                        <a:pt x="7" y="755"/>
                      </a:lnTo>
                      <a:lnTo>
                        <a:pt x="11" y="751"/>
                      </a:lnTo>
                      <a:lnTo>
                        <a:pt x="22" y="748"/>
                      </a:lnTo>
                      <a:lnTo>
                        <a:pt x="35" y="744"/>
                      </a:lnTo>
                      <a:lnTo>
                        <a:pt x="46" y="740"/>
                      </a:lnTo>
                      <a:lnTo>
                        <a:pt x="61" y="737"/>
                      </a:lnTo>
                      <a:lnTo>
                        <a:pt x="61" y="729"/>
                      </a:lnTo>
                      <a:lnTo>
                        <a:pt x="61" y="726"/>
                      </a:lnTo>
                      <a:lnTo>
                        <a:pt x="66" y="726"/>
                      </a:lnTo>
                      <a:lnTo>
                        <a:pt x="66" y="726"/>
                      </a:lnTo>
                      <a:lnTo>
                        <a:pt x="72" y="727"/>
                      </a:lnTo>
                      <a:lnTo>
                        <a:pt x="79" y="729"/>
                      </a:lnTo>
                      <a:lnTo>
                        <a:pt x="86" y="731"/>
                      </a:lnTo>
                      <a:lnTo>
                        <a:pt x="86" y="731"/>
                      </a:lnTo>
                      <a:lnTo>
                        <a:pt x="86" y="716"/>
                      </a:lnTo>
                      <a:lnTo>
                        <a:pt x="86" y="702"/>
                      </a:lnTo>
                      <a:lnTo>
                        <a:pt x="86" y="689"/>
                      </a:lnTo>
                      <a:lnTo>
                        <a:pt x="86" y="676"/>
                      </a:lnTo>
                      <a:lnTo>
                        <a:pt x="90" y="674"/>
                      </a:lnTo>
                      <a:lnTo>
                        <a:pt x="94" y="674"/>
                      </a:lnTo>
                      <a:lnTo>
                        <a:pt x="97" y="672"/>
                      </a:lnTo>
                      <a:lnTo>
                        <a:pt x="101" y="672"/>
                      </a:lnTo>
                      <a:lnTo>
                        <a:pt x="103" y="672"/>
                      </a:lnTo>
                      <a:lnTo>
                        <a:pt x="103" y="663"/>
                      </a:lnTo>
                      <a:lnTo>
                        <a:pt x="103" y="657"/>
                      </a:lnTo>
                      <a:lnTo>
                        <a:pt x="103" y="650"/>
                      </a:lnTo>
                      <a:lnTo>
                        <a:pt x="103" y="642"/>
                      </a:lnTo>
                      <a:lnTo>
                        <a:pt x="116" y="635"/>
                      </a:lnTo>
                      <a:lnTo>
                        <a:pt x="127" y="628"/>
                      </a:lnTo>
                      <a:lnTo>
                        <a:pt x="140" y="618"/>
                      </a:lnTo>
                      <a:lnTo>
                        <a:pt x="153" y="611"/>
                      </a:lnTo>
                      <a:lnTo>
                        <a:pt x="155" y="604"/>
                      </a:lnTo>
                      <a:lnTo>
                        <a:pt x="156" y="598"/>
                      </a:lnTo>
                      <a:lnTo>
                        <a:pt x="156" y="593"/>
                      </a:lnTo>
                      <a:lnTo>
                        <a:pt x="158" y="587"/>
                      </a:lnTo>
                      <a:lnTo>
                        <a:pt x="158" y="587"/>
                      </a:lnTo>
                      <a:lnTo>
                        <a:pt x="153" y="585"/>
                      </a:lnTo>
                      <a:lnTo>
                        <a:pt x="147" y="585"/>
                      </a:lnTo>
                      <a:lnTo>
                        <a:pt x="144" y="583"/>
                      </a:lnTo>
                      <a:lnTo>
                        <a:pt x="140" y="582"/>
                      </a:lnTo>
                      <a:lnTo>
                        <a:pt x="136" y="570"/>
                      </a:lnTo>
                      <a:lnTo>
                        <a:pt x="134" y="559"/>
                      </a:lnTo>
                      <a:lnTo>
                        <a:pt x="132" y="554"/>
                      </a:lnTo>
                      <a:lnTo>
                        <a:pt x="131" y="550"/>
                      </a:lnTo>
                      <a:lnTo>
                        <a:pt x="129" y="545"/>
                      </a:lnTo>
                      <a:lnTo>
                        <a:pt x="127" y="541"/>
                      </a:lnTo>
                      <a:lnTo>
                        <a:pt x="127" y="541"/>
                      </a:lnTo>
                      <a:lnTo>
                        <a:pt x="125" y="537"/>
                      </a:lnTo>
                      <a:lnTo>
                        <a:pt x="123" y="535"/>
                      </a:lnTo>
                      <a:lnTo>
                        <a:pt x="123" y="535"/>
                      </a:lnTo>
                      <a:lnTo>
                        <a:pt x="120" y="532"/>
                      </a:lnTo>
                      <a:lnTo>
                        <a:pt x="116" y="528"/>
                      </a:lnTo>
                      <a:lnTo>
                        <a:pt x="116" y="528"/>
                      </a:lnTo>
                      <a:lnTo>
                        <a:pt x="112" y="524"/>
                      </a:lnTo>
                      <a:lnTo>
                        <a:pt x="109" y="521"/>
                      </a:lnTo>
                      <a:lnTo>
                        <a:pt x="109" y="521"/>
                      </a:lnTo>
                      <a:lnTo>
                        <a:pt x="103" y="517"/>
                      </a:lnTo>
                      <a:lnTo>
                        <a:pt x="97" y="511"/>
                      </a:lnTo>
                      <a:lnTo>
                        <a:pt x="99" y="510"/>
                      </a:lnTo>
                      <a:lnTo>
                        <a:pt x="101" y="506"/>
                      </a:lnTo>
                      <a:lnTo>
                        <a:pt x="101" y="506"/>
                      </a:lnTo>
                      <a:lnTo>
                        <a:pt x="101" y="504"/>
                      </a:lnTo>
                      <a:lnTo>
                        <a:pt x="103" y="500"/>
                      </a:lnTo>
                      <a:lnTo>
                        <a:pt x="103" y="500"/>
                      </a:lnTo>
                      <a:lnTo>
                        <a:pt x="97" y="500"/>
                      </a:lnTo>
                      <a:lnTo>
                        <a:pt x="94" y="500"/>
                      </a:lnTo>
                      <a:lnTo>
                        <a:pt x="88" y="500"/>
                      </a:lnTo>
                      <a:lnTo>
                        <a:pt x="86" y="500"/>
                      </a:lnTo>
                      <a:lnTo>
                        <a:pt x="85" y="493"/>
                      </a:lnTo>
                      <a:lnTo>
                        <a:pt x="83" y="486"/>
                      </a:lnTo>
                      <a:lnTo>
                        <a:pt x="81" y="478"/>
                      </a:lnTo>
                      <a:lnTo>
                        <a:pt x="81" y="471"/>
                      </a:lnTo>
                      <a:lnTo>
                        <a:pt x="81" y="471"/>
                      </a:lnTo>
                      <a:lnTo>
                        <a:pt x="79" y="463"/>
                      </a:lnTo>
                      <a:lnTo>
                        <a:pt x="77" y="456"/>
                      </a:lnTo>
                      <a:lnTo>
                        <a:pt x="75" y="449"/>
                      </a:lnTo>
                      <a:lnTo>
                        <a:pt x="75" y="441"/>
                      </a:lnTo>
                      <a:lnTo>
                        <a:pt x="75" y="439"/>
                      </a:lnTo>
                      <a:lnTo>
                        <a:pt x="68" y="439"/>
                      </a:lnTo>
                      <a:lnTo>
                        <a:pt x="64" y="439"/>
                      </a:lnTo>
                      <a:lnTo>
                        <a:pt x="64" y="439"/>
                      </a:lnTo>
                      <a:lnTo>
                        <a:pt x="64" y="438"/>
                      </a:lnTo>
                      <a:lnTo>
                        <a:pt x="64" y="438"/>
                      </a:lnTo>
                      <a:lnTo>
                        <a:pt x="64" y="436"/>
                      </a:lnTo>
                      <a:lnTo>
                        <a:pt x="68" y="436"/>
                      </a:lnTo>
                      <a:lnTo>
                        <a:pt x="73" y="436"/>
                      </a:lnTo>
                      <a:lnTo>
                        <a:pt x="75" y="436"/>
                      </a:lnTo>
                      <a:lnTo>
                        <a:pt x="75" y="432"/>
                      </a:lnTo>
                      <a:lnTo>
                        <a:pt x="75" y="427"/>
                      </a:lnTo>
                      <a:lnTo>
                        <a:pt x="75" y="423"/>
                      </a:lnTo>
                      <a:lnTo>
                        <a:pt x="75" y="419"/>
                      </a:lnTo>
                      <a:lnTo>
                        <a:pt x="75" y="417"/>
                      </a:lnTo>
                      <a:lnTo>
                        <a:pt x="75" y="414"/>
                      </a:lnTo>
                      <a:lnTo>
                        <a:pt x="75" y="408"/>
                      </a:lnTo>
                      <a:lnTo>
                        <a:pt x="75" y="404"/>
                      </a:lnTo>
                      <a:lnTo>
                        <a:pt x="75" y="404"/>
                      </a:lnTo>
                      <a:lnTo>
                        <a:pt x="79" y="404"/>
                      </a:lnTo>
                      <a:lnTo>
                        <a:pt x="85" y="404"/>
                      </a:lnTo>
                      <a:lnTo>
                        <a:pt x="94" y="404"/>
                      </a:lnTo>
                      <a:lnTo>
                        <a:pt x="103" y="403"/>
                      </a:lnTo>
                      <a:lnTo>
                        <a:pt x="114" y="403"/>
                      </a:lnTo>
                      <a:lnTo>
                        <a:pt x="123" y="403"/>
                      </a:lnTo>
                      <a:lnTo>
                        <a:pt x="123" y="395"/>
                      </a:lnTo>
                      <a:lnTo>
                        <a:pt x="123" y="388"/>
                      </a:lnTo>
                      <a:lnTo>
                        <a:pt x="121" y="382"/>
                      </a:lnTo>
                      <a:lnTo>
                        <a:pt x="121" y="379"/>
                      </a:lnTo>
                      <a:lnTo>
                        <a:pt x="123" y="382"/>
                      </a:lnTo>
                      <a:lnTo>
                        <a:pt x="127" y="390"/>
                      </a:lnTo>
                      <a:lnTo>
                        <a:pt x="131" y="397"/>
                      </a:lnTo>
                      <a:lnTo>
                        <a:pt x="132" y="404"/>
                      </a:lnTo>
                      <a:lnTo>
                        <a:pt x="136" y="412"/>
                      </a:lnTo>
                      <a:lnTo>
                        <a:pt x="140" y="419"/>
                      </a:lnTo>
                      <a:lnTo>
                        <a:pt x="140" y="421"/>
                      </a:lnTo>
                      <a:lnTo>
                        <a:pt x="140" y="421"/>
                      </a:lnTo>
                      <a:lnTo>
                        <a:pt x="144" y="425"/>
                      </a:lnTo>
                      <a:lnTo>
                        <a:pt x="144" y="425"/>
                      </a:lnTo>
                      <a:lnTo>
                        <a:pt x="145" y="428"/>
                      </a:lnTo>
                      <a:lnTo>
                        <a:pt x="147" y="430"/>
                      </a:lnTo>
                      <a:lnTo>
                        <a:pt x="149" y="432"/>
                      </a:lnTo>
                      <a:lnTo>
                        <a:pt x="149" y="425"/>
                      </a:lnTo>
                      <a:lnTo>
                        <a:pt x="149" y="417"/>
                      </a:lnTo>
                      <a:lnTo>
                        <a:pt x="149" y="412"/>
                      </a:lnTo>
                      <a:lnTo>
                        <a:pt x="149" y="406"/>
                      </a:lnTo>
                      <a:lnTo>
                        <a:pt x="155" y="406"/>
                      </a:lnTo>
                      <a:lnTo>
                        <a:pt x="160" y="404"/>
                      </a:lnTo>
                      <a:lnTo>
                        <a:pt x="168" y="404"/>
                      </a:lnTo>
                      <a:lnTo>
                        <a:pt x="173" y="403"/>
                      </a:lnTo>
                      <a:lnTo>
                        <a:pt x="173" y="403"/>
                      </a:lnTo>
                      <a:lnTo>
                        <a:pt x="173" y="397"/>
                      </a:lnTo>
                      <a:lnTo>
                        <a:pt x="173" y="391"/>
                      </a:lnTo>
                      <a:lnTo>
                        <a:pt x="184" y="391"/>
                      </a:lnTo>
                      <a:lnTo>
                        <a:pt x="195" y="390"/>
                      </a:lnTo>
                      <a:lnTo>
                        <a:pt x="208" y="390"/>
                      </a:lnTo>
                      <a:lnTo>
                        <a:pt x="219" y="390"/>
                      </a:lnTo>
                      <a:lnTo>
                        <a:pt x="230" y="388"/>
                      </a:lnTo>
                      <a:lnTo>
                        <a:pt x="243" y="388"/>
                      </a:lnTo>
                      <a:lnTo>
                        <a:pt x="254" y="386"/>
                      </a:lnTo>
                      <a:lnTo>
                        <a:pt x="265" y="386"/>
                      </a:lnTo>
                      <a:lnTo>
                        <a:pt x="265" y="388"/>
                      </a:lnTo>
                      <a:lnTo>
                        <a:pt x="265" y="388"/>
                      </a:lnTo>
                      <a:lnTo>
                        <a:pt x="265" y="390"/>
                      </a:lnTo>
                      <a:lnTo>
                        <a:pt x="264" y="390"/>
                      </a:lnTo>
                      <a:lnTo>
                        <a:pt x="264" y="390"/>
                      </a:lnTo>
                      <a:lnTo>
                        <a:pt x="264" y="390"/>
                      </a:lnTo>
                      <a:lnTo>
                        <a:pt x="262" y="390"/>
                      </a:lnTo>
                      <a:lnTo>
                        <a:pt x="258" y="390"/>
                      </a:lnTo>
                      <a:lnTo>
                        <a:pt x="254" y="390"/>
                      </a:lnTo>
                      <a:lnTo>
                        <a:pt x="254" y="390"/>
                      </a:lnTo>
                      <a:lnTo>
                        <a:pt x="254" y="395"/>
                      </a:lnTo>
                      <a:lnTo>
                        <a:pt x="254" y="395"/>
                      </a:lnTo>
                      <a:lnTo>
                        <a:pt x="258" y="399"/>
                      </a:lnTo>
                      <a:lnTo>
                        <a:pt x="258" y="399"/>
                      </a:lnTo>
                      <a:lnTo>
                        <a:pt x="260" y="403"/>
                      </a:lnTo>
                      <a:lnTo>
                        <a:pt x="260" y="403"/>
                      </a:lnTo>
                      <a:lnTo>
                        <a:pt x="262" y="404"/>
                      </a:lnTo>
                      <a:lnTo>
                        <a:pt x="265" y="406"/>
                      </a:lnTo>
                      <a:lnTo>
                        <a:pt x="265" y="406"/>
                      </a:lnTo>
                      <a:lnTo>
                        <a:pt x="267" y="408"/>
                      </a:lnTo>
                      <a:lnTo>
                        <a:pt x="267" y="408"/>
                      </a:lnTo>
                      <a:lnTo>
                        <a:pt x="271" y="410"/>
                      </a:lnTo>
                      <a:lnTo>
                        <a:pt x="271" y="410"/>
                      </a:lnTo>
                      <a:lnTo>
                        <a:pt x="275" y="412"/>
                      </a:lnTo>
                      <a:lnTo>
                        <a:pt x="280" y="412"/>
                      </a:lnTo>
                      <a:lnTo>
                        <a:pt x="284" y="414"/>
                      </a:lnTo>
                      <a:lnTo>
                        <a:pt x="288" y="414"/>
                      </a:lnTo>
                      <a:lnTo>
                        <a:pt x="291" y="414"/>
                      </a:lnTo>
                      <a:lnTo>
                        <a:pt x="293" y="414"/>
                      </a:lnTo>
                      <a:lnTo>
                        <a:pt x="302" y="414"/>
                      </a:lnTo>
                      <a:lnTo>
                        <a:pt x="312" y="412"/>
                      </a:lnTo>
                      <a:lnTo>
                        <a:pt x="321" y="412"/>
                      </a:lnTo>
                      <a:lnTo>
                        <a:pt x="332" y="408"/>
                      </a:lnTo>
                      <a:lnTo>
                        <a:pt x="341" y="406"/>
                      </a:lnTo>
                      <a:lnTo>
                        <a:pt x="350" y="404"/>
                      </a:lnTo>
                      <a:lnTo>
                        <a:pt x="367" y="399"/>
                      </a:lnTo>
                      <a:lnTo>
                        <a:pt x="382" y="397"/>
                      </a:lnTo>
                      <a:lnTo>
                        <a:pt x="380" y="388"/>
                      </a:lnTo>
                      <a:lnTo>
                        <a:pt x="378" y="380"/>
                      </a:lnTo>
                      <a:lnTo>
                        <a:pt x="376" y="373"/>
                      </a:lnTo>
                      <a:lnTo>
                        <a:pt x="374" y="366"/>
                      </a:lnTo>
                      <a:lnTo>
                        <a:pt x="371" y="358"/>
                      </a:lnTo>
                      <a:lnTo>
                        <a:pt x="369" y="351"/>
                      </a:lnTo>
                      <a:lnTo>
                        <a:pt x="367" y="344"/>
                      </a:lnTo>
                      <a:lnTo>
                        <a:pt x="365" y="336"/>
                      </a:lnTo>
                      <a:lnTo>
                        <a:pt x="369" y="336"/>
                      </a:lnTo>
                      <a:lnTo>
                        <a:pt x="374" y="336"/>
                      </a:lnTo>
                      <a:lnTo>
                        <a:pt x="376" y="336"/>
                      </a:lnTo>
                      <a:lnTo>
                        <a:pt x="376" y="332"/>
                      </a:lnTo>
                      <a:lnTo>
                        <a:pt x="376" y="327"/>
                      </a:lnTo>
                      <a:lnTo>
                        <a:pt x="376" y="323"/>
                      </a:lnTo>
                      <a:lnTo>
                        <a:pt x="376" y="320"/>
                      </a:lnTo>
                      <a:lnTo>
                        <a:pt x="380" y="320"/>
                      </a:lnTo>
                      <a:lnTo>
                        <a:pt x="383" y="321"/>
                      </a:lnTo>
                      <a:lnTo>
                        <a:pt x="389" y="323"/>
                      </a:lnTo>
                      <a:lnTo>
                        <a:pt x="395" y="323"/>
                      </a:lnTo>
                      <a:lnTo>
                        <a:pt x="400" y="325"/>
                      </a:lnTo>
                      <a:lnTo>
                        <a:pt x="400" y="325"/>
                      </a:lnTo>
                      <a:lnTo>
                        <a:pt x="406" y="327"/>
                      </a:lnTo>
                      <a:lnTo>
                        <a:pt x="406" y="327"/>
                      </a:lnTo>
                      <a:lnTo>
                        <a:pt x="407" y="327"/>
                      </a:lnTo>
                      <a:lnTo>
                        <a:pt x="409" y="327"/>
                      </a:lnTo>
                      <a:lnTo>
                        <a:pt x="409" y="327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11" y="325"/>
                      </a:lnTo>
                      <a:lnTo>
                        <a:pt x="411" y="325"/>
                      </a:lnTo>
                      <a:lnTo>
                        <a:pt x="413" y="323"/>
                      </a:lnTo>
                      <a:lnTo>
                        <a:pt x="413" y="323"/>
                      </a:lnTo>
                      <a:lnTo>
                        <a:pt x="415" y="323"/>
                      </a:lnTo>
                      <a:lnTo>
                        <a:pt x="415" y="320"/>
                      </a:lnTo>
                      <a:lnTo>
                        <a:pt x="415" y="318"/>
                      </a:lnTo>
                      <a:lnTo>
                        <a:pt x="415" y="316"/>
                      </a:lnTo>
                      <a:lnTo>
                        <a:pt x="415" y="316"/>
                      </a:lnTo>
                      <a:lnTo>
                        <a:pt x="415" y="316"/>
                      </a:lnTo>
                      <a:lnTo>
                        <a:pt x="415" y="314"/>
                      </a:lnTo>
                      <a:lnTo>
                        <a:pt x="417" y="314"/>
                      </a:lnTo>
                      <a:lnTo>
                        <a:pt x="419" y="314"/>
                      </a:lnTo>
                      <a:lnTo>
                        <a:pt x="417" y="320"/>
                      </a:lnTo>
                      <a:lnTo>
                        <a:pt x="417" y="320"/>
                      </a:lnTo>
                      <a:lnTo>
                        <a:pt x="415" y="325"/>
                      </a:lnTo>
                      <a:lnTo>
                        <a:pt x="415" y="325"/>
                      </a:lnTo>
                      <a:lnTo>
                        <a:pt x="413" y="327"/>
                      </a:lnTo>
                      <a:lnTo>
                        <a:pt x="413" y="327"/>
                      </a:lnTo>
                      <a:lnTo>
                        <a:pt x="413" y="332"/>
                      </a:lnTo>
                      <a:lnTo>
                        <a:pt x="415" y="336"/>
                      </a:lnTo>
                      <a:lnTo>
                        <a:pt x="417" y="338"/>
                      </a:lnTo>
                      <a:lnTo>
                        <a:pt x="422" y="331"/>
                      </a:lnTo>
                      <a:lnTo>
                        <a:pt x="428" y="325"/>
                      </a:lnTo>
                      <a:lnTo>
                        <a:pt x="430" y="323"/>
                      </a:lnTo>
                      <a:lnTo>
                        <a:pt x="430" y="323"/>
                      </a:lnTo>
                      <a:lnTo>
                        <a:pt x="431" y="323"/>
                      </a:lnTo>
                      <a:lnTo>
                        <a:pt x="431" y="325"/>
                      </a:lnTo>
                      <a:lnTo>
                        <a:pt x="431" y="325"/>
                      </a:lnTo>
                      <a:lnTo>
                        <a:pt x="431" y="325"/>
                      </a:lnTo>
                      <a:lnTo>
                        <a:pt x="430" y="327"/>
                      </a:lnTo>
                      <a:lnTo>
                        <a:pt x="430" y="329"/>
                      </a:lnTo>
                      <a:lnTo>
                        <a:pt x="437" y="329"/>
                      </a:lnTo>
                      <a:lnTo>
                        <a:pt x="437" y="329"/>
                      </a:lnTo>
                      <a:lnTo>
                        <a:pt x="441" y="327"/>
                      </a:lnTo>
                      <a:lnTo>
                        <a:pt x="441" y="327"/>
                      </a:lnTo>
                      <a:lnTo>
                        <a:pt x="443" y="327"/>
                      </a:lnTo>
                      <a:lnTo>
                        <a:pt x="443" y="325"/>
                      </a:lnTo>
                      <a:lnTo>
                        <a:pt x="443" y="325"/>
                      </a:lnTo>
                      <a:lnTo>
                        <a:pt x="444" y="323"/>
                      </a:lnTo>
                      <a:lnTo>
                        <a:pt x="446" y="321"/>
                      </a:lnTo>
                      <a:lnTo>
                        <a:pt x="448" y="321"/>
                      </a:lnTo>
                      <a:lnTo>
                        <a:pt x="444" y="318"/>
                      </a:lnTo>
                      <a:lnTo>
                        <a:pt x="443" y="318"/>
                      </a:lnTo>
                      <a:lnTo>
                        <a:pt x="448" y="316"/>
                      </a:lnTo>
                      <a:lnTo>
                        <a:pt x="454" y="314"/>
                      </a:lnTo>
                      <a:lnTo>
                        <a:pt x="461" y="314"/>
                      </a:lnTo>
                      <a:lnTo>
                        <a:pt x="468" y="312"/>
                      </a:lnTo>
                      <a:lnTo>
                        <a:pt x="468" y="312"/>
                      </a:lnTo>
                      <a:lnTo>
                        <a:pt x="470" y="310"/>
                      </a:lnTo>
                      <a:lnTo>
                        <a:pt x="470" y="310"/>
                      </a:lnTo>
                      <a:lnTo>
                        <a:pt x="472" y="308"/>
                      </a:lnTo>
                      <a:lnTo>
                        <a:pt x="474" y="310"/>
                      </a:lnTo>
                      <a:lnTo>
                        <a:pt x="476" y="312"/>
                      </a:lnTo>
                      <a:lnTo>
                        <a:pt x="476" y="312"/>
                      </a:lnTo>
                      <a:lnTo>
                        <a:pt x="478" y="314"/>
                      </a:lnTo>
                      <a:lnTo>
                        <a:pt x="479" y="316"/>
                      </a:lnTo>
                      <a:lnTo>
                        <a:pt x="479" y="316"/>
                      </a:lnTo>
                      <a:lnTo>
                        <a:pt x="485" y="318"/>
                      </a:lnTo>
                      <a:lnTo>
                        <a:pt x="489" y="321"/>
                      </a:lnTo>
                      <a:lnTo>
                        <a:pt x="492" y="323"/>
                      </a:lnTo>
                      <a:lnTo>
                        <a:pt x="498" y="325"/>
                      </a:lnTo>
                      <a:lnTo>
                        <a:pt x="500" y="327"/>
                      </a:lnTo>
                      <a:lnTo>
                        <a:pt x="502" y="331"/>
                      </a:lnTo>
                      <a:lnTo>
                        <a:pt x="503" y="332"/>
                      </a:lnTo>
                      <a:lnTo>
                        <a:pt x="505" y="336"/>
                      </a:lnTo>
                      <a:lnTo>
                        <a:pt x="505" y="336"/>
                      </a:lnTo>
                      <a:lnTo>
                        <a:pt x="513" y="336"/>
                      </a:lnTo>
                      <a:lnTo>
                        <a:pt x="516" y="336"/>
                      </a:lnTo>
                      <a:lnTo>
                        <a:pt x="516" y="338"/>
                      </a:lnTo>
                      <a:lnTo>
                        <a:pt x="515" y="342"/>
                      </a:lnTo>
                      <a:lnTo>
                        <a:pt x="513" y="344"/>
                      </a:lnTo>
                      <a:lnTo>
                        <a:pt x="513" y="344"/>
                      </a:lnTo>
                      <a:lnTo>
                        <a:pt x="513" y="347"/>
                      </a:lnTo>
                      <a:lnTo>
                        <a:pt x="513" y="347"/>
                      </a:lnTo>
                      <a:lnTo>
                        <a:pt x="516" y="351"/>
                      </a:lnTo>
                      <a:lnTo>
                        <a:pt x="522" y="356"/>
                      </a:lnTo>
                      <a:lnTo>
                        <a:pt x="520" y="360"/>
                      </a:lnTo>
                      <a:lnTo>
                        <a:pt x="518" y="364"/>
                      </a:lnTo>
                      <a:lnTo>
                        <a:pt x="518" y="368"/>
                      </a:lnTo>
                      <a:lnTo>
                        <a:pt x="518" y="368"/>
                      </a:lnTo>
                      <a:lnTo>
                        <a:pt x="516" y="373"/>
                      </a:lnTo>
                      <a:lnTo>
                        <a:pt x="516" y="375"/>
                      </a:lnTo>
                      <a:lnTo>
                        <a:pt x="522" y="375"/>
                      </a:lnTo>
                      <a:lnTo>
                        <a:pt x="526" y="375"/>
                      </a:lnTo>
                      <a:lnTo>
                        <a:pt x="529" y="375"/>
                      </a:lnTo>
                      <a:lnTo>
                        <a:pt x="533" y="375"/>
                      </a:lnTo>
                      <a:lnTo>
                        <a:pt x="537" y="379"/>
                      </a:lnTo>
                      <a:lnTo>
                        <a:pt x="539" y="382"/>
                      </a:lnTo>
                      <a:lnTo>
                        <a:pt x="540" y="386"/>
                      </a:lnTo>
                      <a:lnTo>
                        <a:pt x="540" y="390"/>
                      </a:lnTo>
                      <a:lnTo>
                        <a:pt x="540" y="391"/>
                      </a:lnTo>
                      <a:lnTo>
                        <a:pt x="540" y="395"/>
                      </a:lnTo>
                      <a:lnTo>
                        <a:pt x="540" y="399"/>
                      </a:lnTo>
                      <a:lnTo>
                        <a:pt x="540" y="403"/>
                      </a:lnTo>
                      <a:lnTo>
                        <a:pt x="539" y="404"/>
                      </a:lnTo>
                      <a:lnTo>
                        <a:pt x="539" y="404"/>
                      </a:lnTo>
                      <a:lnTo>
                        <a:pt x="537" y="404"/>
                      </a:lnTo>
                      <a:lnTo>
                        <a:pt x="537" y="404"/>
                      </a:lnTo>
                      <a:lnTo>
                        <a:pt x="537" y="404"/>
                      </a:lnTo>
                      <a:lnTo>
                        <a:pt x="535" y="403"/>
                      </a:lnTo>
                      <a:lnTo>
                        <a:pt x="531" y="401"/>
                      </a:lnTo>
                      <a:lnTo>
                        <a:pt x="527" y="399"/>
                      </a:lnTo>
                      <a:lnTo>
                        <a:pt x="527" y="399"/>
                      </a:lnTo>
                      <a:lnTo>
                        <a:pt x="526" y="399"/>
                      </a:lnTo>
                      <a:lnTo>
                        <a:pt x="522" y="397"/>
                      </a:lnTo>
                      <a:lnTo>
                        <a:pt x="522" y="397"/>
                      </a:lnTo>
                      <a:lnTo>
                        <a:pt x="515" y="397"/>
                      </a:lnTo>
                      <a:lnTo>
                        <a:pt x="515" y="397"/>
                      </a:lnTo>
                      <a:lnTo>
                        <a:pt x="500" y="397"/>
                      </a:lnTo>
                      <a:lnTo>
                        <a:pt x="513" y="406"/>
                      </a:lnTo>
                      <a:lnTo>
                        <a:pt x="524" y="414"/>
                      </a:lnTo>
                      <a:lnTo>
                        <a:pt x="531" y="415"/>
                      </a:lnTo>
                      <a:lnTo>
                        <a:pt x="531" y="417"/>
                      </a:lnTo>
                      <a:lnTo>
                        <a:pt x="537" y="419"/>
                      </a:lnTo>
                      <a:lnTo>
                        <a:pt x="537" y="419"/>
                      </a:lnTo>
                      <a:lnTo>
                        <a:pt x="540" y="419"/>
                      </a:lnTo>
                      <a:lnTo>
                        <a:pt x="540" y="419"/>
                      </a:lnTo>
                      <a:lnTo>
                        <a:pt x="544" y="419"/>
                      </a:lnTo>
                      <a:lnTo>
                        <a:pt x="548" y="421"/>
                      </a:lnTo>
                      <a:lnTo>
                        <a:pt x="548" y="421"/>
                      </a:lnTo>
                      <a:lnTo>
                        <a:pt x="551" y="421"/>
                      </a:lnTo>
                      <a:lnTo>
                        <a:pt x="551" y="421"/>
                      </a:lnTo>
                      <a:lnTo>
                        <a:pt x="553" y="419"/>
                      </a:lnTo>
                      <a:lnTo>
                        <a:pt x="553" y="417"/>
                      </a:lnTo>
                      <a:lnTo>
                        <a:pt x="557" y="419"/>
                      </a:lnTo>
                      <a:lnTo>
                        <a:pt x="561" y="421"/>
                      </a:lnTo>
                      <a:lnTo>
                        <a:pt x="559" y="425"/>
                      </a:lnTo>
                      <a:lnTo>
                        <a:pt x="559" y="430"/>
                      </a:lnTo>
                      <a:lnTo>
                        <a:pt x="559" y="434"/>
                      </a:lnTo>
                      <a:lnTo>
                        <a:pt x="559" y="438"/>
                      </a:lnTo>
                      <a:lnTo>
                        <a:pt x="559" y="439"/>
                      </a:lnTo>
                      <a:lnTo>
                        <a:pt x="575" y="447"/>
                      </a:lnTo>
                      <a:lnTo>
                        <a:pt x="588" y="452"/>
                      </a:lnTo>
                      <a:lnTo>
                        <a:pt x="599" y="458"/>
                      </a:lnTo>
                      <a:lnTo>
                        <a:pt x="609" y="462"/>
                      </a:lnTo>
                      <a:lnTo>
                        <a:pt x="618" y="463"/>
                      </a:lnTo>
                      <a:lnTo>
                        <a:pt x="625" y="467"/>
                      </a:lnTo>
                      <a:lnTo>
                        <a:pt x="631" y="469"/>
                      </a:lnTo>
                      <a:lnTo>
                        <a:pt x="640" y="473"/>
                      </a:lnTo>
                      <a:lnTo>
                        <a:pt x="636" y="447"/>
                      </a:lnTo>
                      <a:lnTo>
                        <a:pt x="634" y="430"/>
                      </a:lnTo>
                      <a:lnTo>
                        <a:pt x="633" y="415"/>
                      </a:lnTo>
                      <a:lnTo>
                        <a:pt x="631" y="406"/>
                      </a:lnTo>
                      <a:lnTo>
                        <a:pt x="629" y="399"/>
                      </a:lnTo>
                      <a:lnTo>
                        <a:pt x="629" y="391"/>
                      </a:lnTo>
                      <a:lnTo>
                        <a:pt x="627" y="384"/>
                      </a:lnTo>
                      <a:lnTo>
                        <a:pt x="623" y="377"/>
                      </a:lnTo>
                      <a:lnTo>
                        <a:pt x="629" y="375"/>
                      </a:lnTo>
                      <a:lnTo>
                        <a:pt x="633" y="373"/>
                      </a:lnTo>
                      <a:lnTo>
                        <a:pt x="633" y="379"/>
                      </a:lnTo>
                      <a:lnTo>
                        <a:pt x="633" y="384"/>
                      </a:lnTo>
                      <a:lnTo>
                        <a:pt x="633" y="384"/>
                      </a:lnTo>
                      <a:lnTo>
                        <a:pt x="640" y="388"/>
                      </a:lnTo>
                      <a:lnTo>
                        <a:pt x="646" y="390"/>
                      </a:lnTo>
                      <a:lnTo>
                        <a:pt x="651" y="391"/>
                      </a:lnTo>
                      <a:lnTo>
                        <a:pt x="657" y="391"/>
                      </a:lnTo>
                      <a:lnTo>
                        <a:pt x="660" y="391"/>
                      </a:lnTo>
                      <a:lnTo>
                        <a:pt x="666" y="393"/>
                      </a:lnTo>
                      <a:lnTo>
                        <a:pt x="673" y="393"/>
                      </a:lnTo>
                      <a:lnTo>
                        <a:pt x="682" y="393"/>
                      </a:lnTo>
                      <a:lnTo>
                        <a:pt x="682" y="393"/>
                      </a:lnTo>
                      <a:lnTo>
                        <a:pt x="690" y="380"/>
                      </a:lnTo>
                      <a:lnTo>
                        <a:pt x="697" y="369"/>
                      </a:lnTo>
                      <a:lnTo>
                        <a:pt x="703" y="356"/>
                      </a:lnTo>
                      <a:lnTo>
                        <a:pt x="710" y="345"/>
                      </a:lnTo>
                      <a:lnTo>
                        <a:pt x="718" y="347"/>
                      </a:lnTo>
                      <a:lnTo>
                        <a:pt x="725" y="347"/>
                      </a:lnTo>
                      <a:lnTo>
                        <a:pt x="732" y="347"/>
                      </a:lnTo>
                      <a:lnTo>
                        <a:pt x="732" y="347"/>
                      </a:lnTo>
                      <a:lnTo>
                        <a:pt x="740" y="349"/>
                      </a:lnTo>
                      <a:lnTo>
                        <a:pt x="747" y="349"/>
                      </a:lnTo>
                      <a:lnTo>
                        <a:pt x="754" y="349"/>
                      </a:lnTo>
                      <a:lnTo>
                        <a:pt x="762" y="351"/>
                      </a:lnTo>
                      <a:lnTo>
                        <a:pt x="769" y="351"/>
                      </a:lnTo>
                      <a:lnTo>
                        <a:pt x="771" y="351"/>
                      </a:lnTo>
                      <a:lnTo>
                        <a:pt x="771" y="345"/>
                      </a:lnTo>
                      <a:lnTo>
                        <a:pt x="771" y="344"/>
                      </a:lnTo>
                      <a:lnTo>
                        <a:pt x="773" y="342"/>
                      </a:lnTo>
                      <a:lnTo>
                        <a:pt x="773" y="340"/>
                      </a:lnTo>
                      <a:lnTo>
                        <a:pt x="775" y="340"/>
                      </a:lnTo>
                      <a:lnTo>
                        <a:pt x="773" y="338"/>
                      </a:lnTo>
                      <a:lnTo>
                        <a:pt x="773" y="338"/>
                      </a:lnTo>
                      <a:lnTo>
                        <a:pt x="769" y="336"/>
                      </a:lnTo>
                      <a:lnTo>
                        <a:pt x="769" y="336"/>
                      </a:lnTo>
                      <a:lnTo>
                        <a:pt x="767" y="338"/>
                      </a:lnTo>
                      <a:lnTo>
                        <a:pt x="767" y="338"/>
                      </a:lnTo>
                      <a:lnTo>
                        <a:pt x="767" y="332"/>
                      </a:lnTo>
                      <a:lnTo>
                        <a:pt x="767" y="325"/>
                      </a:lnTo>
                      <a:lnTo>
                        <a:pt x="767" y="318"/>
                      </a:lnTo>
                      <a:lnTo>
                        <a:pt x="767" y="312"/>
                      </a:lnTo>
                      <a:lnTo>
                        <a:pt x="771" y="310"/>
                      </a:lnTo>
                      <a:lnTo>
                        <a:pt x="775" y="310"/>
                      </a:lnTo>
                      <a:lnTo>
                        <a:pt x="778" y="310"/>
                      </a:lnTo>
                      <a:lnTo>
                        <a:pt x="780" y="310"/>
                      </a:lnTo>
                      <a:lnTo>
                        <a:pt x="782" y="312"/>
                      </a:lnTo>
                      <a:lnTo>
                        <a:pt x="786" y="312"/>
                      </a:lnTo>
                      <a:lnTo>
                        <a:pt x="788" y="314"/>
                      </a:lnTo>
                      <a:lnTo>
                        <a:pt x="793" y="316"/>
                      </a:lnTo>
                      <a:lnTo>
                        <a:pt x="793" y="318"/>
                      </a:lnTo>
                      <a:lnTo>
                        <a:pt x="797" y="310"/>
                      </a:lnTo>
                      <a:lnTo>
                        <a:pt x="799" y="307"/>
                      </a:lnTo>
                      <a:lnTo>
                        <a:pt x="801" y="301"/>
                      </a:lnTo>
                      <a:lnTo>
                        <a:pt x="804" y="296"/>
                      </a:lnTo>
                      <a:lnTo>
                        <a:pt x="804" y="296"/>
                      </a:lnTo>
                      <a:lnTo>
                        <a:pt x="797" y="296"/>
                      </a:lnTo>
                      <a:lnTo>
                        <a:pt x="791" y="296"/>
                      </a:lnTo>
                      <a:lnTo>
                        <a:pt x="791" y="292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86"/>
                      </a:lnTo>
                      <a:lnTo>
                        <a:pt x="788" y="283"/>
                      </a:lnTo>
                      <a:lnTo>
                        <a:pt x="788" y="283"/>
                      </a:lnTo>
                      <a:lnTo>
                        <a:pt x="784" y="281"/>
                      </a:lnTo>
                      <a:lnTo>
                        <a:pt x="782" y="281"/>
                      </a:lnTo>
                      <a:lnTo>
                        <a:pt x="782" y="281"/>
                      </a:lnTo>
                      <a:lnTo>
                        <a:pt x="778" y="279"/>
                      </a:lnTo>
                      <a:lnTo>
                        <a:pt x="777" y="279"/>
                      </a:lnTo>
                      <a:lnTo>
                        <a:pt x="777" y="273"/>
                      </a:lnTo>
                      <a:lnTo>
                        <a:pt x="777" y="268"/>
                      </a:lnTo>
                      <a:lnTo>
                        <a:pt x="777" y="262"/>
                      </a:lnTo>
                      <a:lnTo>
                        <a:pt x="777" y="259"/>
                      </a:lnTo>
                      <a:lnTo>
                        <a:pt x="777" y="257"/>
                      </a:lnTo>
                      <a:lnTo>
                        <a:pt x="769" y="257"/>
                      </a:lnTo>
                      <a:lnTo>
                        <a:pt x="764" y="257"/>
                      </a:lnTo>
                      <a:lnTo>
                        <a:pt x="764" y="257"/>
                      </a:lnTo>
                      <a:lnTo>
                        <a:pt x="764" y="264"/>
                      </a:lnTo>
                      <a:lnTo>
                        <a:pt x="764" y="268"/>
                      </a:lnTo>
                      <a:lnTo>
                        <a:pt x="758" y="268"/>
                      </a:lnTo>
                      <a:lnTo>
                        <a:pt x="754" y="268"/>
                      </a:lnTo>
                      <a:lnTo>
                        <a:pt x="754" y="262"/>
                      </a:lnTo>
                      <a:lnTo>
                        <a:pt x="754" y="255"/>
                      </a:lnTo>
                      <a:lnTo>
                        <a:pt x="754" y="248"/>
                      </a:lnTo>
                      <a:lnTo>
                        <a:pt x="754" y="242"/>
                      </a:lnTo>
                      <a:lnTo>
                        <a:pt x="760" y="240"/>
                      </a:lnTo>
                      <a:lnTo>
                        <a:pt x="764" y="236"/>
                      </a:lnTo>
                      <a:lnTo>
                        <a:pt x="764" y="236"/>
                      </a:lnTo>
                      <a:lnTo>
                        <a:pt x="766" y="236"/>
                      </a:lnTo>
                      <a:lnTo>
                        <a:pt x="766" y="236"/>
                      </a:lnTo>
                      <a:lnTo>
                        <a:pt x="767" y="235"/>
                      </a:lnTo>
                      <a:lnTo>
                        <a:pt x="769" y="233"/>
                      </a:lnTo>
                      <a:lnTo>
                        <a:pt x="769" y="233"/>
                      </a:lnTo>
                      <a:lnTo>
                        <a:pt x="771" y="231"/>
                      </a:lnTo>
                      <a:lnTo>
                        <a:pt x="771" y="231"/>
                      </a:lnTo>
                      <a:lnTo>
                        <a:pt x="773" y="229"/>
                      </a:lnTo>
                      <a:lnTo>
                        <a:pt x="775" y="227"/>
                      </a:lnTo>
                      <a:lnTo>
                        <a:pt x="775" y="227"/>
                      </a:lnTo>
                      <a:lnTo>
                        <a:pt x="775" y="225"/>
                      </a:lnTo>
                      <a:lnTo>
                        <a:pt x="775" y="224"/>
                      </a:lnTo>
                      <a:lnTo>
                        <a:pt x="775" y="224"/>
                      </a:lnTo>
                      <a:lnTo>
                        <a:pt x="777" y="218"/>
                      </a:lnTo>
                      <a:lnTo>
                        <a:pt x="777" y="218"/>
                      </a:lnTo>
                      <a:lnTo>
                        <a:pt x="777" y="212"/>
                      </a:lnTo>
                      <a:lnTo>
                        <a:pt x="777" y="212"/>
                      </a:lnTo>
                      <a:lnTo>
                        <a:pt x="773" y="211"/>
                      </a:lnTo>
                      <a:lnTo>
                        <a:pt x="771" y="211"/>
                      </a:lnTo>
                      <a:lnTo>
                        <a:pt x="767" y="209"/>
                      </a:lnTo>
                      <a:lnTo>
                        <a:pt x="764" y="209"/>
                      </a:lnTo>
                      <a:lnTo>
                        <a:pt x="760" y="209"/>
                      </a:lnTo>
                      <a:lnTo>
                        <a:pt x="760" y="205"/>
                      </a:lnTo>
                      <a:lnTo>
                        <a:pt x="760" y="201"/>
                      </a:lnTo>
                      <a:lnTo>
                        <a:pt x="760" y="196"/>
                      </a:lnTo>
                      <a:lnTo>
                        <a:pt x="760" y="194"/>
                      </a:lnTo>
                      <a:lnTo>
                        <a:pt x="766" y="192"/>
                      </a:lnTo>
                      <a:lnTo>
                        <a:pt x="775" y="192"/>
                      </a:lnTo>
                      <a:lnTo>
                        <a:pt x="782" y="190"/>
                      </a:lnTo>
                      <a:lnTo>
                        <a:pt x="789" y="188"/>
                      </a:lnTo>
                      <a:lnTo>
                        <a:pt x="795" y="187"/>
                      </a:lnTo>
                      <a:lnTo>
                        <a:pt x="795" y="187"/>
                      </a:lnTo>
                      <a:lnTo>
                        <a:pt x="802" y="185"/>
                      </a:lnTo>
                      <a:lnTo>
                        <a:pt x="810" y="183"/>
                      </a:lnTo>
                      <a:lnTo>
                        <a:pt x="815" y="181"/>
                      </a:lnTo>
                      <a:lnTo>
                        <a:pt x="830" y="176"/>
                      </a:lnTo>
                      <a:lnTo>
                        <a:pt x="843" y="172"/>
                      </a:lnTo>
                      <a:lnTo>
                        <a:pt x="856" y="166"/>
                      </a:lnTo>
                      <a:lnTo>
                        <a:pt x="871" y="159"/>
                      </a:lnTo>
                      <a:lnTo>
                        <a:pt x="873" y="157"/>
                      </a:lnTo>
                      <a:lnTo>
                        <a:pt x="874" y="157"/>
                      </a:lnTo>
                      <a:lnTo>
                        <a:pt x="884" y="152"/>
                      </a:lnTo>
                      <a:lnTo>
                        <a:pt x="889" y="148"/>
                      </a:lnTo>
                      <a:lnTo>
                        <a:pt x="893" y="146"/>
                      </a:lnTo>
                      <a:lnTo>
                        <a:pt x="895" y="146"/>
                      </a:lnTo>
                      <a:lnTo>
                        <a:pt x="897" y="146"/>
                      </a:lnTo>
                      <a:lnTo>
                        <a:pt x="898" y="146"/>
                      </a:lnTo>
                      <a:lnTo>
                        <a:pt x="898" y="148"/>
                      </a:lnTo>
                      <a:lnTo>
                        <a:pt x="897" y="150"/>
                      </a:lnTo>
                      <a:lnTo>
                        <a:pt x="895" y="150"/>
                      </a:lnTo>
                      <a:lnTo>
                        <a:pt x="893" y="152"/>
                      </a:lnTo>
                      <a:lnTo>
                        <a:pt x="893" y="152"/>
                      </a:lnTo>
                      <a:lnTo>
                        <a:pt x="893" y="153"/>
                      </a:lnTo>
                      <a:lnTo>
                        <a:pt x="889" y="153"/>
                      </a:lnTo>
                      <a:lnTo>
                        <a:pt x="884" y="155"/>
                      </a:lnTo>
                      <a:lnTo>
                        <a:pt x="880" y="157"/>
                      </a:lnTo>
                      <a:lnTo>
                        <a:pt x="876" y="159"/>
                      </a:lnTo>
                      <a:lnTo>
                        <a:pt x="876" y="159"/>
                      </a:lnTo>
                      <a:lnTo>
                        <a:pt x="874" y="159"/>
                      </a:lnTo>
                      <a:lnTo>
                        <a:pt x="873" y="161"/>
                      </a:lnTo>
                      <a:lnTo>
                        <a:pt x="867" y="163"/>
                      </a:lnTo>
                      <a:lnTo>
                        <a:pt x="861" y="165"/>
                      </a:lnTo>
                      <a:lnTo>
                        <a:pt x="861" y="165"/>
                      </a:lnTo>
                      <a:lnTo>
                        <a:pt x="860" y="170"/>
                      </a:lnTo>
                      <a:lnTo>
                        <a:pt x="860" y="176"/>
                      </a:lnTo>
                      <a:lnTo>
                        <a:pt x="858" y="181"/>
                      </a:lnTo>
                      <a:lnTo>
                        <a:pt x="858" y="187"/>
                      </a:lnTo>
                      <a:lnTo>
                        <a:pt x="858" y="188"/>
                      </a:lnTo>
                      <a:lnTo>
                        <a:pt x="863" y="190"/>
                      </a:lnTo>
                      <a:lnTo>
                        <a:pt x="863" y="190"/>
                      </a:lnTo>
                      <a:lnTo>
                        <a:pt x="869" y="192"/>
                      </a:lnTo>
                      <a:lnTo>
                        <a:pt x="869" y="192"/>
                      </a:lnTo>
                      <a:lnTo>
                        <a:pt x="876" y="177"/>
                      </a:lnTo>
                      <a:lnTo>
                        <a:pt x="880" y="168"/>
                      </a:lnTo>
                      <a:lnTo>
                        <a:pt x="880" y="166"/>
                      </a:lnTo>
                      <a:lnTo>
                        <a:pt x="882" y="166"/>
                      </a:lnTo>
                      <a:lnTo>
                        <a:pt x="884" y="166"/>
                      </a:lnTo>
                      <a:lnTo>
                        <a:pt x="884" y="166"/>
                      </a:lnTo>
                      <a:lnTo>
                        <a:pt x="884" y="168"/>
                      </a:lnTo>
                      <a:lnTo>
                        <a:pt x="884" y="174"/>
                      </a:lnTo>
                      <a:lnTo>
                        <a:pt x="884" y="177"/>
                      </a:lnTo>
                      <a:lnTo>
                        <a:pt x="884" y="181"/>
                      </a:lnTo>
                      <a:lnTo>
                        <a:pt x="884" y="181"/>
                      </a:lnTo>
                      <a:lnTo>
                        <a:pt x="887" y="183"/>
                      </a:lnTo>
                      <a:lnTo>
                        <a:pt x="887" y="183"/>
                      </a:lnTo>
                      <a:lnTo>
                        <a:pt x="891" y="185"/>
                      </a:lnTo>
                      <a:lnTo>
                        <a:pt x="895" y="185"/>
                      </a:lnTo>
                      <a:lnTo>
                        <a:pt x="897" y="187"/>
                      </a:lnTo>
                      <a:lnTo>
                        <a:pt x="897" y="188"/>
                      </a:lnTo>
                      <a:lnTo>
                        <a:pt x="897" y="188"/>
                      </a:lnTo>
                      <a:lnTo>
                        <a:pt x="897" y="190"/>
                      </a:lnTo>
                      <a:lnTo>
                        <a:pt x="895" y="192"/>
                      </a:lnTo>
                      <a:lnTo>
                        <a:pt x="895" y="194"/>
                      </a:lnTo>
                      <a:lnTo>
                        <a:pt x="893" y="194"/>
                      </a:lnTo>
                      <a:lnTo>
                        <a:pt x="891" y="196"/>
                      </a:lnTo>
                      <a:lnTo>
                        <a:pt x="887" y="198"/>
                      </a:lnTo>
                      <a:lnTo>
                        <a:pt x="884" y="200"/>
                      </a:lnTo>
                      <a:lnTo>
                        <a:pt x="884" y="200"/>
                      </a:lnTo>
                      <a:lnTo>
                        <a:pt x="889" y="203"/>
                      </a:lnTo>
                      <a:lnTo>
                        <a:pt x="895" y="207"/>
                      </a:lnTo>
                      <a:lnTo>
                        <a:pt x="900" y="211"/>
                      </a:lnTo>
                      <a:lnTo>
                        <a:pt x="906" y="214"/>
                      </a:lnTo>
                      <a:lnTo>
                        <a:pt x="908" y="214"/>
                      </a:lnTo>
                      <a:lnTo>
                        <a:pt x="909" y="201"/>
                      </a:lnTo>
                      <a:lnTo>
                        <a:pt x="909" y="188"/>
                      </a:lnTo>
                      <a:lnTo>
                        <a:pt x="911" y="177"/>
                      </a:lnTo>
                      <a:lnTo>
                        <a:pt x="911" y="177"/>
                      </a:lnTo>
                      <a:lnTo>
                        <a:pt x="913" y="163"/>
                      </a:lnTo>
                      <a:lnTo>
                        <a:pt x="911" y="165"/>
                      </a:lnTo>
                      <a:lnTo>
                        <a:pt x="909" y="165"/>
                      </a:lnTo>
                      <a:lnTo>
                        <a:pt x="909" y="165"/>
                      </a:lnTo>
                      <a:lnTo>
                        <a:pt x="909" y="166"/>
                      </a:lnTo>
                      <a:lnTo>
                        <a:pt x="909" y="166"/>
                      </a:lnTo>
                      <a:lnTo>
                        <a:pt x="908" y="166"/>
                      </a:lnTo>
                      <a:lnTo>
                        <a:pt x="908" y="166"/>
                      </a:lnTo>
                      <a:lnTo>
                        <a:pt x="908" y="170"/>
                      </a:lnTo>
                      <a:lnTo>
                        <a:pt x="908" y="170"/>
                      </a:lnTo>
                      <a:lnTo>
                        <a:pt x="906" y="172"/>
                      </a:lnTo>
                      <a:lnTo>
                        <a:pt x="906" y="172"/>
                      </a:lnTo>
                      <a:lnTo>
                        <a:pt x="904" y="176"/>
                      </a:lnTo>
                      <a:lnTo>
                        <a:pt x="904" y="177"/>
                      </a:lnTo>
                      <a:lnTo>
                        <a:pt x="904" y="177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0" y="174"/>
                      </a:lnTo>
                      <a:lnTo>
                        <a:pt x="898" y="168"/>
                      </a:lnTo>
                      <a:lnTo>
                        <a:pt x="897" y="163"/>
                      </a:lnTo>
                      <a:lnTo>
                        <a:pt x="897" y="157"/>
                      </a:lnTo>
                      <a:lnTo>
                        <a:pt x="897" y="155"/>
                      </a:lnTo>
                      <a:lnTo>
                        <a:pt x="898" y="153"/>
                      </a:lnTo>
                      <a:lnTo>
                        <a:pt x="898" y="153"/>
                      </a:lnTo>
                      <a:lnTo>
                        <a:pt x="900" y="153"/>
                      </a:lnTo>
                      <a:lnTo>
                        <a:pt x="902" y="152"/>
                      </a:lnTo>
                      <a:lnTo>
                        <a:pt x="902" y="150"/>
                      </a:lnTo>
                      <a:lnTo>
                        <a:pt x="904" y="148"/>
                      </a:lnTo>
                      <a:lnTo>
                        <a:pt x="904" y="148"/>
                      </a:lnTo>
                      <a:lnTo>
                        <a:pt x="906" y="142"/>
                      </a:lnTo>
                      <a:lnTo>
                        <a:pt x="908" y="139"/>
                      </a:lnTo>
                      <a:lnTo>
                        <a:pt x="915" y="135"/>
                      </a:lnTo>
                      <a:lnTo>
                        <a:pt x="924" y="131"/>
                      </a:lnTo>
                      <a:lnTo>
                        <a:pt x="932" y="126"/>
                      </a:lnTo>
                      <a:lnTo>
                        <a:pt x="941" y="122"/>
                      </a:lnTo>
                      <a:lnTo>
                        <a:pt x="946" y="120"/>
                      </a:lnTo>
                      <a:lnTo>
                        <a:pt x="950" y="118"/>
                      </a:lnTo>
                      <a:lnTo>
                        <a:pt x="956" y="117"/>
                      </a:lnTo>
                      <a:lnTo>
                        <a:pt x="961" y="117"/>
                      </a:lnTo>
                      <a:lnTo>
                        <a:pt x="965" y="115"/>
                      </a:lnTo>
                      <a:lnTo>
                        <a:pt x="969" y="115"/>
                      </a:lnTo>
                      <a:lnTo>
                        <a:pt x="974" y="115"/>
                      </a:lnTo>
                      <a:lnTo>
                        <a:pt x="978" y="115"/>
                      </a:lnTo>
                      <a:lnTo>
                        <a:pt x="980" y="118"/>
                      </a:lnTo>
                      <a:lnTo>
                        <a:pt x="980" y="122"/>
                      </a:lnTo>
                      <a:lnTo>
                        <a:pt x="981" y="128"/>
                      </a:lnTo>
                      <a:lnTo>
                        <a:pt x="981" y="131"/>
                      </a:lnTo>
                      <a:lnTo>
                        <a:pt x="978" y="133"/>
                      </a:lnTo>
                      <a:lnTo>
                        <a:pt x="974" y="135"/>
                      </a:lnTo>
                      <a:lnTo>
                        <a:pt x="970" y="137"/>
                      </a:lnTo>
                      <a:lnTo>
                        <a:pt x="967" y="139"/>
                      </a:lnTo>
                      <a:lnTo>
                        <a:pt x="965" y="141"/>
                      </a:lnTo>
                      <a:lnTo>
                        <a:pt x="970" y="142"/>
                      </a:lnTo>
                      <a:lnTo>
                        <a:pt x="974" y="146"/>
                      </a:lnTo>
                      <a:lnTo>
                        <a:pt x="974" y="146"/>
                      </a:lnTo>
                      <a:lnTo>
                        <a:pt x="989" y="139"/>
                      </a:lnTo>
                      <a:lnTo>
                        <a:pt x="996" y="135"/>
                      </a:lnTo>
                      <a:lnTo>
                        <a:pt x="1000" y="135"/>
                      </a:lnTo>
                      <a:lnTo>
                        <a:pt x="1002" y="133"/>
                      </a:lnTo>
                      <a:lnTo>
                        <a:pt x="1007" y="133"/>
                      </a:lnTo>
                      <a:lnTo>
                        <a:pt x="1011" y="133"/>
                      </a:lnTo>
                      <a:lnTo>
                        <a:pt x="1015" y="137"/>
                      </a:lnTo>
                      <a:lnTo>
                        <a:pt x="1018" y="142"/>
                      </a:lnTo>
                      <a:lnTo>
                        <a:pt x="1018" y="144"/>
                      </a:lnTo>
                      <a:lnTo>
                        <a:pt x="1024" y="139"/>
                      </a:lnTo>
                      <a:lnTo>
                        <a:pt x="1029" y="135"/>
                      </a:lnTo>
                      <a:lnTo>
                        <a:pt x="1035" y="133"/>
                      </a:lnTo>
                      <a:lnTo>
                        <a:pt x="1040" y="129"/>
                      </a:lnTo>
                      <a:lnTo>
                        <a:pt x="1050" y="131"/>
                      </a:lnTo>
                      <a:lnTo>
                        <a:pt x="1059" y="131"/>
                      </a:lnTo>
                      <a:lnTo>
                        <a:pt x="1059" y="131"/>
                      </a:lnTo>
                      <a:lnTo>
                        <a:pt x="1068" y="131"/>
                      </a:lnTo>
                      <a:lnTo>
                        <a:pt x="1076" y="131"/>
                      </a:lnTo>
                      <a:lnTo>
                        <a:pt x="1076" y="131"/>
                      </a:lnTo>
                      <a:lnTo>
                        <a:pt x="1079" y="129"/>
                      </a:lnTo>
                      <a:lnTo>
                        <a:pt x="1083" y="129"/>
                      </a:lnTo>
                      <a:lnTo>
                        <a:pt x="1083" y="129"/>
                      </a:lnTo>
                      <a:lnTo>
                        <a:pt x="1087" y="128"/>
                      </a:lnTo>
                      <a:lnTo>
                        <a:pt x="1088" y="126"/>
                      </a:lnTo>
                      <a:lnTo>
                        <a:pt x="1092" y="126"/>
                      </a:lnTo>
                      <a:lnTo>
                        <a:pt x="1092" y="126"/>
                      </a:lnTo>
                      <a:lnTo>
                        <a:pt x="1094" y="124"/>
                      </a:lnTo>
                      <a:lnTo>
                        <a:pt x="1094" y="124"/>
                      </a:lnTo>
                      <a:lnTo>
                        <a:pt x="1098" y="122"/>
                      </a:lnTo>
                      <a:lnTo>
                        <a:pt x="1098" y="122"/>
                      </a:lnTo>
                      <a:lnTo>
                        <a:pt x="1100" y="120"/>
                      </a:lnTo>
                      <a:lnTo>
                        <a:pt x="1101" y="118"/>
                      </a:lnTo>
                      <a:lnTo>
                        <a:pt x="1101" y="118"/>
                      </a:lnTo>
                      <a:lnTo>
                        <a:pt x="1105" y="117"/>
                      </a:lnTo>
                      <a:lnTo>
                        <a:pt x="1105" y="117"/>
                      </a:lnTo>
                      <a:lnTo>
                        <a:pt x="1107" y="113"/>
                      </a:lnTo>
                      <a:lnTo>
                        <a:pt x="1109" y="111"/>
                      </a:lnTo>
                      <a:lnTo>
                        <a:pt x="1109" y="111"/>
                      </a:lnTo>
                      <a:lnTo>
                        <a:pt x="1112" y="105"/>
                      </a:lnTo>
                      <a:lnTo>
                        <a:pt x="1112" y="105"/>
                      </a:lnTo>
                      <a:lnTo>
                        <a:pt x="1116" y="98"/>
                      </a:lnTo>
                      <a:lnTo>
                        <a:pt x="1118" y="91"/>
                      </a:lnTo>
                      <a:lnTo>
                        <a:pt x="1122" y="83"/>
                      </a:lnTo>
                      <a:lnTo>
                        <a:pt x="1124" y="74"/>
                      </a:lnTo>
                      <a:lnTo>
                        <a:pt x="1125" y="67"/>
                      </a:lnTo>
                      <a:lnTo>
                        <a:pt x="1131" y="67"/>
                      </a:lnTo>
                      <a:lnTo>
                        <a:pt x="1136" y="67"/>
                      </a:lnTo>
                      <a:lnTo>
                        <a:pt x="1136" y="67"/>
                      </a:lnTo>
                      <a:lnTo>
                        <a:pt x="1142" y="56"/>
                      </a:lnTo>
                      <a:lnTo>
                        <a:pt x="1148" y="48"/>
                      </a:lnTo>
                      <a:lnTo>
                        <a:pt x="1153" y="39"/>
                      </a:lnTo>
                      <a:lnTo>
                        <a:pt x="1159" y="32"/>
                      </a:lnTo>
                      <a:lnTo>
                        <a:pt x="1162" y="30"/>
                      </a:lnTo>
                      <a:lnTo>
                        <a:pt x="1166" y="26"/>
                      </a:lnTo>
                      <a:lnTo>
                        <a:pt x="1168" y="22"/>
                      </a:lnTo>
                      <a:lnTo>
                        <a:pt x="1172" y="21"/>
                      </a:lnTo>
                      <a:lnTo>
                        <a:pt x="1175" y="19"/>
                      </a:lnTo>
                      <a:lnTo>
                        <a:pt x="1179" y="15"/>
                      </a:lnTo>
                      <a:lnTo>
                        <a:pt x="1183" y="13"/>
                      </a:lnTo>
                      <a:lnTo>
                        <a:pt x="1186" y="11"/>
                      </a:lnTo>
                      <a:lnTo>
                        <a:pt x="1190" y="9"/>
                      </a:lnTo>
                      <a:lnTo>
                        <a:pt x="1194" y="9"/>
                      </a:lnTo>
                      <a:lnTo>
                        <a:pt x="1197" y="8"/>
                      </a:lnTo>
                      <a:lnTo>
                        <a:pt x="1201" y="6"/>
                      </a:lnTo>
                      <a:lnTo>
                        <a:pt x="1207" y="6"/>
                      </a:lnTo>
                      <a:lnTo>
                        <a:pt x="1210" y="4"/>
                      </a:lnTo>
                      <a:lnTo>
                        <a:pt x="1214" y="4"/>
                      </a:lnTo>
                      <a:lnTo>
                        <a:pt x="1218" y="4"/>
                      </a:lnTo>
                      <a:lnTo>
                        <a:pt x="1219" y="4"/>
                      </a:lnTo>
                      <a:lnTo>
                        <a:pt x="1223" y="4"/>
                      </a:lnTo>
                      <a:lnTo>
                        <a:pt x="1229" y="4"/>
                      </a:lnTo>
                      <a:lnTo>
                        <a:pt x="1232" y="4"/>
                      </a:lnTo>
                      <a:lnTo>
                        <a:pt x="1236" y="4"/>
                      </a:lnTo>
                      <a:lnTo>
                        <a:pt x="1247" y="6"/>
                      </a:lnTo>
                      <a:lnTo>
                        <a:pt x="1256" y="9"/>
                      </a:lnTo>
                      <a:lnTo>
                        <a:pt x="1262" y="17"/>
                      </a:lnTo>
                      <a:lnTo>
                        <a:pt x="1264" y="22"/>
                      </a:lnTo>
                      <a:lnTo>
                        <a:pt x="1267" y="28"/>
                      </a:lnTo>
                      <a:lnTo>
                        <a:pt x="1267" y="28"/>
                      </a:lnTo>
                      <a:lnTo>
                        <a:pt x="1269" y="32"/>
                      </a:lnTo>
                      <a:lnTo>
                        <a:pt x="1271" y="33"/>
                      </a:lnTo>
                      <a:lnTo>
                        <a:pt x="1271" y="33"/>
                      </a:lnTo>
                      <a:lnTo>
                        <a:pt x="1275" y="35"/>
                      </a:lnTo>
                      <a:lnTo>
                        <a:pt x="1275" y="35"/>
                      </a:lnTo>
                      <a:lnTo>
                        <a:pt x="1279" y="39"/>
                      </a:lnTo>
                      <a:lnTo>
                        <a:pt x="1282" y="41"/>
                      </a:lnTo>
                      <a:lnTo>
                        <a:pt x="1282" y="43"/>
                      </a:lnTo>
                      <a:lnTo>
                        <a:pt x="1291" y="37"/>
                      </a:lnTo>
                      <a:lnTo>
                        <a:pt x="1299" y="33"/>
                      </a:lnTo>
                      <a:lnTo>
                        <a:pt x="1306" y="28"/>
                      </a:lnTo>
                      <a:lnTo>
                        <a:pt x="1314" y="24"/>
                      </a:lnTo>
                      <a:lnTo>
                        <a:pt x="1319" y="28"/>
                      </a:lnTo>
                      <a:lnTo>
                        <a:pt x="1323" y="32"/>
                      </a:lnTo>
                      <a:lnTo>
                        <a:pt x="1323" y="32"/>
                      </a:lnTo>
                      <a:lnTo>
                        <a:pt x="1327" y="26"/>
                      </a:lnTo>
                      <a:lnTo>
                        <a:pt x="1330" y="22"/>
                      </a:lnTo>
                      <a:lnTo>
                        <a:pt x="1332" y="22"/>
                      </a:lnTo>
                      <a:lnTo>
                        <a:pt x="1332" y="24"/>
                      </a:lnTo>
                      <a:lnTo>
                        <a:pt x="1332" y="24"/>
                      </a:lnTo>
                      <a:lnTo>
                        <a:pt x="1339" y="26"/>
                      </a:lnTo>
                      <a:lnTo>
                        <a:pt x="1343" y="26"/>
                      </a:lnTo>
                      <a:lnTo>
                        <a:pt x="1345" y="28"/>
                      </a:lnTo>
                      <a:lnTo>
                        <a:pt x="1343" y="19"/>
                      </a:lnTo>
                      <a:lnTo>
                        <a:pt x="1343" y="19"/>
                      </a:lnTo>
                      <a:lnTo>
                        <a:pt x="1341" y="11"/>
                      </a:lnTo>
                      <a:lnTo>
                        <a:pt x="1341" y="6"/>
                      </a:lnTo>
                      <a:lnTo>
                        <a:pt x="1339" y="0"/>
                      </a:lnTo>
                      <a:lnTo>
                        <a:pt x="1347" y="0"/>
                      </a:lnTo>
                      <a:lnTo>
                        <a:pt x="13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0" name="Freeform 3124"/>
                <p:cNvSpPr>
                  <a:spLocks/>
                </p:cNvSpPr>
                <p:nvPr/>
              </p:nvSpPr>
              <p:spPr bwMode="auto">
                <a:xfrm>
                  <a:off x="3328" y="845"/>
                  <a:ext cx="1487" cy="1646"/>
                </a:xfrm>
                <a:custGeom>
                  <a:avLst/>
                  <a:gdLst>
                    <a:gd name="T0" fmla="*/ 1177 w 1487"/>
                    <a:gd name="T1" fmla="*/ 15 h 1646"/>
                    <a:gd name="T2" fmla="*/ 998 w 1487"/>
                    <a:gd name="T3" fmla="*/ 133 h 1646"/>
                    <a:gd name="T4" fmla="*/ 902 w 1487"/>
                    <a:gd name="T5" fmla="*/ 181 h 1646"/>
                    <a:gd name="T6" fmla="*/ 882 w 1487"/>
                    <a:gd name="T7" fmla="*/ 165 h 1646"/>
                    <a:gd name="T8" fmla="*/ 808 w 1487"/>
                    <a:gd name="T9" fmla="*/ 181 h 1646"/>
                    <a:gd name="T10" fmla="*/ 775 w 1487"/>
                    <a:gd name="T11" fmla="*/ 279 h 1646"/>
                    <a:gd name="T12" fmla="*/ 718 w 1487"/>
                    <a:gd name="T13" fmla="*/ 345 h 1646"/>
                    <a:gd name="T14" fmla="*/ 548 w 1487"/>
                    <a:gd name="T15" fmla="*/ 419 h 1646"/>
                    <a:gd name="T16" fmla="*/ 513 w 1487"/>
                    <a:gd name="T17" fmla="*/ 334 h 1646"/>
                    <a:gd name="T18" fmla="*/ 415 w 1487"/>
                    <a:gd name="T19" fmla="*/ 327 h 1646"/>
                    <a:gd name="T20" fmla="*/ 378 w 1487"/>
                    <a:gd name="T21" fmla="*/ 390 h 1646"/>
                    <a:gd name="T22" fmla="*/ 149 w 1487"/>
                    <a:gd name="T23" fmla="*/ 406 h 1646"/>
                    <a:gd name="T24" fmla="*/ 77 w 1487"/>
                    <a:gd name="T25" fmla="*/ 463 h 1646"/>
                    <a:gd name="T26" fmla="*/ 97 w 1487"/>
                    <a:gd name="T27" fmla="*/ 670 h 1646"/>
                    <a:gd name="T28" fmla="*/ 18 w 1487"/>
                    <a:gd name="T29" fmla="*/ 938 h 1646"/>
                    <a:gd name="T30" fmla="*/ 33 w 1487"/>
                    <a:gd name="T31" fmla="*/ 1115 h 1646"/>
                    <a:gd name="T32" fmla="*/ 155 w 1487"/>
                    <a:gd name="T33" fmla="*/ 1222 h 1646"/>
                    <a:gd name="T34" fmla="*/ 230 w 1487"/>
                    <a:gd name="T35" fmla="*/ 1410 h 1646"/>
                    <a:gd name="T36" fmla="*/ 324 w 1487"/>
                    <a:gd name="T37" fmla="*/ 1517 h 1646"/>
                    <a:gd name="T38" fmla="*/ 400 w 1487"/>
                    <a:gd name="T39" fmla="*/ 1466 h 1646"/>
                    <a:gd name="T40" fmla="*/ 579 w 1487"/>
                    <a:gd name="T41" fmla="*/ 1473 h 1646"/>
                    <a:gd name="T42" fmla="*/ 677 w 1487"/>
                    <a:gd name="T43" fmla="*/ 1639 h 1646"/>
                    <a:gd name="T44" fmla="*/ 969 w 1487"/>
                    <a:gd name="T45" fmla="*/ 1641 h 1646"/>
                    <a:gd name="T46" fmla="*/ 1157 w 1487"/>
                    <a:gd name="T47" fmla="*/ 1532 h 1646"/>
                    <a:gd name="T48" fmla="*/ 1131 w 1487"/>
                    <a:gd name="T49" fmla="*/ 1379 h 1646"/>
                    <a:gd name="T50" fmla="*/ 1255 w 1487"/>
                    <a:gd name="T51" fmla="*/ 1143 h 1646"/>
                    <a:gd name="T52" fmla="*/ 1280 w 1487"/>
                    <a:gd name="T53" fmla="*/ 886 h 1646"/>
                    <a:gd name="T54" fmla="*/ 1328 w 1487"/>
                    <a:gd name="T55" fmla="*/ 733 h 1646"/>
                    <a:gd name="T56" fmla="*/ 1375 w 1487"/>
                    <a:gd name="T57" fmla="*/ 559 h 1646"/>
                    <a:gd name="T58" fmla="*/ 1419 w 1487"/>
                    <a:gd name="T59" fmla="*/ 412 h 1646"/>
                    <a:gd name="T60" fmla="*/ 1474 w 1487"/>
                    <a:gd name="T61" fmla="*/ 301 h 1646"/>
                    <a:gd name="T62" fmla="*/ 1423 w 1487"/>
                    <a:gd name="T63" fmla="*/ 320 h 1646"/>
                    <a:gd name="T64" fmla="*/ 1421 w 1487"/>
                    <a:gd name="T65" fmla="*/ 463 h 1646"/>
                    <a:gd name="T66" fmla="*/ 1369 w 1487"/>
                    <a:gd name="T67" fmla="*/ 567 h 1646"/>
                    <a:gd name="T68" fmla="*/ 1360 w 1487"/>
                    <a:gd name="T69" fmla="*/ 766 h 1646"/>
                    <a:gd name="T70" fmla="*/ 1243 w 1487"/>
                    <a:gd name="T71" fmla="*/ 877 h 1646"/>
                    <a:gd name="T72" fmla="*/ 1249 w 1487"/>
                    <a:gd name="T73" fmla="*/ 1155 h 1646"/>
                    <a:gd name="T74" fmla="*/ 1116 w 1487"/>
                    <a:gd name="T75" fmla="*/ 1427 h 1646"/>
                    <a:gd name="T76" fmla="*/ 1101 w 1487"/>
                    <a:gd name="T77" fmla="*/ 1574 h 1646"/>
                    <a:gd name="T78" fmla="*/ 895 w 1487"/>
                    <a:gd name="T79" fmla="*/ 1643 h 1646"/>
                    <a:gd name="T80" fmla="*/ 660 w 1487"/>
                    <a:gd name="T81" fmla="*/ 1615 h 1646"/>
                    <a:gd name="T82" fmla="*/ 557 w 1487"/>
                    <a:gd name="T83" fmla="*/ 1464 h 1646"/>
                    <a:gd name="T84" fmla="*/ 382 w 1487"/>
                    <a:gd name="T85" fmla="*/ 1486 h 1646"/>
                    <a:gd name="T86" fmla="*/ 300 w 1487"/>
                    <a:gd name="T87" fmla="*/ 1537 h 1646"/>
                    <a:gd name="T88" fmla="*/ 193 w 1487"/>
                    <a:gd name="T89" fmla="*/ 1340 h 1646"/>
                    <a:gd name="T90" fmla="*/ 121 w 1487"/>
                    <a:gd name="T91" fmla="*/ 1176 h 1646"/>
                    <a:gd name="T92" fmla="*/ 33 w 1487"/>
                    <a:gd name="T93" fmla="*/ 1023 h 1646"/>
                    <a:gd name="T94" fmla="*/ 7 w 1487"/>
                    <a:gd name="T95" fmla="*/ 773 h 1646"/>
                    <a:gd name="T96" fmla="*/ 129 w 1487"/>
                    <a:gd name="T97" fmla="*/ 545 h 1646"/>
                    <a:gd name="T98" fmla="*/ 75 w 1487"/>
                    <a:gd name="T99" fmla="*/ 408 h 1646"/>
                    <a:gd name="T100" fmla="*/ 264 w 1487"/>
                    <a:gd name="T101" fmla="*/ 390 h 1646"/>
                    <a:gd name="T102" fmla="*/ 383 w 1487"/>
                    <a:gd name="T103" fmla="*/ 321 h 1646"/>
                    <a:gd name="T104" fmla="*/ 443 w 1487"/>
                    <a:gd name="T105" fmla="*/ 325 h 1646"/>
                    <a:gd name="T106" fmla="*/ 533 w 1487"/>
                    <a:gd name="T107" fmla="*/ 375 h 1646"/>
                    <a:gd name="T108" fmla="*/ 609 w 1487"/>
                    <a:gd name="T109" fmla="*/ 462 h 1646"/>
                    <a:gd name="T110" fmla="*/ 769 w 1487"/>
                    <a:gd name="T111" fmla="*/ 336 h 1646"/>
                    <a:gd name="T112" fmla="*/ 754 w 1487"/>
                    <a:gd name="T113" fmla="*/ 262 h 1646"/>
                    <a:gd name="T114" fmla="*/ 889 w 1487"/>
                    <a:gd name="T115" fmla="*/ 148 h 1646"/>
                    <a:gd name="T116" fmla="*/ 895 w 1487"/>
                    <a:gd name="T117" fmla="*/ 192 h 1646"/>
                    <a:gd name="T118" fmla="*/ 915 w 1487"/>
                    <a:gd name="T119" fmla="*/ 135 h 1646"/>
                    <a:gd name="T120" fmla="*/ 1092 w 1487"/>
                    <a:gd name="T121" fmla="*/ 126 h 1646"/>
                    <a:gd name="T122" fmla="*/ 1256 w 1487"/>
                    <a:gd name="T123" fmla="*/ 9 h 16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87" h="1646">
                      <a:moveTo>
                        <a:pt x="1338" y="0"/>
                      </a:moveTo>
                      <a:lnTo>
                        <a:pt x="1339" y="6"/>
                      </a:lnTo>
                      <a:lnTo>
                        <a:pt x="1341" y="13"/>
                      </a:lnTo>
                      <a:lnTo>
                        <a:pt x="1341" y="19"/>
                      </a:lnTo>
                      <a:lnTo>
                        <a:pt x="1343" y="24"/>
                      </a:lnTo>
                      <a:lnTo>
                        <a:pt x="1339" y="24"/>
                      </a:lnTo>
                      <a:lnTo>
                        <a:pt x="1339" y="24"/>
                      </a:lnTo>
                      <a:lnTo>
                        <a:pt x="1334" y="22"/>
                      </a:lnTo>
                      <a:lnTo>
                        <a:pt x="1332" y="21"/>
                      </a:lnTo>
                      <a:lnTo>
                        <a:pt x="1330" y="21"/>
                      </a:lnTo>
                      <a:lnTo>
                        <a:pt x="1330" y="21"/>
                      </a:lnTo>
                      <a:lnTo>
                        <a:pt x="1327" y="26"/>
                      </a:lnTo>
                      <a:lnTo>
                        <a:pt x="1323" y="30"/>
                      </a:lnTo>
                      <a:lnTo>
                        <a:pt x="1319" y="26"/>
                      </a:lnTo>
                      <a:lnTo>
                        <a:pt x="1319" y="26"/>
                      </a:lnTo>
                      <a:lnTo>
                        <a:pt x="1314" y="22"/>
                      </a:lnTo>
                      <a:lnTo>
                        <a:pt x="1314" y="22"/>
                      </a:lnTo>
                      <a:lnTo>
                        <a:pt x="1306" y="28"/>
                      </a:lnTo>
                      <a:lnTo>
                        <a:pt x="1299" y="32"/>
                      </a:lnTo>
                      <a:lnTo>
                        <a:pt x="1290" y="35"/>
                      </a:lnTo>
                      <a:lnTo>
                        <a:pt x="1282" y="41"/>
                      </a:lnTo>
                      <a:lnTo>
                        <a:pt x="1279" y="37"/>
                      </a:lnTo>
                      <a:lnTo>
                        <a:pt x="1275" y="35"/>
                      </a:lnTo>
                      <a:lnTo>
                        <a:pt x="1273" y="32"/>
                      </a:lnTo>
                      <a:lnTo>
                        <a:pt x="1271" y="30"/>
                      </a:lnTo>
                      <a:lnTo>
                        <a:pt x="1267" y="26"/>
                      </a:lnTo>
                      <a:lnTo>
                        <a:pt x="1266" y="22"/>
                      </a:lnTo>
                      <a:lnTo>
                        <a:pt x="1262" y="17"/>
                      </a:lnTo>
                      <a:lnTo>
                        <a:pt x="1258" y="8"/>
                      </a:lnTo>
                      <a:lnTo>
                        <a:pt x="1247" y="6"/>
                      </a:lnTo>
                      <a:lnTo>
                        <a:pt x="1238" y="4"/>
                      </a:lnTo>
                      <a:lnTo>
                        <a:pt x="1232" y="2"/>
                      </a:lnTo>
                      <a:lnTo>
                        <a:pt x="1229" y="2"/>
                      </a:lnTo>
                      <a:lnTo>
                        <a:pt x="1223" y="2"/>
                      </a:lnTo>
                      <a:lnTo>
                        <a:pt x="1223" y="2"/>
                      </a:lnTo>
                      <a:lnTo>
                        <a:pt x="1218" y="2"/>
                      </a:lnTo>
                      <a:lnTo>
                        <a:pt x="1214" y="2"/>
                      </a:lnTo>
                      <a:lnTo>
                        <a:pt x="1214" y="2"/>
                      </a:lnTo>
                      <a:lnTo>
                        <a:pt x="1210" y="4"/>
                      </a:lnTo>
                      <a:lnTo>
                        <a:pt x="1205" y="4"/>
                      </a:lnTo>
                      <a:lnTo>
                        <a:pt x="1201" y="4"/>
                      </a:lnTo>
                      <a:lnTo>
                        <a:pt x="1201" y="4"/>
                      </a:lnTo>
                      <a:lnTo>
                        <a:pt x="1197" y="6"/>
                      </a:lnTo>
                      <a:lnTo>
                        <a:pt x="1194" y="8"/>
                      </a:lnTo>
                      <a:lnTo>
                        <a:pt x="1190" y="8"/>
                      </a:lnTo>
                      <a:lnTo>
                        <a:pt x="1190" y="9"/>
                      </a:lnTo>
                      <a:lnTo>
                        <a:pt x="1184" y="11"/>
                      </a:lnTo>
                      <a:lnTo>
                        <a:pt x="1183" y="13"/>
                      </a:lnTo>
                      <a:lnTo>
                        <a:pt x="1177" y="15"/>
                      </a:lnTo>
                      <a:lnTo>
                        <a:pt x="1175" y="17"/>
                      </a:lnTo>
                      <a:lnTo>
                        <a:pt x="1172" y="19"/>
                      </a:lnTo>
                      <a:lnTo>
                        <a:pt x="1168" y="22"/>
                      </a:lnTo>
                      <a:lnTo>
                        <a:pt x="1168" y="22"/>
                      </a:lnTo>
                      <a:lnTo>
                        <a:pt x="1164" y="24"/>
                      </a:lnTo>
                      <a:lnTo>
                        <a:pt x="1160" y="28"/>
                      </a:lnTo>
                      <a:lnTo>
                        <a:pt x="1160" y="28"/>
                      </a:lnTo>
                      <a:lnTo>
                        <a:pt x="1159" y="32"/>
                      </a:lnTo>
                      <a:lnTo>
                        <a:pt x="1151" y="39"/>
                      </a:lnTo>
                      <a:lnTo>
                        <a:pt x="1146" y="46"/>
                      </a:lnTo>
                      <a:lnTo>
                        <a:pt x="1140" y="56"/>
                      </a:lnTo>
                      <a:lnTo>
                        <a:pt x="1136" y="65"/>
                      </a:lnTo>
                      <a:lnTo>
                        <a:pt x="1131" y="65"/>
                      </a:lnTo>
                      <a:lnTo>
                        <a:pt x="1125" y="65"/>
                      </a:lnTo>
                      <a:lnTo>
                        <a:pt x="1124" y="65"/>
                      </a:lnTo>
                      <a:lnTo>
                        <a:pt x="1122" y="74"/>
                      </a:lnTo>
                      <a:lnTo>
                        <a:pt x="1120" y="83"/>
                      </a:lnTo>
                      <a:lnTo>
                        <a:pt x="1116" y="91"/>
                      </a:lnTo>
                      <a:lnTo>
                        <a:pt x="1114" y="98"/>
                      </a:lnTo>
                      <a:lnTo>
                        <a:pt x="1111" y="104"/>
                      </a:lnTo>
                      <a:lnTo>
                        <a:pt x="1107" y="109"/>
                      </a:lnTo>
                      <a:lnTo>
                        <a:pt x="1105" y="113"/>
                      </a:lnTo>
                      <a:lnTo>
                        <a:pt x="1103" y="115"/>
                      </a:lnTo>
                      <a:lnTo>
                        <a:pt x="1101" y="117"/>
                      </a:lnTo>
                      <a:lnTo>
                        <a:pt x="1100" y="118"/>
                      </a:lnTo>
                      <a:lnTo>
                        <a:pt x="1096" y="120"/>
                      </a:lnTo>
                      <a:lnTo>
                        <a:pt x="1094" y="122"/>
                      </a:lnTo>
                      <a:lnTo>
                        <a:pt x="1090" y="124"/>
                      </a:lnTo>
                      <a:lnTo>
                        <a:pt x="1088" y="126"/>
                      </a:lnTo>
                      <a:lnTo>
                        <a:pt x="1085" y="126"/>
                      </a:lnTo>
                      <a:lnTo>
                        <a:pt x="1083" y="128"/>
                      </a:lnTo>
                      <a:lnTo>
                        <a:pt x="1079" y="128"/>
                      </a:lnTo>
                      <a:lnTo>
                        <a:pt x="1076" y="129"/>
                      </a:lnTo>
                      <a:lnTo>
                        <a:pt x="1068" y="129"/>
                      </a:lnTo>
                      <a:lnTo>
                        <a:pt x="1059" y="129"/>
                      </a:lnTo>
                      <a:lnTo>
                        <a:pt x="1052" y="129"/>
                      </a:lnTo>
                      <a:lnTo>
                        <a:pt x="1040" y="128"/>
                      </a:lnTo>
                      <a:lnTo>
                        <a:pt x="1035" y="131"/>
                      </a:lnTo>
                      <a:lnTo>
                        <a:pt x="1035" y="131"/>
                      </a:lnTo>
                      <a:lnTo>
                        <a:pt x="1029" y="135"/>
                      </a:lnTo>
                      <a:lnTo>
                        <a:pt x="1024" y="139"/>
                      </a:lnTo>
                      <a:lnTo>
                        <a:pt x="1018" y="141"/>
                      </a:lnTo>
                      <a:lnTo>
                        <a:pt x="1015" y="137"/>
                      </a:lnTo>
                      <a:lnTo>
                        <a:pt x="1013" y="131"/>
                      </a:lnTo>
                      <a:lnTo>
                        <a:pt x="1011" y="131"/>
                      </a:lnTo>
                      <a:lnTo>
                        <a:pt x="1007" y="131"/>
                      </a:lnTo>
                      <a:lnTo>
                        <a:pt x="1002" y="133"/>
                      </a:lnTo>
                      <a:lnTo>
                        <a:pt x="1002" y="133"/>
                      </a:lnTo>
                      <a:lnTo>
                        <a:pt x="998" y="133"/>
                      </a:lnTo>
                      <a:lnTo>
                        <a:pt x="998" y="133"/>
                      </a:lnTo>
                      <a:lnTo>
                        <a:pt x="996" y="135"/>
                      </a:lnTo>
                      <a:lnTo>
                        <a:pt x="987" y="139"/>
                      </a:lnTo>
                      <a:lnTo>
                        <a:pt x="974" y="144"/>
                      </a:lnTo>
                      <a:lnTo>
                        <a:pt x="970" y="142"/>
                      </a:lnTo>
                      <a:lnTo>
                        <a:pt x="969" y="141"/>
                      </a:lnTo>
                      <a:lnTo>
                        <a:pt x="970" y="139"/>
                      </a:lnTo>
                      <a:lnTo>
                        <a:pt x="974" y="137"/>
                      </a:lnTo>
                      <a:lnTo>
                        <a:pt x="980" y="133"/>
                      </a:lnTo>
                      <a:lnTo>
                        <a:pt x="983" y="131"/>
                      </a:lnTo>
                      <a:lnTo>
                        <a:pt x="983" y="131"/>
                      </a:lnTo>
                      <a:lnTo>
                        <a:pt x="983" y="126"/>
                      </a:lnTo>
                      <a:lnTo>
                        <a:pt x="981" y="122"/>
                      </a:lnTo>
                      <a:lnTo>
                        <a:pt x="980" y="118"/>
                      </a:lnTo>
                      <a:lnTo>
                        <a:pt x="980" y="113"/>
                      </a:lnTo>
                      <a:lnTo>
                        <a:pt x="980" y="113"/>
                      </a:lnTo>
                      <a:lnTo>
                        <a:pt x="974" y="113"/>
                      </a:lnTo>
                      <a:lnTo>
                        <a:pt x="969" y="113"/>
                      </a:lnTo>
                      <a:lnTo>
                        <a:pt x="969" y="113"/>
                      </a:lnTo>
                      <a:lnTo>
                        <a:pt x="965" y="113"/>
                      </a:lnTo>
                      <a:lnTo>
                        <a:pt x="965" y="113"/>
                      </a:lnTo>
                      <a:lnTo>
                        <a:pt x="959" y="115"/>
                      </a:lnTo>
                      <a:lnTo>
                        <a:pt x="956" y="115"/>
                      </a:lnTo>
                      <a:lnTo>
                        <a:pt x="950" y="117"/>
                      </a:lnTo>
                      <a:lnTo>
                        <a:pt x="946" y="118"/>
                      </a:lnTo>
                      <a:lnTo>
                        <a:pt x="946" y="118"/>
                      </a:lnTo>
                      <a:lnTo>
                        <a:pt x="941" y="120"/>
                      </a:lnTo>
                      <a:lnTo>
                        <a:pt x="932" y="124"/>
                      </a:lnTo>
                      <a:lnTo>
                        <a:pt x="922" y="129"/>
                      </a:lnTo>
                      <a:lnTo>
                        <a:pt x="915" y="133"/>
                      </a:lnTo>
                      <a:lnTo>
                        <a:pt x="906" y="137"/>
                      </a:lnTo>
                      <a:lnTo>
                        <a:pt x="904" y="142"/>
                      </a:lnTo>
                      <a:lnTo>
                        <a:pt x="904" y="142"/>
                      </a:lnTo>
                      <a:lnTo>
                        <a:pt x="904" y="148"/>
                      </a:lnTo>
                      <a:lnTo>
                        <a:pt x="902" y="150"/>
                      </a:lnTo>
                      <a:lnTo>
                        <a:pt x="900" y="150"/>
                      </a:lnTo>
                      <a:lnTo>
                        <a:pt x="898" y="152"/>
                      </a:lnTo>
                      <a:lnTo>
                        <a:pt x="898" y="152"/>
                      </a:lnTo>
                      <a:lnTo>
                        <a:pt x="898" y="153"/>
                      </a:lnTo>
                      <a:lnTo>
                        <a:pt x="897" y="153"/>
                      </a:lnTo>
                      <a:lnTo>
                        <a:pt x="897" y="153"/>
                      </a:lnTo>
                      <a:lnTo>
                        <a:pt x="895" y="155"/>
                      </a:lnTo>
                      <a:lnTo>
                        <a:pt x="895" y="155"/>
                      </a:lnTo>
                      <a:lnTo>
                        <a:pt x="897" y="163"/>
                      </a:lnTo>
                      <a:lnTo>
                        <a:pt x="897" y="168"/>
                      </a:lnTo>
                      <a:lnTo>
                        <a:pt x="898" y="176"/>
                      </a:lnTo>
                      <a:lnTo>
                        <a:pt x="900" y="181"/>
                      </a:lnTo>
                      <a:lnTo>
                        <a:pt x="900" y="181"/>
                      </a:lnTo>
                      <a:lnTo>
                        <a:pt x="902" y="181"/>
                      </a:lnTo>
                      <a:lnTo>
                        <a:pt x="902" y="181"/>
                      </a:lnTo>
                      <a:lnTo>
                        <a:pt x="904" y="181"/>
                      </a:lnTo>
                      <a:lnTo>
                        <a:pt x="904" y="181"/>
                      </a:lnTo>
                      <a:lnTo>
                        <a:pt x="904" y="179"/>
                      </a:lnTo>
                      <a:lnTo>
                        <a:pt x="904" y="179"/>
                      </a:lnTo>
                      <a:lnTo>
                        <a:pt x="904" y="179"/>
                      </a:lnTo>
                      <a:lnTo>
                        <a:pt x="906" y="176"/>
                      </a:lnTo>
                      <a:lnTo>
                        <a:pt x="906" y="176"/>
                      </a:lnTo>
                      <a:lnTo>
                        <a:pt x="908" y="174"/>
                      </a:lnTo>
                      <a:lnTo>
                        <a:pt x="908" y="170"/>
                      </a:lnTo>
                      <a:lnTo>
                        <a:pt x="909" y="168"/>
                      </a:lnTo>
                      <a:lnTo>
                        <a:pt x="909" y="166"/>
                      </a:lnTo>
                      <a:lnTo>
                        <a:pt x="911" y="166"/>
                      </a:lnTo>
                      <a:lnTo>
                        <a:pt x="911" y="166"/>
                      </a:lnTo>
                      <a:lnTo>
                        <a:pt x="909" y="177"/>
                      </a:lnTo>
                      <a:lnTo>
                        <a:pt x="908" y="188"/>
                      </a:lnTo>
                      <a:lnTo>
                        <a:pt x="908" y="201"/>
                      </a:lnTo>
                      <a:lnTo>
                        <a:pt x="906" y="212"/>
                      </a:lnTo>
                      <a:lnTo>
                        <a:pt x="902" y="209"/>
                      </a:lnTo>
                      <a:lnTo>
                        <a:pt x="897" y="205"/>
                      </a:lnTo>
                      <a:lnTo>
                        <a:pt x="891" y="203"/>
                      </a:lnTo>
                      <a:lnTo>
                        <a:pt x="891" y="201"/>
                      </a:lnTo>
                      <a:lnTo>
                        <a:pt x="885" y="200"/>
                      </a:lnTo>
                      <a:lnTo>
                        <a:pt x="889" y="200"/>
                      </a:lnTo>
                      <a:lnTo>
                        <a:pt x="891" y="198"/>
                      </a:lnTo>
                      <a:lnTo>
                        <a:pt x="893" y="196"/>
                      </a:lnTo>
                      <a:lnTo>
                        <a:pt x="893" y="196"/>
                      </a:lnTo>
                      <a:lnTo>
                        <a:pt x="895" y="194"/>
                      </a:lnTo>
                      <a:lnTo>
                        <a:pt x="895" y="194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7" y="192"/>
                      </a:lnTo>
                      <a:lnTo>
                        <a:pt x="898" y="188"/>
                      </a:lnTo>
                      <a:lnTo>
                        <a:pt x="898" y="187"/>
                      </a:lnTo>
                      <a:lnTo>
                        <a:pt x="898" y="185"/>
                      </a:lnTo>
                      <a:lnTo>
                        <a:pt x="895" y="185"/>
                      </a:lnTo>
                      <a:lnTo>
                        <a:pt x="891" y="183"/>
                      </a:lnTo>
                      <a:lnTo>
                        <a:pt x="887" y="181"/>
                      </a:lnTo>
                      <a:lnTo>
                        <a:pt x="885" y="181"/>
                      </a:lnTo>
                      <a:lnTo>
                        <a:pt x="885" y="177"/>
                      </a:lnTo>
                      <a:lnTo>
                        <a:pt x="885" y="174"/>
                      </a:lnTo>
                      <a:lnTo>
                        <a:pt x="885" y="168"/>
                      </a:lnTo>
                      <a:lnTo>
                        <a:pt x="885" y="165"/>
                      </a:lnTo>
                      <a:lnTo>
                        <a:pt x="885" y="165"/>
                      </a:lnTo>
                      <a:lnTo>
                        <a:pt x="884" y="165"/>
                      </a:lnTo>
                      <a:lnTo>
                        <a:pt x="882" y="165"/>
                      </a:lnTo>
                      <a:lnTo>
                        <a:pt x="882" y="165"/>
                      </a:lnTo>
                      <a:lnTo>
                        <a:pt x="882" y="165"/>
                      </a:lnTo>
                      <a:lnTo>
                        <a:pt x="880" y="166"/>
                      </a:lnTo>
                      <a:lnTo>
                        <a:pt x="880" y="166"/>
                      </a:lnTo>
                      <a:lnTo>
                        <a:pt x="878" y="168"/>
                      </a:lnTo>
                      <a:lnTo>
                        <a:pt x="878" y="168"/>
                      </a:lnTo>
                      <a:lnTo>
                        <a:pt x="874" y="176"/>
                      </a:lnTo>
                      <a:lnTo>
                        <a:pt x="867" y="190"/>
                      </a:lnTo>
                      <a:lnTo>
                        <a:pt x="863" y="188"/>
                      </a:lnTo>
                      <a:lnTo>
                        <a:pt x="860" y="187"/>
                      </a:lnTo>
                      <a:lnTo>
                        <a:pt x="860" y="181"/>
                      </a:lnTo>
                      <a:lnTo>
                        <a:pt x="861" y="176"/>
                      </a:lnTo>
                      <a:lnTo>
                        <a:pt x="861" y="170"/>
                      </a:lnTo>
                      <a:lnTo>
                        <a:pt x="863" y="166"/>
                      </a:lnTo>
                      <a:lnTo>
                        <a:pt x="867" y="165"/>
                      </a:lnTo>
                      <a:lnTo>
                        <a:pt x="873" y="163"/>
                      </a:lnTo>
                      <a:lnTo>
                        <a:pt x="873" y="163"/>
                      </a:lnTo>
                      <a:lnTo>
                        <a:pt x="876" y="161"/>
                      </a:lnTo>
                      <a:lnTo>
                        <a:pt x="876" y="159"/>
                      </a:lnTo>
                      <a:lnTo>
                        <a:pt x="880" y="159"/>
                      </a:lnTo>
                      <a:lnTo>
                        <a:pt x="884" y="157"/>
                      </a:lnTo>
                      <a:lnTo>
                        <a:pt x="884" y="157"/>
                      </a:lnTo>
                      <a:lnTo>
                        <a:pt x="889" y="155"/>
                      </a:lnTo>
                      <a:lnTo>
                        <a:pt x="893" y="153"/>
                      </a:lnTo>
                      <a:lnTo>
                        <a:pt x="893" y="153"/>
                      </a:lnTo>
                      <a:lnTo>
                        <a:pt x="895" y="153"/>
                      </a:lnTo>
                      <a:lnTo>
                        <a:pt x="897" y="152"/>
                      </a:lnTo>
                      <a:lnTo>
                        <a:pt x="897" y="152"/>
                      </a:lnTo>
                      <a:lnTo>
                        <a:pt x="897" y="150"/>
                      </a:lnTo>
                      <a:lnTo>
                        <a:pt x="898" y="148"/>
                      </a:lnTo>
                      <a:lnTo>
                        <a:pt x="898" y="148"/>
                      </a:lnTo>
                      <a:lnTo>
                        <a:pt x="900" y="146"/>
                      </a:lnTo>
                      <a:lnTo>
                        <a:pt x="900" y="146"/>
                      </a:lnTo>
                      <a:lnTo>
                        <a:pt x="902" y="144"/>
                      </a:lnTo>
                      <a:lnTo>
                        <a:pt x="897" y="144"/>
                      </a:lnTo>
                      <a:lnTo>
                        <a:pt x="897" y="144"/>
                      </a:lnTo>
                      <a:lnTo>
                        <a:pt x="895" y="144"/>
                      </a:lnTo>
                      <a:lnTo>
                        <a:pt x="891" y="146"/>
                      </a:lnTo>
                      <a:lnTo>
                        <a:pt x="891" y="146"/>
                      </a:lnTo>
                      <a:lnTo>
                        <a:pt x="889" y="146"/>
                      </a:lnTo>
                      <a:lnTo>
                        <a:pt x="889" y="146"/>
                      </a:lnTo>
                      <a:lnTo>
                        <a:pt x="882" y="150"/>
                      </a:lnTo>
                      <a:lnTo>
                        <a:pt x="873" y="155"/>
                      </a:lnTo>
                      <a:lnTo>
                        <a:pt x="871" y="157"/>
                      </a:lnTo>
                      <a:lnTo>
                        <a:pt x="871" y="157"/>
                      </a:lnTo>
                      <a:lnTo>
                        <a:pt x="871" y="159"/>
                      </a:lnTo>
                      <a:lnTo>
                        <a:pt x="856" y="165"/>
                      </a:lnTo>
                      <a:lnTo>
                        <a:pt x="843" y="170"/>
                      </a:lnTo>
                      <a:lnTo>
                        <a:pt x="828" y="176"/>
                      </a:lnTo>
                      <a:lnTo>
                        <a:pt x="815" y="179"/>
                      </a:lnTo>
                      <a:lnTo>
                        <a:pt x="808" y="181"/>
                      </a:lnTo>
                      <a:lnTo>
                        <a:pt x="802" y="185"/>
                      </a:lnTo>
                      <a:lnTo>
                        <a:pt x="795" y="187"/>
                      </a:lnTo>
                      <a:lnTo>
                        <a:pt x="788" y="187"/>
                      </a:lnTo>
                      <a:lnTo>
                        <a:pt x="780" y="188"/>
                      </a:lnTo>
                      <a:lnTo>
                        <a:pt x="775" y="190"/>
                      </a:lnTo>
                      <a:lnTo>
                        <a:pt x="766" y="190"/>
                      </a:lnTo>
                      <a:lnTo>
                        <a:pt x="758" y="192"/>
                      </a:lnTo>
                      <a:lnTo>
                        <a:pt x="758" y="192"/>
                      </a:lnTo>
                      <a:lnTo>
                        <a:pt x="758" y="196"/>
                      </a:lnTo>
                      <a:lnTo>
                        <a:pt x="758" y="201"/>
                      </a:lnTo>
                      <a:lnTo>
                        <a:pt x="758" y="205"/>
                      </a:lnTo>
                      <a:lnTo>
                        <a:pt x="758" y="209"/>
                      </a:lnTo>
                      <a:lnTo>
                        <a:pt x="758" y="209"/>
                      </a:lnTo>
                      <a:lnTo>
                        <a:pt x="764" y="211"/>
                      </a:lnTo>
                      <a:lnTo>
                        <a:pt x="767" y="211"/>
                      </a:lnTo>
                      <a:lnTo>
                        <a:pt x="771" y="212"/>
                      </a:lnTo>
                      <a:lnTo>
                        <a:pt x="775" y="212"/>
                      </a:lnTo>
                      <a:lnTo>
                        <a:pt x="775" y="218"/>
                      </a:lnTo>
                      <a:lnTo>
                        <a:pt x="775" y="224"/>
                      </a:lnTo>
                      <a:lnTo>
                        <a:pt x="773" y="225"/>
                      </a:lnTo>
                      <a:lnTo>
                        <a:pt x="773" y="227"/>
                      </a:lnTo>
                      <a:lnTo>
                        <a:pt x="771" y="229"/>
                      </a:lnTo>
                      <a:lnTo>
                        <a:pt x="771" y="229"/>
                      </a:lnTo>
                      <a:lnTo>
                        <a:pt x="771" y="231"/>
                      </a:lnTo>
                      <a:lnTo>
                        <a:pt x="769" y="233"/>
                      </a:lnTo>
                      <a:lnTo>
                        <a:pt x="767" y="233"/>
                      </a:lnTo>
                      <a:lnTo>
                        <a:pt x="767" y="233"/>
                      </a:lnTo>
                      <a:lnTo>
                        <a:pt x="766" y="235"/>
                      </a:lnTo>
                      <a:lnTo>
                        <a:pt x="764" y="236"/>
                      </a:lnTo>
                      <a:lnTo>
                        <a:pt x="758" y="238"/>
                      </a:lnTo>
                      <a:lnTo>
                        <a:pt x="753" y="240"/>
                      </a:lnTo>
                      <a:lnTo>
                        <a:pt x="753" y="240"/>
                      </a:lnTo>
                      <a:lnTo>
                        <a:pt x="753" y="248"/>
                      </a:lnTo>
                      <a:lnTo>
                        <a:pt x="753" y="255"/>
                      </a:lnTo>
                      <a:lnTo>
                        <a:pt x="753" y="262"/>
                      </a:lnTo>
                      <a:lnTo>
                        <a:pt x="753" y="270"/>
                      </a:lnTo>
                      <a:lnTo>
                        <a:pt x="753" y="270"/>
                      </a:lnTo>
                      <a:lnTo>
                        <a:pt x="758" y="270"/>
                      </a:lnTo>
                      <a:lnTo>
                        <a:pt x="764" y="270"/>
                      </a:lnTo>
                      <a:lnTo>
                        <a:pt x="766" y="270"/>
                      </a:lnTo>
                      <a:lnTo>
                        <a:pt x="766" y="264"/>
                      </a:lnTo>
                      <a:lnTo>
                        <a:pt x="766" y="259"/>
                      </a:lnTo>
                      <a:lnTo>
                        <a:pt x="769" y="259"/>
                      </a:lnTo>
                      <a:lnTo>
                        <a:pt x="775" y="259"/>
                      </a:lnTo>
                      <a:lnTo>
                        <a:pt x="775" y="262"/>
                      </a:lnTo>
                      <a:lnTo>
                        <a:pt x="775" y="268"/>
                      </a:lnTo>
                      <a:lnTo>
                        <a:pt x="775" y="273"/>
                      </a:lnTo>
                      <a:lnTo>
                        <a:pt x="775" y="279"/>
                      </a:lnTo>
                      <a:lnTo>
                        <a:pt x="775" y="279"/>
                      </a:lnTo>
                      <a:lnTo>
                        <a:pt x="778" y="281"/>
                      </a:lnTo>
                      <a:lnTo>
                        <a:pt x="780" y="283"/>
                      </a:lnTo>
                      <a:lnTo>
                        <a:pt x="784" y="283"/>
                      </a:lnTo>
                      <a:lnTo>
                        <a:pt x="788" y="284"/>
                      </a:lnTo>
                      <a:lnTo>
                        <a:pt x="788" y="286"/>
                      </a:lnTo>
                      <a:lnTo>
                        <a:pt x="789" y="290"/>
                      </a:lnTo>
                      <a:lnTo>
                        <a:pt x="789" y="294"/>
                      </a:lnTo>
                      <a:lnTo>
                        <a:pt x="791" y="296"/>
                      </a:lnTo>
                      <a:lnTo>
                        <a:pt x="791" y="297"/>
                      </a:lnTo>
                      <a:lnTo>
                        <a:pt x="797" y="297"/>
                      </a:lnTo>
                      <a:lnTo>
                        <a:pt x="802" y="297"/>
                      </a:lnTo>
                      <a:lnTo>
                        <a:pt x="799" y="301"/>
                      </a:lnTo>
                      <a:lnTo>
                        <a:pt x="797" y="305"/>
                      </a:lnTo>
                      <a:lnTo>
                        <a:pt x="795" y="310"/>
                      </a:lnTo>
                      <a:lnTo>
                        <a:pt x="793" y="314"/>
                      </a:lnTo>
                      <a:lnTo>
                        <a:pt x="789" y="312"/>
                      </a:lnTo>
                      <a:lnTo>
                        <a:pt x="786" y="312"/>
                      </a:lnTo>
                      <a:lnTo>
                        <a:pt x="784" y="310"/>
                      </a:lnTo>
                      <a:lnTo>
                        <a:pt x="784" y="310"/>
                      </a:lnTo>
                      <a:lnTo>
                        <a:pt x="780" y="310"/>
                      </a:lnTo>
                      <a:lnTo>
                        <a:pt x="780" y="310"/>
                      </a:lnTo>
                      <a:lnTo>
                        <a:pt x="778" y="308"/>
                      </a:lnTo>
                      <a:lnTo>
                        <a:pt x="778" y="308"/>
                      </a:lnTo>
                      <a:lnTo>
                        <a:pt x="775" y="308"/>
                      </a:lnTo>
                      <a:lnTo>
                        <a:pt x="775" y="308"/>
                      </a:lnTo>
                      <a:lnTo>
                        <a:pt x="771" y="310"/>
                      </a:lnTo>
                      <a:lnTo>
                        <a:pt x="766" y="310"/>
                      </a:lnTo>
                      <a:lnTo>
                        <a:pt x="766" y="310"/>
                      </a:lnTo>
                      <a:lnTo>
                        <a:pt x="766" y="318"/>
                      </a:lnTo>
                      <a:lnTo>
                        <a:pt x="766" y="325"/>
                      </a:lnTo>
                      <a:lnTo>
                        <a:pt x="766" y="332"/>
                      </a:lnTo>
                      <a:lnTo>
                        <a:pt x="767" y="340"/>
                      </a:lnTo>
                      <a:lnTo>
                        <a:pt x="767" y="342"/>
                      </a:lnTo>
                      <a:lnTo>
                        <a:pt x="769" y="338"/>
                      </a:lnTo>
                      <a:lnTo>
                        <a:pt x="769" y="338"/>
                      </a:lnTo>
                      <a:lnTo>
                        <a:pt x="771" y="338"/>
                      </a:lnTo>
                      <a:lnTo>
                        <a:pt x="773" y="340"/>
                      </a:lnTo>
                      <a:lnTo>
                        <a:pt x="771" y="340"/>
                      </a:lnTo>
                      <a:lnTo>
                        <a:pt x="769" y="342"/>
                      </a:lnTo>
                      <a:lnTo>
                        <a:pt x="769" y="342"/>
                      </a:lnTo>
                      <a:lnTo>
                        <a:pt x="769" y="345"/>
                      </a:lnTo>
                      <a:lnTo>
                        <a:pt x="769" y="349"/>
                      </a:lnTo>
                      <a:lnTo>
                        <a:pt x="762" y="349"/>
                      </a:lnTo>
                      <a:lnTo>
                        <a:pt x="754" y="349"/>
                      </a:lnTo>
                      <a:lnTo>
                        <a:pt x="747" y="347"/>
                      </a:lnTo>
                      <a:lnTo>
                        <a:pt x="740" y="347"/>
                      </a:lnTo>
                      <a:lnTo>
                        <a:pt x="732" y="347"/>
                      </a:lnTo>
                      <a:lnTo>
                        <a:pt x="725" y="345"/>
                      </a:lnTo>
                      <a:lnTo>
                        <a:pt x="718" y="345"/>
                      </a:lnTo>
                      <a:lnTo>
                        <a:pt x="710" y="344"/>
                      </a:lnTo>
                      <a:lnTo>
                        <a:pt x="710" y="344"/>
                      </a:lnTo>
                      <a:lnTo>
                        <a:pt x="703" y="356"/>
                      </a:lnTo>
                      <a:lnTo>
                        <a:pt x="695" y="368"/>
                      </a:lnTo>
                      <a:lnTo>
                        <a:pt x="688" y="379"/>
                      </a:lnTo>
                      <a:lnTo>
                        <a:pt x="682" y="391"/>
                      </a:lnTo>
                      <a:lnTo>
                        <a:pt x="673" y="391"/>
                      </a:lnTo>
                      <a:lnTo>
                        <a:pt x="666" y="391"/>
                      </a:lnTo>
                      <a:lnTo>
                        <a:pt x="660" y="391"/>
                      </a:lnTo>
                      <a:lnTo>
                        <a:pt x="657" y="390"/>
                      </a:lnTo>
                      <a:lnTo>
                        <a:pt x="651" y="390"/>
                      </a:lnTo>
                      <a:lnTo>
                        <a:pt x="647" y="388"/>
                      </a:lnTo>
                      <a:lnTo>
                        <a:pt x="640" y="386"/>
                      </a:lnTo>
                      <a:lnTo>
                        <a:pt x="634" y="382"/>
                      </a:lnTo>
                      <a:lnTo>
                        <a:pt x="634" y="379"/>
                      </a:lnTo>
                      <a:lnTo>
                        <a:pt x="634" y="373"/>
                      </a:lnTo>
                      <a:lnTo>
                        <a:pt x="634" y="371"/>
                      </a:lnTo>
                      <a:lnTo>
                        <a:pt x="627" y="373"/>
                      </a:lnTo>
                      <a:lnTo>
                        <a:pt x="627" y="373"/>
                      </a:lnTo>
                      <a:lnTo>
                        <a:pt x="623" y="377"/>
                      </a:lnTo>
                      <a:lnTo>
                        <a:pt x="622" y="377"/>
                      </a:lnTo>
                      <a:lnTo>
                        <a:pt x="625" y="384"/>
                      </a:lnTo>
                      <a:lnTo>
                        <a:pt x="627" y="391"/>
                      </a:lnTo>
                      <a:lnTo>
                        <a:pt x="629" y="399"/>
                      </a:lnTo>
                      <a:lnTo>
                        <a:pt x="631" y="406"/>
                      </a:lnTo>
                      <a:lnTo>
                        <a:pt x="631" y="417"/>
                      </a:lnTo>
                      <a:lnTo>
                        <a:pt x="633" y="430"/>
                      </a:lnTo>
                      <a:lnTo>
                        <a:pt x="636" y="449"/>
                      </a:lnTo>
                      <a:lnTo>
                        <a:pt x="638" y="469"/>
                      </a:lnTo>
                      <a:lnTo>
                        <a:pt x="633" y="467"/>
                      </a:lnTo>
                      <a:lnTo>
                        <a:pt x="625" y="465"/>
                      </a:lnTo>
                      <a:lnTo>
                        <a:pt x="618" y="463"/>
                      </a:lnTo>
                      <a:lnTo>
                        <a:pt x="610" y="460"/>
                      </a:lnTo>
                      <a:lnTo>
                        <a:pt x="601" y="456"/>
                      </a:lnTo>
                      <a:lnTo>
                        <a:pt x="588" y="452"/>
                      </a:lnTo>
                      <a:lnTo>
                        <a:pt x="575" y="445"/>
                      </a:lnTo>
                      <a:lnTo>
                        <a:pt x="561" y="438"/>
                      </a:lnTo>
                      <a:lnTo>
                        <a:pt x="561" y="434"/>
                      </a:lnTo>
                      <a:lnTo>
                        <a:pt x="561" y="430"/>
                      </a:lnTo>
                      <a:lnTo>
                        <a:pt x="561" y="425"/>
                      </a:lnTo>
                      <a:lnTo>
                        <a:pt x="561" y="421"/>
                      </a:lnTo>
                      <a:lnTo>
                        <a:pt x="561" y="421"/>
                      </a:lnTo>
                      <a:lnTo>
                        <a:pt x="557" y="417"/>
                      </a:lnTo>
                      <a:lnTo>
                        <a:pt x="553" y="415"/>
                      </a:lnTo>
                      <a:lnTo>
                        <a:pt x="553" y="415"/>
                      </a:lnTo>
                      <a:lnTo>
                        <a:pt x="551" y="417"/>
                      </a:lnTo>
                      <a:lnTo>
                        <a:pt x="551" y="417"/>
                      </a:lnTo>
                      <a:lnTo>
                        <a:pt x="551" y="419"/>
                      </a:lnTo>
                      <a:lnTo>
                        <a:pt x="548" y="419"/>
                      </a:lnTo>
                      <a:lnTo>
                        <a:pt x="544" y="419"/>
                      </a:lnTo>
                      <a:lnTo>
                        <a:pt x="540" y="417"/>
                      </a:lnTo>
                      <a:lnTo>
                        <a:pt x="537" y="417"/>
                      </a:lnTo>
                      <a:lnTo>
                        <a:pt x="531" y="415"/>
                      </a:lnTo>
                      <a:lnTo>
                        <a:pt x="526" y="412"/>
                      </a:lnTo>
                      <a:lnTo>
                        <a:pt x="515" y="406"/>
                      </a:lnTo>
                      <a:lnTo>
                        <a:pt x="503" y="399"/>
                      </a:lnTo>
                      <a:lnTo>
                        <a:pt x="515" y="399"/>
                      </a:lnTo>
                      <a:lnTo>
                        <a:pt x="522" y="399"/>
                      </a:lnTo>
                      <a:lnTo>
                        <a:pt x="526" y="401"/>
                      </a:lnTo>
                      <a:lnTo>
                        <a:pt x="527" y="401"/>
                      </a:lnTo>
                      <a:lnTo>
                        <a:pt x="531" y="403"/>
                      </a:lnTo>
                      <a:lnTo>
                        <a:pt x="533" y="404"/>
                      </a:lnTo>
                      <a:lnTo>
                        <a:pt x="535" y="404"/>
                      </a:lnTo>
                      <a:lnTo>
                        <a:pt x="537" y="406"/>
                      </a:lnTo>
                      <a:lnTo>
                        <a:pt x="539" y="408"/>
                      </a:lnTo>
                      <a:lnTo>
                        <a:pt x="539" y="404"/>
                      </a:lnTo>
                      <a:lnTo>
                        <a:pt x="540" y="404"/>
                      </a:lnTo>
                      <a:lnTo>
                        <a:pt x="540" y="404"/>
                      </a:lnTo>
                      <a:lnTo>
                        <a:pt x="542" y="399"/>
                      </a:lnTo>
                      <a:lnTo>
                        <a:pt x="542" y="395"/>
                      </a:lnTo>
                      <a:lnTo>
                        <a:pt x="542" y="393"/>
                      </a:lnTo>
                      <a:lnTo>
                        <a:pt x="542" y="391"/>
                      </a:lnTo>
                      <a:lnTo>
                        <a:pt x="542" y="390"/>
                      </a:lnTo>
                      <a:lnTo>
                        <a:pt x="542" y="390"/>
                      </a:lnTo>
                      <a:lnTo>
                        <a:pt x="542" y="386"/>
                      </a:lnTo>
                      <a:lnTo>
                        <a:pt x="540" y="386"/>
                      </a:lnTo>
                      <a:lnTo>
                        <a:pt x="540" y="382"/>
                      </a:lnTo>
                      <a:lnTo>
                        <a:pt x="539" y="379"/>
                      </a:lnTo>
                      <a:lnTo>
                        <a:pt x="539" y="379"/>
                      </a:lnTo>
                      <a:lnTo>
                        <a:pt x="535" y="373"/>
                      </a:lnTo>
                      <a:lnTo>
                        <a:pt x="535" y="373"/>
                      </a:lnTo>
                      <a:lnTo>
                        <a:pt x="529" y="373"/>
                      </a:lnTo>
                      <a:lnTo>
                        <a:pt x="526" y="373"/>
                      </a:lnTo>
                      <a:lnTo>
                        <a:pt x="522" y="373"/>
                      </a:lnTo>
                      <a:lnTo>
                        <a:pt x="518" y="373"/>
                      </a:lnTo>
                      <a:lnTo>
                        <a:pt x="520" y="369"/>
                      </a:lnTo>
                      <a:lnTo>
                        <a:pt x="520" y="364"/>
                      </a:lnTo>
                      <a:lnTo>
                        <a:pt x="522" y="360"/>
                      </a:lnTo>
                      <a:lnTo>
                        <a:pt x="522" y="356"/>
                      </a:lnTo>
                      <a:lnTo>
                        <a:pt x="522" y="355"/>
                      </a:lnTo>
                      <a:lnTo>
                        <a:pt x="518" y="351"/>
                      </a:lnTo>
                      <a:lnTo>
                        <a:pt x="515" y="347"/>
                      </a:lnTo>
                      <a:lnTo>
                        <a:pt x="515" y="344"/>
                      </a:lnTo>
                      <a:lnTo>
                        <a:pt x="516" y="342"/>
                      </a:lnTo>
                      <a:lnTo>
                        <a:pt x="516" y="338"/>
                      </a:lnTo>
                      <a:lnTo>
                        <a:pt x="518" y="336"/>
                      </a:lnTo>
                      <a:lnTo>
                        <a:pt x="518" y="334"/>
                      </a:lnTo>
                      <a:lnTo>
                        <a:pt x="513" y="334"/>
                      </a:lnTo>
                      <a:lnTo>
                        <a:pt x="507" y="334"/>
                      </a:lnTo>
                      <a:lnTo>
                        <a:pt x="505" y="332"/>
                      </a:lnTo>
                      <a:lnTo>
                        <a:pt x="503" y="329"/>
                      </a:lnTo>
                      <a:lnTo>
                        <a:pt x="503" y="329"/>
                      </a:lnTo>
                      <a:lnTo>
                        <a:pt x="500" y="327"/>
                      </a:lnTo>
                      <a:lnTo>
                        <a:pt x="500" y="327"/>
                      </a:lnTo>
                      <a:lnTo>
                        <a:pt x="498" y="325"/>
                      </a:lnTo>
                      <a:lnTo>
                        <a:pt x="498" y="325"/>
                      </a:lnTo>
                      <a:lnTo>
                        <a:pt x="494" y="321"/>
                      </a:lnTo>
                      <a:lnTo>
                        <a:pt x="494" y="321"/>
                      </a:lnTo>
                      <a:lnTo>
                        <a:pt x="489" y="320"/>
                      </a:lnTo>
                      <a:lnTo>
                        <a:pt x="485" y="318"/>
                      </a:lnTo>
                      <a:lnTo>
                        <a:pt x="481" y="314"/>
                      </a:lnTo>
                      <a:lnTo>
                        <a:pt x="479" y="314"/>
                      </a:lnTo>
                      <a:lnTo>
                        <a:pt x="476" y="312"/>
                      </a:lnTo>
                      <a:lnTo>
                        <a:pt x="474" y="310"/>
                      </a:lnTo>
                      <a:lnTo>
                        <a:pt x="472" y="307"/>
                      </a:lnTo>
                      <a:lnTo>
                        <a:pt x="472" y="307"/>
                      </a:lnTo>
                      <a:lnTo>
                        <a:pt x="468" y="308"/>
                      </a:lnTo>
                      <a:lnTo>
                        <a:pt x="468" y="310"/>
                      </a:lnTo>
                      <a:lnTo>
                        <a:pt x="461" y="312"/>
                      </a:lnTo>
                      <a:lnTo>
                        <a:pt x="454" y="312"/>
                      </a:lnTo>
                      <a:lnTo>
                        <a:pt x="448" y="314"/>
                      </a:lnTo>
                      <a:lnTo>
                        <a:pt x="441" y="316"/>
                      </a:lnTo>
                      <a:lnTo>
                        <a:pt x="439" y="316"/>
                      </a:lnTo>
                      <a:lnTo>
                        <a:pt x="443" y="320"/>
                      </a:lnTo>
                      <a:lnTo>
                        <a:pt x="443" y="320"/>
                      </a:lnTo>
                      <a:lnTo>
                        <a:pt x="444" y="321"/>
                      </a:lnTo>
                      <a:lnTo>
                        <a:pt x="444" y="323"/>
                      </a:lnTo>
                      <a:lnTo>
                        <a:pt x="443" y="325"/>
                      </a:lnTo>
                      <a:lnTo>
                        <a:pt x="441" y="325"/>
                      </a:lnTo>
                      <a:lnTo>
                        <a:pt x="441" y="325"/>
                      </a:lnTo>
                      <a:lnTo>
                        <a:pt x="441" y="325"/>
                      </a:lnTo>
                      <a:lnTo>
                        <a:pt x="437" y="327"/>
                      </a:lnTo>
                      <a:lnTo>
                        <a:pt x="431" y="327"/>
                      </a:lnTo>
                      <a:lnTo>
                        <a:pt x="431" y="327"/>
                      </a:lnTo>
                      <a:lnTo>
                        <a:pt x="433" y="325"/>
                      </a:lnTo>
                      <a:lnTo>
                        <a:pt x="433" y="325"/>
                      </a:lnTo>
                      <a:lnTo>
                        <a:pt x="431" y="323"/>
                      </a:lnTo>
                      <a:lnTo>
                        <a:pt x="431" y="321"/>
                      </a:lnTo>
                      <a:lnTo>
                        <a:pt x="430" y="321"/>
                      </a:lnTo>
                      <a:lnTo>
                        <a:pt x="428" y="323"/>
                      </a:lnTo>
                      <a:lnTo>
                        <a:pt x="428" y="323"/>
                      </a:lnTo>
                      <a:lnTo>
                        <a:pt x="426" y="325"/>
                      </a:lnTo>
                      <a:lnTo>
                        <a:pt x="420" y="331"/>
                      </a:lnTo>
                      <a:lnTo>
                        <a:pt x="417" y="334"/>
                      </a:lnTo>
                      <a:lnTo>
                        <a:pt x="415" y="331"/>
                      </a:lnTo>
                      <a:lnTo>
                        <a:pt x="415" y="327"/>
                      </a:lnTo>
                      <a:lnTo>
                        <a:pt x="415" y="327"/>
                      </a:lnTo>
                      <a:lnTo>
                        <a:pt x="417" y="325"/>
                      </a:lnTo>
                      <a:lnTo>
                        <a:pt x="417" y="325"/>
                      </a:lnTo>
                      <a:lnTo>
                        <a:pt x="419" y="320"/>
                      </a:lnTo>
                      <a:lnTo>
                        <a:pt x="420" y="314"/>
                      </a:lnTo>
                      <a:lnTo>
                        <a:pt x="420" y="314"/>
                      </a:lnTo>
                      <a:lnTo>
                        <a:pt x="417" y="314"/>
                      </a:lnTo>
                      <a:lnTo>
                        <a:pt x="415" y="314"/>
                      </a:lnTo>
                      <a:lnTo>
                        <a:pt x="415" y="314"/>
                      </a:lnTo>
                      <a:lnTo>
                        <a:pt x="415" y="314"/>
                      </a:lnTo>
                      <a:lnTo>
                        <a:pt x="413" y="314"/>
                      </a:lnTo>
                      <a:lnTo>
                        <a:pt x="413" y="314"/>
                      </a:lnTo>
                      <a:lnTo>
                        <a:pt x="413" y="316"/>
                      </a:lnTo>
                      <a:lnTo>
                        <a:pt x="413" y="316"/>
                      </a:lnTo>
                      <a:lnTo>
                        <a:pt x="413" y="318"/>
                      </a:lnTo>
                      <a:lnTo>
                        <a:pt x="413" y="318"/>
                      </a:lnTo>
                      <a:lnTo>
                        <a:pt x="413" y="320"/>
                      </a:lnTo>
                      <a:lnTo>
                        <a:pt x="413" y="321"/>
                      </a:lnTo>
                      <a:lnTo>
                        <a:pt x="411" y="323"/>
                      </a:lnTo>
                      <a:lnTo>
                        <a:pt x="411" y="323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07" y="325"/>
                      </a:lnTo>
                      <a:lnTo>
                        <a:pt x="407" y="325"/>
                      </a:lnTo>
                      <a:lnTo>
                        <a:pt x="406" y="325"/>
                      </a:lnTo>
                      <a:lnTo>
                        <a:pt x="400" y="323"/>
                      </a:lnTo>
                      <a:lnTo>
                        <a:pt x="395" y="323"/>
                      </a:lnTo>
                      <a:lnTo>
                        <a:pt x="395" y="323"/>
                      </a:lnTo>
                      <a:lnTo>
                        <a:pt x="391" y="321"/>
                      </a:lnTo>
                      <a:lnTo>
                        <a:pt x="383" y="320"/>
                      </a:lnTo>
                      <a:lnTo>
                        <a:pt x="380" y="320"/>
                      </a:lnTo>
                      <a:lnTo>
                        <a:pt x="380" y="320"/>
                      </a:lnTo>
                      <a:lnTo>
                        <a:pt x="374" y="318"/>
                      </a:lnTo>
                      <a:lnTo>
                        <a:pt x="374" y="318"/>
                      </a:lnTo>
                      <a:lnTo>
                        <a:pt x="374" y="323"/>
                      </a:lnTo>
                      <a:lnTo>
                        <a:pt x="374" y="327"/>
                      </a:lnTo>
                      <a:lnTo>
                        <a:pt x="374" y="332"/>
                      </a:lnTo>
                      <a:lnTo>
                        <a:pt x="374" y="336"/>
                      </a:lnTo>
                      <a:lnTo>
                        <a:pt x="369" y="336"/>
                      </a:lnTo>
                      <a:lnTo>
                        <a:pt x="365" y="336"/>
                      </a:lnTo>
                      <a:lnTo>
                        <a:pt x="363" y="336"/>
                      </a:lnTo>
                      <a:lnTo>
                        <a:pt x="365" y="344"/>
                      </a:lnTo>
                      <a:lnTo>
                        <a:pt x="367" y="351"/>
                      </a:lnTo>
                      <a:lnTo>
                        <a:pt x="371" y="358"/>
                      </a:lnTo>
                      <a:lnTo>
                        <a:pt x="372" y="366"/>
                      </a:lnTo>
                      <a:lnTo>
                        <a:pt x="374" y="373"/>
                      </a:lnTo>
                      <a:lnTo>
                        <a:pt x="376" y="380"/>
                      </a:lnTo>
                      <a:lnTo>
                        <a:pt x="378" y="390"/>
                      </a:lnTo>
                      <a:lnTo>
                        <a:pt x="378" y="390"/>
                      </a:lnTo>
                      <a:lnTo>
                        <a:pt x="380" y="395"/>
                      </a:lnTo>
                      <a:lnTo>
                        <a:pt x="367" y="399"/>
                      </a:lnTo>
                      <a:lnTo>
                        <a:pt x="350" y="403"/>
                      </a:lnTo>
                      <a:lnTo>
                        <a:pt x="341" y="404"/>
                      </a:lnTo>
                      <a:lnTo>
                        <a:pt x="332" y="408"/>
                      </a:lnTo>
                      <a:lnTo>
                        <a:pt x="321" y="410"/>
                      </a:lnTo>
                      <a:lnTo>
                        <a:pt x="312" y="412"/>
                      </a:lnTo>
                      <a:lnTo>
                        <a:pt x="302" y="412"/>
                      </a:lnTo>
                      <a:lnTo>
                        <a:pt x="293" y="412"/>
                      </a:lnTo>
                      <a:lnTo>
                        <a:pt x="288" y="412"/>
                      </a:lnTo>
                      <a:lnTo>
                        <a:pt x="284" y="412"/>
                      </a:lnTo>
                      <a:lnTo>
                        <a:pt x="280" y="412"/>
                      </a:lnTo>
                      <a:lnTo>
                        <a:pt x="276" y="410"/>
                      </a:lnTo>
                      <a:lnTo>
                        <a:pt x="273" y="408"/>
                      </a:lnTo>
                      <a:lnTo>
                        <a:pt x="269" y="408"/>
                      </a:lnTo>
                      <a:lnTo>
                        <a:pt x="265" y="406"/>
                      </a:lnTo>
                      <a:lnTo>
                        <a:pt x="264" y="403"/>
                      </a:lnTo>
                      <a:lnTo>
                        <a:pt x="260" y="401"/>
                      </a:lnTo>
                      <a:lnTo>
                        <a:pt x="258" y="397"/>
                      </a:lnTo>
                      <a:lnTo>
                        <a:pt x="256" y="395"/>
                      </a:lnTo>
                      <a:lnTo>
                        <a:pt x="256" y="391"/>
                      </a:lnTo>
                      <a:lnTo>
                        <a:pt x="258" y="391"/>
                      </a:lnTo>
                      <a:lnTo>
                        <a:pt x="262" y="391"/>
                      </a:lnTo>
                      <a:lnTo>
                        <a:pt x="264" y="391"/>
                      </a:lnTo>
                      <a:lnTo>
                        <a:pt x="264" y="391"/>
                      </a:lnTo>
                      <a:lnTo>
                        <a:pt x="265" y="391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5" y="390"/>
                      </a:lnTo>
                      <a:lnTo>
                        <a:pt x="267" y="388"/>
                      </a:lnTo>
                      <a:lnTo>
                        <a:pt x="267" y="388"/>
                      </a:lnTo>
                      <a:lnTo>
                        <a:pt x="267" y="386"/>
                      </a:lnTo>
                      <a:lnTo>
                        <a:pt x="267" y="384"/>
                      </a:lnTo>
                      <a:lnTo>
                        <a:pt x="254" y="386"/>
                      </a:lnTo>
                      <a:lnTo>
                        <a:pt x="243" y="386"/>
                      </a:lnTo>
                      <a:lnTo>
                        <a:pt x="230" y="386"/>
                      </a:lnTo>
                      <a:lnTo>
                        <a:pt x="219" y="388"/>
                      </a:lnTo>
                      <a:lnTo>
                        <a:pt x="208" y="388"/>
                      </a:lnTo>
                      <a:lnTo>
                        <a:pt x="195" y="390"/>
                      </a:lnTo>
                      <a:lnTo>
                        <a:pt x="184" y="390"/>
                      </a:lnTo>
                      <a:lnTo>
                        <a:pt x="171" y="391"/>
                      </a:lnTo>
                      <a:lnTo>
                        <a:pt x="171" y="397"/>
                      </a:lnTo>
                      <a:lnTo>
                        <a:pt x="171" y="403"/>
                      </a:lnTo>
                      <a:lnTo>
                        <a:pt x="166" y="403"/>
                      </a:lnTo>
                      <a:lnTo>
                        <a:pt x="160" y="403"/>
                      </a:lnTo>
                      <a:lnTo>
                        <a:pt x="160" y="403"/>
                      </a:lnTo>
                      <a:lnTo>
                        <a:pt x="155" y="404"/>
                      </a:lnTo>
                      <a:lnTo>
                        <a:pt x="149" y="406"/>
                      </a:lnTo>
                      <a:lnTo>
                        <a:pt x="149" y="406"/>
                      </a:lnTo>
                      <a:lnTo>
                        <a:pt x="147" y="412"/>
                      </a:lnTo>
                      <a:lnTo>
                        <a:pt x="147" y="417"/>
                      </a:lnTo>
                      <a:lnTo>
                        <a:pt x="147" y="425"/>
                      </a:lnTo>
                      <a:lnTo>
                        <a:pt x="147" y="428"/>
                      </a:lnTo>
                      <a:lnTo>
                        <a:pt x="145" y="427"/>
                      </a:lnTo>
                      <a:lnTo>
                        <a:pt x="144" y="425"/>
                      </a:lnTo>
                      <a:lnTo>
                        <a:pt x="142" y="421"/>
                      </a:lnTo>
                      <a:lnTo>
                        <a:pt x="140" y="417"/>
                      </a:lnTo>
                      <a:lnTo>
                        <a:pt x="136" y="412"/>
                      </a:lnTo>
                      <a:lnTo>
                        <a:pt x="134" y="403"/>
                      </a:lnTo>
                      <a:lnTo>
                        <a:pt x="132" y="397"/>
                      </a:lnTo>
                      <a:lnTo>
                        <a:pt x="129" y="388"/>
                      </a:lnTo>
                      <a:lnTo>
                        <a:pt x="125" y="380"/>
                      </a:lnTo>
                      <a:lnTo>
                        <a:pt x="120" y="373"/>
                      </a:lnTo>
                      <a:lnTo>
                        <a:pt x="120" y="382"/>
                      </a:lnTo>
                      <a:lnTo>
                        <a:pt x="121" y="388"/>
                      </a:lnTo>
                      <a:lnTo>
                        <a:pt x="121" y="395"/>
                      </a:lnTo>
                      <a:lnTo>
                        <a:pt x="123" y="403"/>
                      </a:lnTo>
                      <a:lnTo>
                        <a:pt x="114" y="403"/>
                      </a:lnTo>
                      <a:lnTo>
                        <a:pt x="103" y="403"/>
                      </a:lnTo>
                      <a:lnTo>
                        <a:pt x="94" y="403"/>
                      </a:lnTo>
                      <a:lnTo>
                        <a:pt x="85" y="403"/>
                      </a:lnTo>
                      <a:lnTo>
                        <a:pt x="79" y="403"/>
                      </a:lnTo>
                      <a:lnTo>
                        <a:pt x="73" y="403"/>
                      </a:lnTo>
                      <a:lnTo>
                        <a:pt x="73" y="403"/>
                      </a:lnTo>
                      <a:lnTo>
                        <a:pt x="73" y="404"/>
                      </a:lnTo>
                      <a:lnTo>
                        <a:pt x="73" y="408"/>
                      </a:lnTo>
                      <a:lnTo>
                        <a:pt x="73" y="414"/>
                      </a:lnTo>
                      <a:lnTo>
                        <a:pt x="73" y="419"/>
                      </a:lnTo>
                      <a:lnTo>
                        <a:pt x="73" y="423"/>
                      </a:lnTo>
                      <a:lnTo>
                        <a:pt x="73" y="427"/>
                      </a:lnTo>
                      <a:lnTo>
                        <a:pt x="73" y="432"/>
                      </a:lnTo>
                      <a:lnTo>
                        <a:pt x="73" y="434"/>
                      </a:lnTo>
                      <a:lnTo>
                        <a:pt x="68" y="434"/>
                      </a:lnTo>
                      <a:lnTo>
                        <a:pt x="64" y="434"/>
                      </a:lnTo>
                      <a:lnTo>
                        <a:pt x="62" y="434"/>
                      </a:lnTo>
                      <a:lnTo>
                        <a:pt x="62" y="438"/>
                      </a:lnTo>
                      <a:lnTo>
                        <a:pt x="62" y="438"/>
                      </a:lnTo>
                      <a:lnTo>
                        <a:pt x="62" y="439"/>
                      </a:lnTo>
                      <a:lnTo>
                        <a:pt x="62" y="439"/>
                      </a:lnTo>
                      <a:lnTo>
                        <a:pt x="62" y="439"/>
                      </a:lnTo>
                      <a:lnTo>
                        <a:pt x="64" y="441"/>
                      </a:lnTo>
                      <a:lnTo>
                        <a:pt x="64" y="441"/>
                      </a:lnTo>
                      <a:lnTo>
                        <a:pt x="68" y="441"/>
                      </a:lnTo>
                      <a:lnTo>
                        <a:pt x="73" y="441"/>
                      </a:lnTo>
                      <a:lnTo>
                        <a:pt x="75" y="449"/>
                      </a:lnTo>
                      <a:lnTo>
                        <a:pt x="75" y="456"/>
                      </a:lnTo>
                      <a:lnTo>
                        <a:pt x="77" y="463"/>
                      </a:lnTo>
                      <a:lnTo>
                        <a:pt x="79" y="471"/>
                      </a:lnTo>
                      <a:lnTo>
                        <a:pt x="81" y="478"/>
                      </a:lnTo>
                      <a:lnTo>
                        <a:pt x="81" y="478"/>
                      </a:lnTo>
                      <a:lnTo>
                        <a:pt x="83" y="486"/>
                      </a:lnTo>
                      <a:lnTo>
                        <a:pt x="83" y="493"/>
                      </a:lnTo>
                      <a:lnTo>
                        <a:pt x="85" y="500"/>
                      </a:lnTo>
                      <a:lnTo>
                        <a:pt x="85" y="502"/>
                      </a:lnTo>
                      <a:lnTo>
                        <a:pt x="88" y="502"/>
                      </a:lnTo>
                      <a:lnTo>
                        <a:pt x="94" y="502"/>
                      </a:lnTo>
                      <a:lnTo>
                        <a:pt x="97" y="502"/>
                      </a:lnTo>
                      <a:lnTo>
                        <a:pt x="101" y="502"/>
                      </a:lnTo>
                      <a:lnTo>
                        <a:pt x="101" y="502"/>
                      </a:lnTo>
                      <a:lnTo>
                        <a:pt x="101" y="502"/>
                      </a:lnTo>
                      <a:lnTo>
                        <a:pt x="99" y="506"/>
                      </a:lnTo>
                      <a:lnTo>
                        <a:pt x="97" y="510"/>
                      </a:lnTo>
                      <a:lnTo>
                        <a:pt x="96" y="511"/>
                      </a:lnTo>
                      <a:lnTo>
                        <a:pt x="96" y="513"/>
                      </a:lnTo>
                      <a:lnTo>
                        <a:pt x="103" y="517"/>
                      </a:lnTo>
                      <a:lnTo>
                        <a:pt x="107" y="521"/>
                      </a:lnTo>
                      <a:lnTo>
                        <a:pt x="112" y="524"/>
                      </a:lnTo>
                      <a:lnTo>
                        <a:pt x="116" y="528"/>
                      </a:lnTo>
                      <a:lnTo>
                        <a:pt x="118" y="532"/>
                      </a:lnTo>
                      <a:lnTo>
                        <a:pt x="118" y="532"/>
                      </a:lnTo>
                      <a:lnTo>
                        <a:pt x="121" y="535"/>
                      </a:lnTo>
                      <a:lnTo>
                        <a:pt x="123" y="539"/>
                      </a:lnTo>
                      <a:lnTo>
                        <a:pt x="125" y="543"/>
                      </a:lnTo>
                      <a:lnTo>
                        <a:pt x="127" y="547"/>
                      </a:lnTo>
                      <a:lnTo>
                        <a:pt x="129" y="550"/>
                      </a:lnTo>
                      <a:lnTo>
                        <a:pt x="131" y="554"/>
                      </a:lnTo>
                      <a:lnTo>
                        <a:pt x="132" y="559"/>
                      </a:lnTo>
                      <a:lnTo>
                        <a:pt x="134" y="570"/>
                      </a:lnTo>
                      <a:lnTo>
                        <a:pt x="138" y="583"/>
                      </a:lnTo>
                      <a:lnTo>
                        <a:pt x="144" y="585"/>
                      </a:lnTo>
                      <a:lnTo>
                        <a:pt x="147" y="585"/>
                      </a:lnTo>
                      <a:lnTo>
                        <a:pt x="153" y="587"/>
                      </a:lnTo>
                      <a:lnTo>
                        <a:pt x="156" y="589"/>
                      </a:lnTo>
                      <a:lnTo>
                        <a:pt x="155" y="593"/>
                      </a:lnTo>
                      <a:lnTo>
                        <a:pt x="155" y="598"/>
                      </a:lnTo>
                      <a:lnTo>
                        <a:pt x="153" y="604"/>
                      </a:lnTo>
                      <a:lnTo>
                        <a:pt x="153" y="609"/>
                      </a:lnTo>
                      <a:lnTo>
                        <a:pt x="140" y="618"/>
                      </a:lnTo>
                      <a:lnTo>
                        <a:pt x="127" y="626"/>
                      </a:lnTo>
                      <a:lnTo>
                        <a:pt x="114" y="633"/>
                      </a:lnTo>
                      <a:lnTo>
                        <a:pt x="103" y="642"/>
                      </a:lnTo>
                      <a:lnTo>
                        <a:pt x="101" y="650"/>
                      </a:lnTo>
                      <a:lnTo>
                        <a:pt x="101" y="657"/>
                      </a:lnTo>
                      <a:lnTo>
                        <a:pt x="101" y="663"/>
                      </a:lnTo>
                      <a:lnTo>
                        <a:pt x="101" y="670"/>
                      </a:lnTo>
                      <a:lnTo>
                        <a:pt x="97" y="670"/>
                      </a:lnTo>
                      <a:lnTo>
                        <a:pt x="97" y="670"/>
                      </a:lnTo>
                      <a:lnTo>
                        <a:pt x="94" y="672"/>
                      </a:lnTo>
                      <a:lnTo>
                        <a:pt x="90" y="674"/>
                      </a:lnTo>
                      <a:lnTo>
                        <a:pt x="86" y="674"/>
                      </a:lnTo>
                      <a:lnTo>
                        <a:pt x="85" y="674"/>
                      </a:lnTo>
                      <a:lnTo>
                        <a:pt x="85" y="689"/>
                      </a:lnTo>
                      <a:lnTo>
                        <a:pt x="85" y="702"/>
                      </a:lnTo>
                      <a:lnTo>
                        <a:pt x="86" y="716"/>
                      </a:lnTo>
                      <a:lnTo>
                        <a:pt x="86" y="729"/>
                      </a:lnTo>
                      <a:lnTo>
                        <a:pt x="79" y="727"/>
                      </a:lnTo>
                      <a:lnTo>
                        <a:pt x="72" y="726"/>
                      </a:lnTo>
                      <a:lnTo>
                        <a:pt x="66" y="726"/>
                      </a:lnTo>
                      <a:lnTo>
                        <a:pt x="59" y="724"/>
                      </a:lnTo>
                      <a:lnTo>
                        <a:pt x="59" y="724"/>
                      </a:lnTo>
                      <a:lnTo>
                        <a:pt x="59" y="729"/>
                      </a:lnTo>
                      <a:lnTo>
                        <a:pt x="59" y="735"/>
                      </a:lnTo>
                      <a:lnTo>
                        <a:pt x="46" y="738"/>
                      </a:lnTo>
                      <a:lnTo>
                        <a:pt x="33" y="742"/>
                      </a:lnTo>
                      <a:lnTo>
                        <a:pt x="22" y="746"/>
                      </a:lnTo>
                      <a:lnTo>
                        <a:pt x="9" y="751"/>
                      </a:lnTo>
                      <a:lnTo>
                        <a:pt x="7" y="753"/>
                      </a:lnTo>
                      <a:lnTo>
                        <a:pt x="5" y="755"/>
                      </a:lnTo>
                      <a:lnTo>
                        <a:pt x="3" y="757"/>
                      </a:lnTo>
                      <a:lnTo>
                        <a:pt x="3" y="757"/>
                      </a:lnTo>
                      <a:lnTo>
                        <a:pt x="3" y="762"/>
                      </a:lnTo>
                      <a:lnTo>
                        <a:pt x="3" y="766"/>
                      </a:lnTo>
                      <a:lnTo>
                        <a:pt x="5" y="770"/>
                      </a:lnTo>
                      <a:lnTo>
                        <a:pt x="5" y="773"/>
                      </a:lnTo>
                      <a:lnTo>
                        <a:pt x="7" y="777"/>
                      </a:lnTo>
                      <a:lnTo>
                        <a:pt x="7" y="781"/>
                      </a:lnTo>
                      <a:lnTo>
                        <a:pt x="7" y="781"/>
                      </a:lnTo>
                      <a:lnTo>
                        <a:pt x="9" y="785"/>
                      </a:lnTo>
                      <a:lnTo>
                        <a:pt x="11" y="786"/>
                      </a:lnTo>
                      <a:lnTo>
                        <a:pt x="11" y="786"/>
                      </a:lnTo>
                      <a:lnTo>
                        <a:pt x="20" y="799"/>
                      </a:lnTo>
                      <a:lnTo>
                        <a:pt x="29" y="812"/>
                      </a:lnTo>
                      <a:lnTo>
                        <a:pt x="29" y="827"/>
                      </a:lnTo>
                      <a:lnTo>
                        <a:pt x="31" y="842"/>
                      </a:lnTo>
                      <a:lnTo>
                        <a:pt x="31" y="857"/>
                      </a:lnTo>
                      <a:lnTo>
                        <a:pt x="33" y="871"/>
                      </a:lnTo>
                      <a:lnTo>
                        <a:pt x="35" y="886"/>
                      </a:lnTo>
                      <a:lnTo>
                        <a:pt x="35" y="901"/>
                      </a:lnTo>
                      <a:lnTo>
                        <a:pt x="37" y="917"/>
                      </a:lnTo>
                      <a:lnTo>
                        <a:pt x="38" y="930"/>
                      </a:lnTo>
                      <a:lnTo>
                        <a:pt x="31" y="932"/>
                      </a:lnTo>
                      <a:lnTo>
                        <a:pt x="31" y="932"/>
                      </a:lnTo>
                      <a:lnTo>
                        <a:pt x="25" y="936"/>
                      </a:lnTo>
                      <a:lnTo>
                        <a:pt x="25" y="936"/>
                      </a:lnTo>
                      <a:lnTo>
                        <a:pt x="18" y="938"/>
                      </a:lnTo>
                      <a:lnTo>
                        <a:pt x="18" y="938"/>
                      </a:lnTo>
                      <a:lnTo>
                        <a:pt x="13" y="941"/>
                      </a:lnTo>
                      <a:lnTo>
                        <a:pt x="9" y="943"/>
                      </a:lnTo>
                      <a:lnTo>
                        <a:pt x="7" y="945"/>
                      </a:lnTo>
                      <a:lnTo>
                        <a:pt x="7" y="945"/>
                      </a:lnTo>
                      <a:lnTo>
                        <a:pt x="5" y="949"/>
                      </a:lnTo>
                      <a:lnTo>
                        <a:pt x="3" y="951"/>
                      </a:lnTo>
                      <a:lnTo>
                        <a:pt x="3" y="951"/>
                      </a:lnTo>
                      <a:lnTo>
                        <a:pt x="1" y="954"/>
                      </a:lnTo>
                      <a:lnTo>
                        <a:pt x="1" y="954"/>
                      </a:lnTo>
                      <a:lnTo>
                        <a:pt x="0" y="958"/>
                      </a:lnTo>
                      <a:lnTo>
                        <a:pt x="0" y="958"/>
                      </a:lnTo>
                      <a:lnTo>
                        <a:pt x="0" y="960"/>
                      </a:lnTo>
                      <a:lnTo>
                        <a:pt x="0" y="960"/>
                      </a:lnTo>
                      <a:lnTo>
                        <a:pt x="0" y="964"/>
                      </a:lnTo>
                      <a:lnTo>
                        <a:pt x="0" y="965"/>
                      </a:lnTo>
                      <a:lnTo>
                        <a:pt x="3" y="965"/>
                      </a:lnTo>
                      <a:lnTo>
                        <a:pt x="7" y="965"/>
                      </a:lnTo>
                      <a:lnTo>
                        <a:pt x="13" y="965"/>
                      </a:lnTo>
                      <a:lnTo>
                        <a:pt x="16" y="965"/>
                      </a:lnTo>
                      <a:lnTo>
                        <a:pt x="18" y="971"/>
                      </a:lnTo>
                      <a:lnTo>
                        <a:pt x="20" y="975"/>
                      </a:lnTo>
                      <a:lnTo>
                        <a:pt x="22" y="980"/>
                      </a:lnTo>
                      <a:lnTo>
                        <a:pt x="24" y="984"/>
                      </a:lnTo>
                      <a:lnTo>
                        <a:pt x="24" y="991"/>
                      </a:lnTo>
                      <a:lnTo>
                        <a:pt x="25" y="999"/>
                      </a:lnTo>
                      <a:lnTo>
                        <a:pt x="25" y="1010"/>
                      </a:lnTo>
                      <a:lnTo>
                        <a:pt x="27" y="1024"/>
                      </a:lnTo>
                      <a:lnTo>
                        <a:pt x="33" y="1024"/>
                      </a:lnTo>
                      <a:lnTo>
                        <a:pt x="38" y="1024"/>
                      </a:lnTo>
                      <a:lnTo>
                        <a:pt x="38" y="1032"/>
                      </a:lnTo>
                      <a:lnTo>
                        <a:pt x="38" y="1041"/>
                      </a:lnTo>
                      <a:lnTo>
                        <a:pt x="38" y="1048"/>
                      </a:lnTo>
                      <a:lnTo>
                        <a:pt x="38" y="1058"/>
                      </a:lnTo>
                      <a:lnTo>
                        <a:pt x="38" y="1058"/>
                      </a:lnTo>
                      <a:lnTo>
                        <a:pt x="42" y="1060"/>
                      </a:lnTo>
                      <a:lnTo>
                        <a:pt x="42" y="1060"/>
                      </a:lnTo>
                      <a:lnTo>
                        <a:pt x="44" y="1060"/>
                      </a:lnTo>
                      <a:lnTo>
                        <a:pt x="48" y="1060"/>
                      </a:lnTo>
                      <a:lnTo>
                        <a:pt x="49" y="1061"/>
                      </a:lnTo>
                      <a:lnTo>
                        <a:pt x="49" y="1067"/>
                      </a:lnTo>
                      <a:lnTo>
                        <a:pt x="49" y="1072"/>
                      </a:lnTo>
                      <a:lnTo>
                        <a:pt x="48" y="1078"/>
                      </a:lnTo>
                      <a:lnTo>
                        <a:pt x="48" y="1084"/>
                      </a:lnTo>
                      <a:lnTo>
                        <a:pt x="46" y="1089"/>
                      </a:lnTo>
                      <a:lnTo>
                        <a:pt x="42" y="1093"/>
                      </a:lnTo>
                      <a:lnTo>
                        <a:pt x="40" y="1098"/>
                      </a:lnTo>
                      <a:lnTo>
                        <a:pt x="38" y="1104"/>
                      </a:lnTo>
                      <a:lnTo>
                        <a:pt x="33" y="1115"/>
                      </a:lnTo>
                      <a:lnTo>
                        <a:pt x="29" y="1126"/>
                      </a:lnTo>
                      <a:lnTo>
                        <a:pt x="27" y="1131"/>
                      </a:lnTo>
                      <a:lnTo>
                        <a:pt x="27" y="1131"/>
                      </a:lnTo>
                      <a:lnTo>
                        <a:pt x="25" y="1137"/>
                      </a:lnTo>
                      <a:lnTo>
                        <a:pt x="25" y="1143"/>
                      </a:lnTo>
                      <a:lnTo>
                        <a:pt x="25" y="1144"/>
                      </a:lnTo>
                      <a:lnTo>
                        <a:pt x="24" y="1150"/>
                      </a:lnTo>
                      <a:lnTo>
                        <a:pt x="24" y="1150"/>
                      </a:lnTo>
                      <a:lnTo>
                        <a:pt x="35" y="1154"/>
                      </a:lnTo>
                      <a:lnTo>
                        <a:pt x="44" y="1157"/>
                      </a:lnTo>
                      <a:lnTo>
                        <a:pt x="55" y="1161"/>
                      </a:lnTo>
                      <a:lnTo>
                        <a:pt x="66" y="1163"/>
                      </a:lnTo>
                      <a:lnTo>
                        <a:pt x="72" y="1165"/>
                      </a:lnTo>
                      <a:lnTo>
                        <a:pt x="77" y="1165"/>
                      </a:lnTo>
                      <a:lnTo>
                        <a:pt x="83" y="1167"/>
                      </a:lnTo>
                      <a:lnTo>
                        <a:pt x="83" y="1167"/>
                      </a:lnTo>
                      <a:lnTo>
                        <a:pt x="88" y="1167"/>
                      </a:lnTo>
                      <a:lnTo>
                        <a:pt x="94" y="1167"/>
                      </a:lnTo>
                      <a:lnTo>
                        <a:pt x="99" y="1168"/>
                      </a:lnTo>
                      <a:lnTo>
                        <a:pt x="99" y="1168"/>
                      </a:lnTo>
                      <a:lnTo>
                        <a:pt x="105" y="1167"/>
                      </a:lnTo>
                      <a:lnTo>
                        <a:pt x="105" y="1167"/>
                      </a:lnTo>
                      <a:lnTo>
                        <a:pt x="110" y="1167"/>
                      </a:lnTo>
                      <a:lnTo>
                        <a:pt x="116" y="1167"/>
                      </a:lnTo>
                      <a:lnTo>
                        <a:pt x="121" y="1167"/>
                      </a:lnTo>
                      <a:lnTo>
                        <a:pt x="121" y="1170"/>
                      </a:lnTo>
                      <a:lnTo>
                        <a:pt x="121" y="1178"/>
                      </a:lnTo>
                      <a:lnTo>
                        <a:pt x="121" y="1178"/>
                      </a:lnTo>
                      <a:lnTo>
                        <a:pt x="127" y="1178"/>
                      </a:lnTo>
                      <a:lnTo>
                        <a:pt x="132" y="1178"/>
                      </a:lnTo>
                      <a:lnTo>
                        <a:pt x="132" y="1181"/>
                      </a:lnTo>
                      <a:lnTo>
                        <a:pt x="132" y="1185"/>
                      </a:lnTo>
                      <a:lnTo>
                        <a:pt x="134" y="1191"/>
                      </a:lnTo>
                      <a:lnTo>
                        <a:pt x="134" y="1192"/>
                      </a:lnTo>
                      <a:lnTo>
                        <a:pt x="131" y="1194"/>
                      </a:lnTo>
                      <a:lnTo>
                        <a:pt x="125" y="1194"/>
                      </a:lnTo>
                      <a:lnTo>
                        <a:pt x="121" y="1196"/>
                      </a:lnTo>
                      <a:lnTo>
                        <a:pt x="116" y="1198"/>
                      </a:lnTo>
                      <a:lnTo>
                        <a:pt x="114" y="1198"/>
                      </a:lnTo>
                      <a:lnTo>
                        <a:pt x="116" y="1203"/>
                      </a:lnTo>
                      <a:lnTo>
                        <a:pt x="118" y="1209"/>
                      </a:lnTo>
                      <a:lnTo>
                        <a:pt x="118" y="1215"/>
                      </a:lnTo>
                      <a:lnTo>
                        <a:pt x="120" y="1218"/>
                      </a:lnTo>
                      <a:lnTo>
                        <a:pt x="120" y="1220"/>
                      </a:lnTo>
                      <a:lnTo>
                        <a:pt x="129" y="1218"/>
                      </a:lnTo>
                      <a:lnTo>
                        <a:pt x="136" y="1216"/>
                      </a:lnTo>
                      <a:lnTo>
                        <a:pt x="145" y="1216"/>
                      </a:lnTo>
                      <a:lnTo>
                        <a:pt x="153" y="1216"/>
                      </a:lnTo>
                      <a:lnTo>
                        <a:pt x="155" y="1222"/>
                      </a:lnTo>
                      <a:lnTo>
                        <a:pt x="158" y="1231"/>
                      </a:lnTo>
                      <a:lnTo>
                        <a:pt x="160" y="1239"/>
                      </a:lnTo>
                      <a:lnTo>
                        <a:pt x="162" y="1248"/>
                      </a:lnTo>
                      <a:lnTo>
                        <a:pt x="166" y="1255"/>
                      </a:lnTo>
                      <a:lnTo>
                        <a:pt x="169" y="1264"/>
                      </a:lnTo>
                      <a:lnTo>
                        <a:pt x="171" y="1266"/>
                      </a:lnTo>
                      <a:lnTo>
                        <a:pt x="173" y="1270"/>
                      </a:lnTo>
                      <a:lnTo>
                        <a:pt x="173" y="1270"/>
                      </a:lnTo>
                      <a:lnTo>
                        <a:pt x="177" y="1272"/>
                      </a:lnTo>
                      <a:lnTo>
                        <a:pt x="177" y="1272"/>
                      </a:lnTo>
                      <a:lnTo>
                        <a:pt x="179" y="1274"/>
                      </a:lnTo>
                      <a:lnTo>
                        <a:pt x="175" y="1279"/>
                      </a:lnTo>
                      <a:lnTo>
                        <a:pt x="173" y="1285"/>
                      </a:lnTo>
                      <a:lnTo>
                        <a:pt x="169" y="1292"/>
                      </a:lnTo>
                      <a:lnTo>
                        <a:pt x="166" y="1298"/>
                      </a:lnTo>
                      <a:lnTo>
                        <a:pt x="166" y="1298"/>
                      </a:lnTo>
                      <a:lnTo>
                        <a:pt x="175" y="1301"/>
                      </a:lnTo>
                      <a:lnTo>
                        <a:pt x="182" y="1305"/>
                      </a:lnTo>
                      <a:lnTo>
                        <a:pt x="190" y="1307"/>
                      </a:lnTo>
                      <a:lnTo>
                        <a:pt x="197" y="1310"/>
                      </a:lnTo>
                      <a:lnTo>
                        <a:pt x="197" y="1312"/>
                      </a:lnTo>
                      <a:lnTo>
                        <a:pt x="195" y="1314"/>
                      </a:lnTo>
                      <a:lnTo>
                        <a:pt x="195" y="1316"/>
                      </a:lnTo>
                      <a:lnTo>
                        <a:pt x="195" y="1316"/>
                      </a:lnTo>
                      <a:lnTo>
                        <a:pt x="193" y="1318"/>
                      </a:lnTo>
                      <a:lnTo>
                        <a:pt x="193" y="1327"/>
                      </a:lnTo>
                      <a:lnTo>
                        <a:pt x="193" y="1327"/>
                      </a:lnTo>
                      <a:lnTo>
                        <a:pt x="193" y="1338"/>
                      </a:lnTo>
                      <a:lnTo>
                        <a:pt x="188" y="1338"/>
                      </a:lnTo>
                      <a:lnTo>
                        <a:pt x="182" y="1338"/>
                      </a:lnTo>
                      <a:lnTo>
                        <a:pt x="180" y="1338"/>
                      </a:lnTo>
                      <a:lnTo>
                        <a:pt x="186" y="1351"/>
                      </a:lnTo>
                      <a:lnTo>
                        <a:pt x="192" y="1362"/>
                      </a:lnTo>
                      <a:lnTo>
                        <a:pt x="193" y="1366"/>
                      </a:lnTo>
                      <a:lnTo>
                        <a:pt x="195" y="1370"/>
                      </a:lnTo>
                      <a:lnTo>
                        <a:pt x="197" y="1373"/>
                      </a:lnTo>
                      <a:lnTo>
                        <a:pt x="197" y="1373"/>
                      </a:lnTo>
                      <a:lnTo>
                        <a:pt x="199" y="1377"/>
                      </a:lnTo>
                      <a:lnTo>
                        <a:pt x="201" y="1381"/>
                      </a:lnTo>
                      <a:lnTo>
                        <a:pt x="203" y="1381"/>
                      </a:lnTo>
                      <a:lnTo>
                        <a:pt x="204" y="1384"/>
                      </a:lnTo>
                      <a:lnTo>
                        <a:pt x="208" y="1388"/>
                      </a:lnTo>
                      <a:lnTo>
                        <a:pt x="212" y="1390"/>
                      </a:lnTo>
                      <a:lnTo>
                        <a:pt x="216" y="1394"/>
                      </a:lnTo>
                      <a:lnTo>
                        <a:pt x="216" y="1394"/>
                      </a:lnTo>
                      <a:lnTo>
                        <a:pt x="221" y="1395"/>
                      </a:lnTo>
                      <a:lnTo>
                        <a:pt x="225" y="1397"/>
                      </a:lnTo>
                      <a:lnTo>
                        <a:pt x="230" y="1401"/>
                      </a:lnTo>
                      <a:lnTo>
                        <a:pt x="230" y="1410"/>
                      </a:lnTo>
                      <a:lnTo>
                        <a:pt x="228" y="1419"/>
                      </a:lnTo>
                      <a:lnTo>
                        <a:pt x="227" y="1430"/>
                      </a:lnTo>
                      <a:lnTo>
                        <a:pt x="223" y="1442"/>
                      </a:lnTo>
                      <a:lnTo>
                        <a:pt x="217" y="1464"/>
                      </a:lnTo>
                      <a:lnTo>
                        <a:pt x="212" y="1486"/>
                      </a:lnTo>
                      <a:lnTo>
                        <a:pt x="210" y="1497"/>
                      </a:lnTo>
                      <a:lnTo>
                        <a:pt x="208" y="1508"/>
                      </a:lnTo>
                      <a:lnTo>
                        <a:pt x="206" y="1519"/>
                      </a:lnTo>
                      <a:lnTo>
                        <a:pt x="206" y="1530"/>
                      </a:lnTo>
                      <a:lnTo>
                        <a:pt x="206" y="1536"/>
                      </a:lnTo>
                      <a:lnTo>
                        <a:pt x="208" y="1541"/>
                      </a:lnTo>
                      <a:lnTo>
                        <a:pt x="208" y="1545"/>
                      </a:lnTo>
                      <a:lnTo>
                        <a:pt x="208" y="1545"/>
                      </a:lnTo>
                      <a:lnTo>
                        <a:pt x="208" y="1550"/>
                      </a:lnTo>
                      <a:lnTo>
                        <a:pt x="208" y="1550"/>
                      </a:lnTo>
                      <a:lnTo>
                        <a:pt x="210" y="1556"/>
                      </a:lnTo>
                      <a:lnTo>
                        <a:pt x="212" y="1560"/>
                      </a:lnTo>
                      <a:lnTo>
                        <a:pt x="212" y="1560"/>
                      </a:lnTo>
                      <a:lnTo>
                        <a:pt x="214" y="1565"/>
                      </a:lnTo>
                      <a:lnTo>
                        <a:pt x="216" y="1569"/>
                      </a:lnTo>
                      <a:lnTo>
                        <a:pt x="216" y="1569"/>
                      </a:lnTo>
                      <a:lnTo>
                        <a:pt x="225" y="1571"/>
                      </a:lnTo>
                      <a:lnTo>
                        <a:pt x="232" y="1571"/>
                      </a:lnTo>
                      <a:lnTo>
                        <a:pt x="241" y="1571"/>
                      </a:lnTo>
                      <a:lnTo>
                        <a:pt x="249" y="1573"/>
                      </a:lnTo>
                      <a:lnTo>
                        <a:pt x="249" y="1573"/>
                      </a:lnTo>
                      <a:lnTo>
                        <a:pt x="252" y="1569"/>
                      </a:lnTo>
                      <a:lnTo>
                        <a:pt x="254" y="1567"/>
                      </a:lnTo>
                      <a:lnTo>
                        <a:pt x="254" y="1567"/>
                      </a:lnTo>
                      <a:lnTo>
                        <a:pt x="254" y="1565"/>
                      </a:lnTo>
                      <a:lnTo>
                        <a:pt x="256" y="1563"/>
                      </a:lnTo>
                      <a:lnTo>
                        <a:pt x="256" y="1563"/>
                      </a:lnTo>
                      <a:lnTo>
                        <a:pt x="258" y="1558"/>
                      </a:lnTo>
                      <a:lnTo>
                        <a:pt x="260" y="1547"/>
                      </a:lnTo>
                      <a:lnTo>
                        <a:pt x="286" y="1543"/>
                      </a:lnTo>
                      <a:lnTo>
                        <a:pt x="300" y="1539"/>
                      </a:lnTo>
                      <a:lnTo>
                        <a:pt x="304" y="1537"/>
                      </a:lnTo>
                      <a:lnTo>
                        <a:pt x="304" y="1537"/>
                      </a:lnTo>
                      <a:lnTo>
                        <a:pt x="308" y="1536"/>
                      </a:lnTo>
                      <a:lnTo>
                        <a:pt x="312" y="1534"/>
                      </a:lnTo>
                      <a:lnTo>
                        <a:pt x="315" y="1532"/>
                      </a:lnTo>
                      <a:lnTo>
                        <a:pt x="317" y="1532"/>
                      </a:lnTo>
                      <a:lnTo>
                        <a:pt x="319" y="1521"/>
                      </a:lnTo>
                      <a:lnTo>
                        <a:pt x="321" y="1515"/>
                      </a:lnTo>
                      <a:lnTo>
                        <a:pt x="323" y="1515"/>
                      </a:lnTo>
                      <a:lnTo>
                        <a:pt x="323" y="1515"/>
                      </a:lnTo>
                      <a:lnTo>
                        <a:pt x="324" y="1515"/>
                      </a:lnTo>
                      <a:lnTo>
                        <a:pt x="324" y="1515"/>
                      </a:lnTo>
                      <a:lnTo>
                        <a:pt x="324" y="1517"/>
                      </a:lnTo>
                      <a:lnTo>
                        <a:pt x="324" y="1521"/>
                      </a:lnTo>
                      <a:lnTo>
                        <a:pt x="324" y="1526"/>
                      </a:lnTo>
                      <a:lnTo>
                        <a:pt x="324" y="1530"/>
                      </a:lnTo>
                      <a:lnTo>
                        <a:pt x="324" y="1530"/>
                      </a:lnTo>
                      <a:lnTo>
                        <a:pt x="332" y="1530"/>
                      </a:lnTo>
                      <a:lnTo>
                        <a:pt x="336" y="1530"/>
                      </a:lnTo>
                      <a:lnTo>
                        <a:pt x="336" y="1539"/>
                      </a:lnTo>
                      <a:lnTo>
                        <a:pt x="336" y="1549"/>
                      </a:lnTo>
                      <a:lnTo>
                        <a:pt x="336" y="1558"/>
                      </a:lnTo>
                      <a:lnTo>
                        <a:pt x="336" y="1569"/>
                      </a:lnTo>
                      <a:lnTo>
                        <a:pt x="336" y="1569"/>
                      </a:lnTo>
                      <a:lnTo>
                        <a:pt x="339" y="1569"/>
                      </a:lnTo>
                      <a:lnTo>
                        <a:pt x="339" y="1569"/>
                      </a:lnTo>
                      <a:lnTo>
                        <a:pt x="341" y="1569"/>
                      </a:lnTo>
                      <a:lnTo>
                        <a:pt x="341" y="1569"/>
                      </a:lnTo>
                      <a:lnTo>
                        <a:pt x="341" y="1567"/>
                      </a:lnTo>
                      <a:lnTo>
                        <a:pt x="341" y="1567"/>
                      </a:lnTo>
                      <a:lnTo>
                        <a:pt x="343" y="1565"/>
                      </a:lnTo>
                      <a:lnTo>
                        <a:pt x="343" y="1565"/>
                      </a:lnTo>
                      <a:lnTo>
                        <a:pt x="343" y="1560"/>
                      </a:lnTo>
                      <a:lnTo>
                        <a:pt x="343" y="1560"/>
                      </a:lnTo>
                      <a:lnTo>
                        <a:pt x="343" y="1547"/>
                      </a:lnTo>
                      <a:lnTo>
                        <a:pt x="348" y="1547"/>
                      </a:lnTo>
                      <a:lnTo>
                        <a:pt x="354" y="1547"/>
                      </a:lnTo>
                      <a:lnTo>
                        <a:pt x="354" y="1547"/>
                      </a:lnTo>
                      <a:lnTo>
                        <a:pt x="354" y="1541"/>
                      </a:lnTo>
                      <a:lnTo>
                        <a:pt x="354" y="1536"/>
                      </a:lnTo>
                      <a:lnTo>
                        <a:pt x="358" y="1536"/>
                      </a:lnTo>
                      <a:lnTo>
                        <a:pt x="361" y="1536"/>
                      </a:lnTo>
                      <a:lnTo>
                        <a:pt x="365" y="1536"/>
                      </a:lnTo>
                      <a:lnTo>
                        <a:pt x="371" y="1536"/>
                      </a:lnTo>
                      <a:lnTo>
                        <a:pt x="371" y="1536"/>
                      </a:lnTo>
                      <a:lnTo>
                        <a:pt x="372" y="1525"/>
                      </a:lnTo>
                      <a:lnTo>
                        <a:pt x="372" y="1513"/>
                      </a:lnTo>
                      <a:lnTo>
                        <a:pt x="372" y="1513"/>
                      </a:lnTo>
                      <a:lnTo>
                        <a:pt x="374" y="1502"/>
                      </a:lnTo>
                      <a:lnTo>
                        <a:pt x="376" y="1491"/>
                      </a:lnTo>
                      <a:lnTo>
                        <a:pt x="380" y="1489"/>
                      </a:lnTo>
                      <a:lnTo>
                        <a:pt x="380" y="1489"/>
                      </a:lnTo>
                      <a:lnTo>
                        <a:pt x="383" y="1488"/>
                      </a:lnTo>
                      <a:lnTo>
                        <a:pt x="387" y="1484"/>
                      </a:lnTo>
                      <a:lnTo>
                        <a:pt x="389" y="1482"/>
                      </a:lnTo>
                      <a:lnTo>
                        <a:pt x="393" y="1480"/>
                      </a:lnTo>
                      <a:lnTo>
                        <a:pt x="395" y="1477"/>
                      </a:lnTo>
                      <a:lnTo>
                        <a:pt x="395" y="1477"/>
                      </a:lnTo>
                      <a:lnTo>
                        <a:pt x="396" y="1475"/>
                      </a:lnTo>
                      <a:lnTo>
                        <a:pt x="396" y="1471"/>
                      </a:lnTo>
                      <a:lnTo>
                        <a:pt x="398" y="1469"/>
                      </a:lnTo>
                      <a:lnTo>
                        <a:pt x="400" y="1466"/>
                      </a:lnTo>
                      <a:lnTo>
                        <a:pt x="400" y="1466"/>
                      </a:lnTo>
                      <a:lnTo>
                        <a:pt x="400" y="1462"/>
                      </a:lnTo>
                      <a:lnTo>
                        <a:pt x="402" y="1460"/>
                      </a:lnTo>
                      <a:lnTo>
                        <a:pt x="402" y="1458"/>
                      </a:lnTo>
                      <a:lnTo>
                        <a:pt x="402" y="1451"/>
                      </a:lnTo>
                      <a:lnTo>
                        <a:pt x="404" y="1443"/>
                      </a:lnTo>
                      <a:lnTo>
                        <a:pt x="406" y="1442"/>
                      </a:lnTo>
                      <a:lnTo>
                        <a:pt x="407" y="1442"/>
                      </a:lnTo>
                      <a:lnTo>
                        <a:pt x="411" y="1440"/>
                      </a:lnTo>
                      <a:lnTo>
                        <a:pt x="415" y="1440"/>
                      </a:lnTo>
                      <a:lnTo>
                        <a:pt x="415" y="1440"/>
                      </a:lnTo>
                      <a:lnTo>
                        <a:pt x="415" y="1432"/>
                      </a:lnTo>
                      <a:lnTo>
                        <a:pt x="417" y="1427"/>
                      </a:lnTo>
                      <a:lnTo>
                        <a:pt x="419" y="1421"/>
                      </a:lnTo>
                      <a:lnTo>
                        <a:pt x="419" y="1416"/>
                      </a:lnTo>
                      <a:lnTo>
                        <a:pt x="431" y="1416"/>
                      </a:lnTo>
                      <a:lnTo>
                        <a:pt x="443" y="1416"/>
                      </a:lnTo>
                      <a:lnTo>
                        <a:pt x="454" y="1418"/>
                      </a:lnTo>
                      <a:lnTo>
                        <a:pt x="463" y="1418"/>
                      </a:lnTo>
                      <a:lnTo>
                        <a:pt x="472" y="1421"/>
                      </a:lnTo>
                      <a:lnTo>
                        <a:pt x="483" y="1423"/>
                      </a:lnTo>
                      <a:lnTo>
                        <a:pt x="494" y="1427"/>
                      </a:lnTo>
                      <a:lnTo>
                        <a:pt x="505" y="1432"/>
                      </a:lnTo>
                      <a:lnTo>
                        <a:pt x="507" y="1440"/>
                      </a:lnTo>
                      <a:lnTo>
                        <a:pt x="509" y="1449"/>
                      </a:lnTo>
                      <a:lnTo>
                        <a:pt x="509" y="1460"/>
                      </a:lnTo>
                      <a:lnTo>
                        <a:pt x="511" y="1469"/>
                      </a:lnTo>
                      <a:lnTo>
                        <a:pt x="520" y="1469"/>
                      </a:lnTo>
                      <a:lnTo>
                        <a:pt x="527" y="1467"/>
                      </a:lnTo>
                      <a:lnTo>
                        <a:pt x="537" y="1467"/>
                      </a:lnTo>
                      <a:lnTo>
                        <a:pt x="546" y="1467"/>
                      </a:lnTo>
                      <a:lnTo>
                        <a:pt x="548" y="1467"/>
                      </a:lnTo>
                      <a:lnTo>
                        <a:pt x="542" y="1462"/>
                      </a:lnTo>
                      <a:lnTo>
                        <a:pt x="540" y="1460"/>
                      </a:lnTo>
                      <a:lnTo>
                        <a:pt x="544" y="1460"/>
                      </a:lnTo>
                      <a:lnTo>
                        <a:pt x="548" y="1458"/>
                      </a:lnTo>
                      <a:lnTo>
                        <a:pt x="551" y="1456"/>
                      </a:lnTo>
                      <a:lnTo>
                        <a:pt x="555" y="1454"/>
                      </a:lnTo>
                      <a:lnTo>
                        <a:pt x="555" y="1458"/>
                      </a:lnTo>
                      <a:lnTo>
                        <a:pt x="555" y="1464"/>
                      </a:lnTo>
                      <a:lnTo>
                        <a:pt x="555" y="1464"/>
                      </a:lnTo>
                      <a:lnTo>
                        <a:pt x="568" y="1466"/>
                      </a:lnTo>
                      <a:lnTo>
                        <a:pt x="575" y="1467"/>
                      </a:lnTo>
                      <a:lnTo>
                        <a:pt x="577" y="1467"/>
                      </a:lnTo>
                      <a:lnTo>
                        <a:pt x="579" y="1469"/>
                      </a:lnTo>
                      <a:lnTo>
                        <a:pt x="581" y="1471"/>
                      </a:lnTo>
                      <a:lnTo>
                        <a:pt x="583" y="1471"/>
                      </a:lnTo>
                      <a:lnTo>
                        <a:pt x="579" y="1473"/>
                      </a:lnTo>
                      <a:lnTo>
                        <a:pt x="579" y="1473"/>
                      </a:lnTo>
                      <a:lnTo>
                        <a:pt x="577" y="1477"/>
                      </a:lnTo>
                      <a:lnTo>
                        <a:pt x="577" y="1477"/>
                      </a:lnTo>
                      <a:lnTo>
                        <a:pt x="581" y="1480"/>
                      </a:lnTo>
                      <a:lnTo>
                        <a:pt x="585" y="1484"/>
                      </a:lnTo>
                      <a:lnTo>
                        <a:pt x="586" y="1488"/>
                      </a:lnTo>
                      <a:lnTo>
                        <a:pt x="588" y="1491"/>
                      </a:lnTo>
                      <a:lnTo>
                        <a:pt x="590" y="1499"/>
                      </a:lnTo>
                      <a:lnTo>
                        <a:pt x="592" y="1506"/>
                      </a:lnTo>
                      <a:lnTo>
                        <a:pt x="594" y="1508"/>
                      </a:lnTo>
                      <a:lnTo>
                        <a:pt x="594" y="1508"/>
                      </a:lnTo>
                      <a:lnTo>
                        <a:pt x="594" y="1512"/>
                      </a:lnTo>
                      <a:lnTo>
                        <a:pt x="594" y="1512"/>
                      </a:lnTo>
                      <a:lnTo>
                        <a:pt x="596" y="1515"/>
                      </a:lnTo>
                      <a:lnTo>
                        <a:pt x="598" y="1517"/>
                      </a:lnTo>
                      <a:lnTo>
                        <a:pt x="598" y="1519"/>
                      </a:lnTo>
                      <a:lnTo>
                        <a:pt x="599" y="1521"/>
                      </a:lnTo>
                      <a:lnTo>
                        <a:pt x="603" y="1523"/>
                      </a:lnTo>
                      <a:lnTo>
                        <a:pt x="603" y="1523"/>
                      </a:lnTo>
                      <a:lnTo>
                        <a:pt x="607" y="1526"/>
                      </a:lnTo>
                      <a:lnTo>
                        <a:pt x="607" y="1526"/>
                      </a:lnTo>
                      <a:lnTo>
                        <a:pt x="610" y="1528"/>
                      </a:lnTo>
                      <a:lnTo>
                        <a:pt x="614" y="1534"/>
                      </a:lnTo>
                      <a:lnTo>
                        <a:pt x="614" y="1534"/>
                      </a:lnTo>
                      <a:lnTo>
                        <a:pt x="616" y="1539"/>
                      </a:lnTo>
                      <a:lnTo>
                        <a:pt x="618" y="1545"/>
                      </a:lnTo>
                      <a:lnTo>
                        <a:pt x="622" y="1550"/>
                      </a:lnTo>
                      <a:lnTo>
                        <a:pt x="625" y="1569"/>
                      </a:lnTo>
                      <a:lnTo>
                        <a:pt x="629" y="1580"/>
                      </a:lnTo>
                      <a:lnTo>
                        <a:pt x="631" y="1585"/>
                      </a:lnTo>
                      <a:lnTo>
                        <a:pt x="631" y="1585"/>
                      </a:lnTo>
                      <a:lnTo>
                        <a:pt x="633" y="1589"/>
                      </a:lnTo>
                      <a:lnTo>
                        <a:pt x="634" y="1593"/>
                      </a:lnTo>
                      <a:lnTo>
                        <a:pt x="634" y="1593"/>
                      </a:lnTo>
                      <a:lnTo>
                        <a:pt x="638" y="1597"/>
                      </a:lnTo>
                      <a:lnTo>
                        <a:pt x="638" y="1598"/>
                      </a:lnTo>
                      <a:lnTo>
                        <a:pt x="644" y="1593"/>
                      </a:lnTo>
                      <a:lnTo>
                        <a:pt x="646" y="1589"/>
                      </a:lnTo>
                      <a:lnTo>
                        <a:pt x="651" y="1600"/>
                      </a:lnTo>
                      <a:lnTo>
                        <a:pt x="658" y="1615"/>
                      </a:lnTo>
                      <a:lnTo>
                        <a:pt x="662" y="1622"/>
                      </a:lnTo>
                      <a:lnTo>
                        <a:pt x="668" y="1630"/>
                      </a:lnTo>
                      <a:lnTo>
                        <a:pt x="670" y="1632"/>
                      </a:lnTo>
                      <a:lnTo>
                        <a:pt x="671" y="1635"/>
                      </a:lnTo>
                      <a:lnTo>
                        <a:pt x="675" y="1637"/>
                      </a:lnTo>
                      <a:lnTo>
                        <a:pt x="675" y="1637"/>
                      </a:lnTo>
                      <a:lnTo>
                        <a:pt x="677" y="1637"/>
                      </a:lnTo>
                      <a:lnTo>
                        <a:pt x="677" y="1637"/>
                      </a:lnTo>
                      <a:lnTo>
                        <a:pt x="677" y="1637"/>
                      </a:lnTo>
                      <a:lnTo>
                        <a:pt x="677" y="1639"/>
                      </a:lnTo>
                      <a:lnTo>
                        <a:pt x="681" y="1637"/>
                      </a:lnTo>
                      <a:lnTo>
                        <a:pt x="684" y="1635"/>
                      </a:lnTo>
                      <a:lnTo>
                        <a:pt x="686" y="1635"/>
                      </a:lnTo>
                      <a:lnTo>
                        <a:pt x="690" y="1633"/>
                      </a:lnTo>
                      <a:lnTo>
                        <a:pt x="690" y="1633"/>
                      </a:lnTo>
                      <a:lnTo>
                        <a:pt x="692" y="1630"/>
                      </a:lnTo>
                      <a:lnTo>
                        <a:pt x="692" y="1628"/>
                      </a:lnTo>
                      <a:lnTo>
                        <a:pt x="694" y="1624"/>
                      </a:lnTo>
                      <a:lnTo>
                        <a:pt x="694" y="1622"/>
                      </a:lnTo>
                      <a:lnTo>
                        <a:pt x="708" y="1621"/>
                      </a:lnTo>
                      <a:lnTo>
                        <a:pt x="723" y="1621"/>
                      </a:lnTo>
                      <a:lnTo>
                        <a:pt x="738" y="1621"/>
                      </a:lnTo>
                      <a:lnTo>
                        <a:pt x="751" y="1621"/>
                      </a:lnTo>
                      <a:lnTo>
                        <a:pt x="758" y="1621"/>
                      </a:lnTo>
                      <a:lnTo>
                        <a:pt x="766" y="1622"/>
                      </a:lnTo>
                      <a:lnTo>
                        <a:pt x="773" y="1622"/>
                      </a:lnTo>
                      <a:lnTo>
                        <a:pt x="780" y="1624"/>
                      </a:lnTo>
                      <a:lnTo>
                        <a:pt x="788" y="1626"/>
                      </a:lnTo>
                      <a:lnTo>
                        <a:pt x="795" y="1628"/>
                      </a:lnTo>
                      <a:lnTo>
                        <a:pt x="801" y="1630"/>
                      </a:lnTo>
                      <a:lnTo>
                        <a:pt x="808" y="1632"/>
                      </a:lnTo>
                      <a:lnTo>
                        <a:pt x="810" y="1632"/>
                      </a:lnTo>
                      <a:lnTo>
                        <a:pt x="812" y="1626"/>
                      </a:lnTo>
                      <a:lnTo>
                        <a:pt x="813" y="1622"/>
                      </a:lnTo>
                      <a:lnTo>
                        <a:pt x="823" y="1622"/>
                      </a:lnTo>
                      <a:lnTo>
                        <a:pt x="834" y="1622"/>
                      </a:lnTo>
                      <a:lnTo>
                        <a:pt x="845" y="1624"/>
                      </a:lnTo>
                      <a:lnTo>
                        <a:pt x="858" y="1626"/>
                      </a:lnTo>
                      <a:lnTo>
                        <a:pt x="863" y="1626"/>
                      </a:lnTo>
                      <a:lnTo>
                        <a:pt x="869" y="1628"/>
                      </a:lnTo>
                      <a:lnTo>
                        <a:pt x="874" y="1630"/>
                      </a:lnTo>
                      <a:lnTo>
                        <a:pt x="880" y="1632"/>
                      </a:lnTo>
                      <a:lnTo>
                        <a:pt x="884" y="1635"/>
                      </a:lnTo>
                      <a:lnTo>
                        <a:pt x="889" y="1639"/>
                      </a:lnTo>
                      <a:lnTo>
                        <a:pt x="891" y="1641"/>
                      </a:lnTo>
                      <a:lnTo>
                        <a:pt x="891" y="1643"/>
                      </a:lnTo>
                      <a:lnTo>
                        <a:pt x="893" y="1645"/>
                      </a:lnTo>
                      <a:lnTo>
                        <a:pt x="895" y="1646"/>
                      </a:lnTo>
                      <a:lnTo>
                        <a:pt x="895" y="1646"/>
                      </a:lnTo>
                      <a:lnTo>
                        <a:pt x="904" y="1645"/>
                      </a:lnTo>
                      <a:lnTo>
                        <a:pt x="913" y="1645"/>
                      </a:lnTo>
                      <a:lnTo>
                        <a:pt x="922" y="1643"/>
                      </a:lnTo>
                      <a:lnTo>
                        <a:pt x="932" y="1641"/>
                      </a:lnTo>
                      <a:lnTo>
                        <a:pt x="941" y="1641"/>
                      </a:lnTo>
                      <a:lnTo>
                        <a:pt x="950" y="1639"/>
                      </a:lnTo>
                      <a:lnTo>
                        <a:pt x="959" y="1637"/>
                      </a:lnTo>
                      <a:lnTo>
                        <a:pt x="967" y="1637"/>
                      </a:lnTo>
                      <a:lnTo>
                        <a:pt x="969" y="1641"/>
                      </a:lnTo>
                      <a:lnTo>
                        <a:pt x="969" y="1641"/>
                      </a:lnTo>
                      <a:lnTo>
                        <a:pt x="970" y="1646"/>
                      </a:lnTo>
                      <a:lnTo>
                        <a:pt x="970" y="1646"/>
                      </a:lnTo>
                      <a:lnTo>
                        <a:pt x="976" y="1645"/>
                      </a:lnTo>
                      <a:lnTo>
                        <a:pt x="976" y="1645"/>
                      </a:lnTo>
                      <a:lnTo>
                        <a:pt x="981" y="1645"/>
                      </a:lnTo>
                      <a:lnTo>
                        <a:pt x="985" y="1643"/>
                      </a:lnTo>
                      <a:lnTo>
                        <a:pt x="991" y="1643"/>
                      </a:lnTo>
                      <a:lnTo>
                        <a:pt x="991" y="1643"/>
                      </a:lnTo>
                      <a:lnTo>
                        <a:pt x="991" y="1635"/>
                      </a:lnTo>
                      <a:lnTo>
                        <a:pt x="991" y="1632"/>
                      </a:lnTo>
                      <a:lnTo>
                        <a:pt x="994" y="1632"/>
                      </a:lnTo>
                      <a:lnTo>
                        <a:pt x="1000" y="1632"/>
                      </a:lnTo>
                      <a:lnTo>
                        <a:pt x="1002" y="1632"/>
                      </a:lnTo>
                      <a:lnTo>
                        <a:pt x="1002" y="1626"/>
                      </a:lnTo>
                      <a:lnTo>
                        <a:pt x="1002" y="1621"/>
                      </a:lnTo>
                      <a:lnTo>
                        <a:pt x="1013" y="1617"/>
                      </a:lnTo>
                      <a:lnTo>
                        <a:pt x="1026" y="1615"/>
                      </a:lnTo>
                      <a:lnTo>
                        <a:pt x="1037" y="1611"/>
                      </a:lnTo>
                      <a:lnTo>
                        <a:pt x="1046" y="1608"/>
                      </a:lnTo>
                      <a:lnTo>
                        <a:pt x="1052" y="1608"/>
                      </a:lnTo>
                      <a:lnTo>
                        <a:pt x="1057" y="1606"/>
                      </a:lnTo>
                      <a:lnTo>
                        <a:pt x="1063" y="1606"/>
                      </a:lnTo>
                      <a:lnTo>
                        <a:pt x="1068" y="1604"/>
                      </a:lnTo>
                      <a:lnTo>
                        <a:pt x="1074" y="1604"/>
                      </a:lnTo>
                      <a:lnTo>
                        <a:pt x="1081" y="1604"/>
                      </a:lnTo>
                      <a:lnTo>
                        <a:pt x="1087" y="1604"/>
                      </a:lnTo>
                      <a:lnTo>
                        <a:pt x="1094" y="1604"/>
                      </a:lnTo>
                      <a:lnTo>
                        <a:pt x="1094" y="1604"/>
                      </a:lnTo>
                      <a:lnTo>
                        <a:pt x="1094" y="1598"/>
                      </a:lnTo>
                      <a:lnTo>
                        <a:pt x="1092" y="1593"/>
                      </a:lnTo>
                      <a:lnTo>
                        <a:pt x="1090" y="1589"/>
                      </a:lnTo>
                      <a:lnTo>
                        <a:pt x="1090" y="1585"/>
                      </a:lnTo>
                      <a:lnTo>
                        <a:pt x="1094" y="1582"/>
                      </a:lnTo>
                      <a:lnTo>
                        <a:pt x="1094" y="1582"/>
                      </a:lnTo>
                      <a:lnTo>
                        <a:pt x="1098" y="1578"/>
                      </a:lnTo>
                      <a:lnTo>
                        <a:pt x="1103" y="1576"/>
                      </a:lnTo>
                      <a:lnTo>
                        <a:pt x="1107" y="1573"/>
                      </a:lnTo>
                      <a:lnTo>
                        <a:pt x="1116" y="1567"/>
                      </a:lnTo>
                      <a:lnTo>
                        <a:pt x="1125" y="1563"/>
                      </a:lnTo>
                      <a:lnTo>
                        <a:pt x="1135" y="1560"/>
                      </a:lnTo>
                      <a:lnTo>
                        <a:pt x="1144" y="1556"/>
                      </a:lnTo>
                      <a:lnTo>
                        <a:pt x="1155" y="1552"/>
                      </a:lnTo>
                      <a:lnTo>
                        <a:pt x="1166" y="1549"/>
                      </a:lnTo>
                      <a:lnTo>
                        <a:pt x="1166" y="1547"/>
                      </a:lnTo>
                      <a:lnTo>
                        <a:pt x="1166" y="1547"/>
                      </a:lnTo>
                      <a:lnTo>
                        <a:pt x="1162" y="1543"/>
                      </a:lnTo>
                      <a:lnTo>
                        <a:pt x="1160" y="1541"/>
                      </a:lnTo>
                      <a:lnTo>
                        <a:pt x="1159" y="1537"/>
                      </a:lnTo>
                      <a:lnTo>
                        <a:pt x="1157" y="1532"/>
                      </a:lnTo>
                      <a:lnTo>
                        <a:pt x="1155" y="1526"/>
                      </a:lnTo>
                      <a:lnTo>
                        <a:pt x="1153" y="1517"/>
                      </a:lnTo>
                      <a:lnTo>
                        <a:pt x="1153" y="1517"/>
                      </a:lnTo>
                      <a:lnTo>
                        <a:pt x="1149" y="1504"/>
                      </a:lnTo>
                      <a:lnTo>
                        <a:pt x="1146" y="1488"/>
                      </a:lnTo>
                      <a:lnTo>
                        <a:pt x="1148" y="1486"/>
                      </a:lnTo>
                      <a:lnTo>
                        <a:pt x="1149" y="1484"/>
                      </a:lnTo>
                      <a:lnTo>
                        <a:pt x="1151" y="1482"/>
                      </a:lnTo>
                      <a:lnTo>
                        <a:pt x="1153" y="1482"/>
                      </a:lnTo>
                      <a:lnTo>
                        <a:pt x="1157" y="1480"/>
                      </a:lnTo>
                      <a:lnTo>
                        <a:pt x="1164" y="1478"/>
                      </a:lnTo>
                      <a:lnTo>
                        <a:pt x="1166" y="1478"/>
                      </a:lnTo>
                      <a:lnTo>
                        <a:pt x="1164" y="1473"/>
                      </a:lnTo>
                      <a:lnTo>
                        <a:pt x="1160" y="1467"/>
                      </a:lnTo>
                      <a:lnTo>
                        <a:pt x="1160" y="1467"/>
                      </a:lnTo>
                      <a:lnTo>
                        <a:pt x="1159" y="1464"/>
                      </a:lnTo>
                      <a:lnTo>
                        <a:pt x="1159" y="1464"/>
                      </a:lnTo>
                      <a:lnTo>
                        <a:pt x="1157" y="1460"/>
                      </a:lnTo>
                      <a:lnTo>
                        <a:pt x="1157" y="1460"/>
                      </a:lnTo>
                      <a:lnTo>
                        <a:pt x="1155" y="1458"/>
                      </a:lnTo>
                      <a:lnTo>
                        <a:pt x="1155" y="1458"/>
                      </a:lnTo>
                      <a:lnTo>
                        <a:pt x="1153" y="1454"/>
                      </a:lnTo>
                      <a:lnTo>
                        <a:pt x="1153" y="1454"/>
                      </a:lnTo>
                      <a:lnTo>
                        <a:pt x="1149" y="1453"/>
                      </a:lnTo>
                      <a:lnTo>
                        <a:pt x="1149" y="1453"/>
                      </a:lnTo>
                      <a:lnTo>
                        <a:pt x="1148" y="1449"/>
                      </a:lnTo>
                      <a:lnTo>
                        <a:pt x="1144" y="1447"/>
                      </a:lnTo>
                      <a:lnTo>
                        <a:pt x="1144" y="1447"/>
                      </a:lnTo>
                      <a:lnTo>
                        <a:pt x="1140" y="1445"/>
                      </a:lnTo>
                      <a:lnTo>
                        <a:pt x="1140" y="1445"/>
                      </a:lnTo>
                      <a:lnTo>
                        <a:pt x="1136" y="1443"/>
                      </a:lnTo>
                      <a:lnTo>
                        <a:pt x="1133" y="1442"/>
                      </a:lnTo>
                      <a:lnTo>
                        <a:pt x="1133" y="1442"/>
                      </a:lnTo>
                      <a:lnTo>
                        <a:pt x="1129" y="1442"/>
                      </a:lnTo>
                      <a:lnTo>
                        <a:pt x="1125" y="1440"/>
                      </a:lnTo>
                      <a:lnTo>
                        <a:pt x="1125" y="1440"/>
                      </a:lnTo>
                      <a:lnTo>
                        <a:pt x="1120" y="1440"/>
                      </a:lnTo>
                      <a:lnTo>
                        <a:pt x="1116" y="1438"/>
                      </a:lnTo>
                      <a:lnTo>
                        <a:pt x="1116" y="1436"/>
                      </a:lnTo>
                      <a:lnTo>
                        <a:pt x="1118" y="1430"/>
                      </a:lnTo>
                      <a:lnTo>
                        <a:pt x="1118" y="1427"/>
                      </a:lnTo>
                      <a:lnTo>
                        <a:pt x="1120" y="1425"/>
                      </a:lnTo>
                      <a:lnTo>
                        <a:pt x="1124" y="1425"/>
                      </a:lnTo>
                      <a:lnTo>
                        <a:pt x="1129" y="1425"/>
                      </a:lnTo>
                      <a:lnTo>
                        <a:pt x="1131" y="1425"/>
                      </a:lnTo>
                      <a:lnTo>
                        <a:pt x="1131" y="1412"/>
                      </a:lnTo>
                      <a:lnTo>
                        <a:pt x="1131" y="1401"/>
                      </a:lnTo>
                      <a:lnTo>
                        <a:pt x="1131" y="1390"/>
                      </a:lnTo>
                      <a:lnTo>
                        <a:pt x="1131" y="1379"/>
                      </a:lnTo>
                      <a:lnTo>
                        <a:pt x="1122" y="1373"/>
                      </a:lnTo>
                      <a:lnTo>
                        <a:pt x="1112" y="1370"/>
                      </a:lnTo>
                      <a:lnTo>
                        <a:pt x="1103" y="1364"/>
                      </a:lnTo>
                      <a:lnTo>
                        <a:pt x="1094" y="1360"/>
                      </a:lnTo>
                      <a:lnTo>
                        <a:pt x="1100" y="1358"/>
                      </a:lnTo>
                      <a:lnTo>
                        <a:pt x="1105" y="1357"/>
                      </a:lnTo>
                      <a:lnTo>
                        <a:pt x="1112" y="1355"/>
                      </a:lnTo>
                      <a:lnTo>
                        <a:pt x="1118" y="1353"/>
                      </a:lnTo>
                      <a:lnTo>
                        <a:pt x="1120" y="1353"/>
                      </a:lnTo>
                      <a:lnTo>
                        <a:pt x="1118" y="1340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29"/>
                      </a:lnTo>
                      <a:lnTo>
                        <a:pt x="1116" y="1318"/>
                      </a:lnTo>
                      <a:lnTo>
                        <a:pt x="1116" y="1318"/>
                      </a:lnTo>
                      <a:lnTo>
                        <a:pt x="1114" y="1307"/>
                      </a:lnTo>
                      <a:lnTo>
                        <a:pt x="1114" y="1294"/>
                      </a:lnTo>
                      <a:lnTo>
                        <a:pt x="1116" y="1283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6" y="1272"/>
                      </a:lnTo>
                      <a:lnTo>
                        <a:pt x="1118" y="1259"/>
                      </a:lnTo>
                      <a:lnTo>
                        <a:pt x="1127" y="1253"/>
                      </a:lnTo>
                      <a:lnTo>
                        <a:pt x="1136" y="1248"/>
                      </a:lnTo>
                      <a:lnTo>
                        <a:pt x="1146" y="1242"/>
                      </a:lnTo>
                      <a:lnTo>
                        <a:pt x="1155" y="1239"/>
                      </a:lnTo>
                      <a:lnTo>
                        <a:pt x="1164" y="1235"/>
                      </a:lnTo>
                      <a:lnTo>
                        <a:pt x="1175" y="1231"/>
                      </a:lnTo>
                      <a:lnTo>
                        <a:pt x="1184" y="1229"/>
                      </a:lnTo>
                      <a:lnTo>
                        <a:pt x="1197" y="1227"/>
                      </a:lnTo>
                      <a:lnTo>
                        <a:pt x="1197" y="1215"/>
                      </a:lnTo>
                      <a:lnTo>
                        <a:pt x="1197" y="1205"/>
                      </a:lnTo>
                      <a:lnTo>
                        <a:pt x="1197" y="1194"/>
                      </a:lnTo>
                      <a:lnTo>
                        <a:pt x="1197" y="1183"/>
                      </a:lnTo>
                      <a:lnTo>
                        <a:pt x="1205" y="1183"/>
                      </a:lnTo>
                      <a:lnTo>
                        <a:pt x="1214" y="1183"/>
                      </a:lnTo>
                      <a:lnTo>
                        <a:pt x="1225" y="1183"/>
                      </a:lnTo>
                      <a:lnTo>
                        <a:pt x="1234" y="1183"/>
                      </a:lnTo>
                      <a:lnTo>
                        <a:pt x="1234" y="1178"/>
                      </a:lnTo>
                      <a:lnTo>
                        <a:pt x="1234" y="1172"/>
                      </a:lnTo>
                      <a:lnTo>
                        <a:pt x="1240" y="1172"/>
                      </a:lnTo>
                      <a:lnTo>
                        <a:pt x="1245" y="1172"/>
                      </a:lnTo>
                      <a:lnTo>
                        <a:pt x="1245" y="1172"/>
                      </a:lnTo>
                      <a:lnTo>
                        <a:pt x="1249" y="1155"/>
                      </a:lnTo>
                      <a:lnTo>
                        <a:pt x="1255" y="1143"/>
                      </a:lnTo>
                      <a:lnTo>
                        <a:pt x="1256" y="1139"/>
                      </a:lnTo>
                      <a:lnTo>
                        <a:pt x="1256" y="1139"/>
                      </a:lnTo>
                      <a:lnTo>
                        <a:pt x="1256" y="1135"/>
                      </a:lnTo>
                      <a:lnTo>
                        <a:pt x="1258" y="1131"/>
                      </a:lnTo>
                      <a:lnTo>
                        <a:pt x="1260" y="1130"/>
                      </a:lnTo>
                      <a:lnTo>
                        <a:pt x="1264" y="1128"/>
                      </a:lnTo>
                      <a:lnTo>
                        <a:pt x="1266" y="1124"/>
                      </a:lnTo>
                      <a:lnTo>
                        <a:pt x="1269" y="1122"/>
                      </a:lnTo>
                      <a:lnTo>
                        <a:pt x="1273" y="1120"/>
                      </a:lnTo>
                      <a:lnTo>
                        <a:pt x="1273" y="1120"/>
                      </a:lnTo>
                      <a:lnTo>
                        <a:pt x="1264" y="1104"/>
                      </a:lnTo>
                      <a:lnTo>
                        <a:pt x="1256" y="1091"/>
                      </a:lnTo>
                      <a:lnTo>
                        <a:pt x="1253" y="1082"/>
                      </a:lnTo>
                      <a:lnTo>
                        <a:pt x="1249" y="1074"/>
                      </a:lnTo>
                      <a:lnTo>
                        <a:pt x="1247" y="1074"/>
                      </a:lnTo>
                      <a:lnTo>
                        <a:pt x="1249" y="1074"/>
                      </a:lnTo>
                      <a:lnTo>
                        <a:pt x="1247" y="1074"/>
                      </a:lnTo>
                      <a:lnTo>
                        <a:pt x="1249" y="1074"/>
                      </a:lnTo>
                      <a:lnTo>
                        <a:pt x="1245" y="1067"/>
                      </a:lnTo>
                      <a:lnTo>
                        <a:pt x="1243" y="1061"/>
                      </a:lnTo>
                      <a:lnTo>
                        <a:pt x="1242" y="1054"/>
                      </a:lnTo>
                      <a:lnTo>
                        <a:pt x="1240" y="1045"/>
                      </a:lnTo>
                      <a:lnTo>
                        <a:pt x="1236" y="1045"/>
                      </a:lnTo>
                      <a:lnTo>
                        <a:pt x="1231" y="1045"/>
                      </a:lnTo>
                      <a:lnTo>
                        <a:pt x="1227" y="1045"/>
                      </a:lnTo>
                      <a:lnTo>
                        <a:pt x="1223" y="1045"/>
                      </a:lnTo>
                      <a:lnTo>
                        <a:pt x="1223" y="1036"/>
                      </a:lnTo>
                      <a:lnTo>
                        <a:pt x="1223" y="1028"/>
                      </a:lnTo>
                      <a:lnTo>
                        <a:pt x="1223" y="1019"/>
                      </a:lnTo>
                      <a:lnTo>
                        <a:pt x="1223" y="1012"/>
                      </a:lnTo>
                      <a:lnTo>
                        <a:pt x="1223" y="1006"/>
                      </a:lnTo>
                      <a:lnTo>
                        <a:pt x="1225" y="997"/>
                      </a:lnTo>
                      <a:lnTo>
                        <a:pt x="1229" y="989"/>
                      </a:lnTo>
                      <a:lnTo>
                        <a:pt x="1231" y="980"/>
                      </a:lnTo>
                      <a:lnTo>
                        <a:pt x="1231" y="958"/>
                      </a:lnTo>
                      <a:lnTo>
                        <a:pt x="1231" y="941"/>
                      </a:lnTo>
                      <a:lnTo>
                        <a:pt x="1231" y="927"/>
                      </a:lnTo>
                      <a:lnTo>
                        <a:pt x="1229" y="914"/>
                      </a:lnTo>
                      <a:lnTo>
                        <a:pt x="1229" y="905"/>
                      </a:lnTo>
                      <a:lnTo>
                        <a:pt x="1227" y="895"/>
                      </a:lnTo>
                      <a:lnTo>
                        <a:pt x="1227" y="886"/>
                      </a:lnTo>
                      <a:lnTo>
                        <a:pt x="1229" y="877"/>
                      </a:lnTo>
                      <a:lnTo>
                        <a:pt x="1236" y="877"/>
                      </a:lnTo>
                      <a:lnTo>
                        <a:pt x="1243" y="879"/>
                      </a:lnTo>
                      <a:lnTo>
                        <a:pt x="1251" y="879"/>
                      </a:lnTo>
                      <a:lnTo>
                        <a:pt x="1258" y="881"/>
                      </a:lnTo>
                      <a:lnTo>
                        <a:pt x="1266" y="882"/>
                      </a:lnTo>
                      <a:lnTo>
                        <a:pt x="1271" y="884"/>
                      </a:lnTo>
                      <a:lnTo>
                        <a:pt x="1280" y="886"/>
                      </a:lnTo>
                      <a:lnTo>
                        <a:pt x="1288" y="888"/>
                      </a:lnTo>
                      <a:lnTo>
                        <a:pt x="1291" y="882"/>
                      </a:lnTo>
                      <a:lnTo>
                        <a:pt x="1291" y="879"/>
                      </a:lnTo>
                      <a:lnTo>
                        <a:pt x="1295" y="879"/>
                      </a:lnTo>
                      <a:lnTo>
                        <a:pt x="1301" y="881"/>
                      </a:lnTo>
                      <a:lnTo>
                        <a:pt x="1304" y="882"/>
                      </a:lnTo>
                      <a:lnTo>
                        <a:pt x="1310" y="884"/>
                      </a:lnTo>
                      <a:lnTo>
                        <a:pt x="1310" y="884"/>
                      </a:lnTo>
                      <a:lnTo>
                        <a:pt x="1310" y="877"/>
                      </a:lnTo>
                      <a:lnTo>
                        <a:pt x="1310" y="873"/>
                      </a:lnTo>
                      <a:lnTo>
                        <a:pt x="1315" y="873"/>
                      </a:lnTo>
                      <a:lnTo>
                        <a:pt x="1321" y="873"/>
                      </a:lnTo>
                      <a:lnTo>
                        <a:pt x="1321" y="873"/>
                      </a:lnTo>
                      <a:lnTo>
                        <a:pt x="1321" y="868"/>
                      </a:lnTo>
                      <a:lnTo>
                        <a:pt x="1321" y="864"/>
                      </a:lnTo>
                      <a:lnTo>
                        <a:pt x="1321" y="858"/>
                      </a:lnTo>
                      <a:lnTo>
                        <a:pt x="1321" y="857"/>
                      </a:lnTo>
                      <a:lnTo>
                        <a:pt x="1336" y="855"/>
                      </a:lnTo>
                      <a:lnTo>
                        <a:pt x="1345" y="853"/>
                      </a:lnTo>
                      <a:lnTo>
                        <a:pt x="1356" y="855"/>
                      </a:lnTo>
                      <a:lnTo>
                        <a:pt x="1371" y="857"/>
                      </a:lnTo>
                      <a:lnTo>
                        <a:pt x="1371" y="847"/>
                      </a:lnTo>
                      <a:lnTo>
                        <a:pt x="1371" y="838"/>
                      </a:lnTo>
                      <a:lnTo>
                        <a:pt x="1371" y="831"/>
                      </a:lnTo>
                      <a:lnTo>
                        <a:pt x="1371" y="821"/>
                      </a:lnTo>
                      <a:lnTo>
                        <a:pt x="1371" y="821"/>
                      </a:lnTo>
                      <a:lnTo>
                        <a:pt x="1369" y="821"/>
                      </a:lnTo>
                      <a:lnTo>
                        <a:pt x="1369" y="821"/>
                      </a:lnTo>
                      <a:lnTo>
                        <a:pt x="1369" y="820"/>
                      </a:lnTo>
                      <a:lnTo>
                        <a:pt x="1369" y="820"/>
                      </a:lnTo>
                      <a:lnTo>
                        <a:pt x="1371" y="818"/>
                      </a:lnTo>
                      <a:lnTo>
                        <a:pt x="1371" y="816"/>
                      </a:lnTo>
                      <a:lnTo>
                        <a:pt x="1371" y="810"/>
                      </a:lnTo>
                      <a:lnTo>
                        <a:pt x="1371" y="807"/>
                      </a:lnTo>
                      <a:lnTo>
                        <a:pt x="1371" y="799"/>
                      </a:lnTo>
                      <a:lnTo>
                        <a:pt x="1371" y="796"/>
                      </a:lnTo>
                      <a:lnTo>
                        <a:pt x="1371" y="794"/>
                      </a:lnTo>
                      <a:lnTo>
                        <a:pt x="1365" y="794"/>
                      </a:lnTo>
                      <a:lnTo>
                        <a:pt x="1360" y="794"/>
                      </a:lnTo>
                      <a:lnTo>
                        <a:pt x="1360" y="788"/>
                      </a:lnTo>
                      <a:lnTo>
                        <a:pt x="1360" y="781"/>
                      </a:lnTo>
                      <a:lnTo>
                        <a:pt x="1360" y="773"/>
                      </a:lnTo>
                      <a:lnTo>
                        <a:pt x="1360" y="766"/>
                      </a:lnTo>
                      <a:lnTo>
                        <a:pt x="1360" y="766"/>
                      </a:lnTo>
                      <a:lnTo>
                        <a:pt x="1352" y="759"/>
                      </a:lnTo>
                      <a:lnTo>
                        <a:pt x="1345" y="751"/>
                      </a:lnTo>
                      <a:lnTo>
                        <a:pt x="1339" y="746"/>
                      </a:lnTo>
                      <a:lnTo>
                        <a:pt x="1334" y="738"/>
                      </a:lnTo>
                      <a:lnTo>
                        <a:pt x="1328" y="733"/>
                      </a:lnTo>
                      <a:lnTo>
                        <a:pt x="1325" y="726"/>
                      </a:lnTo>
                      <a:lnTo>
                        <a:pt x="1323" y="720"/>
                      </a:lnTo>
                      <a:lnTo>
                        <a:pt x="1319" y="714"/>
                      </a:lnTo>
                      <a:lnTo>
                        <a:pt x="1317" y="707"/>
                      </a:lnTo>
                      <a:lnTo>
                        <a:pt x="1315" y="702"/>
                      </a:lnTo>
                      <a:lnTo>
                        <a:pt x="1314" y="694"/>
                      </a:lnTo>
                      <a:lnTo>
                        <a:pt x="1312" y="687"/>
                      </a:lnTo>
                      <a:lnTo>
                        <a:pt x="1310" y="670"/>
                      </a:lnTo>
                      <a:lnTo>
                        <a:pt x="1306" y="654"/>
                      </a:lnTo>
                      <a:lnTo>
                        <a:pt x="1317" y="648"/>
                      </a:lnTo>
                      <a:lnTo>
                        <a:pt x="1327" y="642"/>
                      </a:lnTo>
                      <a:lnTo>
                        <a:pt x="1330" y="641"/>
                      </a:lnTo>
                      <a:lnTo>
                        <a:pt x="1332" y="641"/>
                      </a:lnTo>
                      <a:lnTo>
                        <a:pt x="1336" y="637"/>
                      </a:lnTo>
                      <a:lnTo>
                        <a:pt x="1336" y="637"/>
                      </a:lnTo>
                      <a:lnTo>
                        <a:pt x="1338" y="635"/>
                      </a:lnTo>
                      <a:lnTo>
                        <a:pt x="1338" y="635"/>
                      </a:lnTo>
                      <a:lnTo>
                        <a:pt x="1339" y="633"/>
                      </a:lnTo>
                      <a:lnTo>
                        <a:pt x="1339" y="633"/>
                      </a:lnTo>
                      <a:lnTo>
                        <a:pt x="1339" y="630"/>
                      </a:lnTo>
                      <a:lnTo>
                        <a:pt x="1339" y="630"/>
                      </a:lnTo>
                      <a:lnTo>
                        <a:pt x="1341" y="628"/>
                      </a:lnTo>
                      <a:lnTo>
                        <a:pt x="1345" y="628"/>
                      </a:lnTo>
                      <a:lnTo>
                        <a:pt x="1349" y="630"/>
                      </a:lnTo>
                      <a:lnTo>
                        <a:pt x="1352" y="631"/>
                      </a:lnTo>
                      <a:lnTo>
                        <a:pt x="1358" y="631"/>
                      </a:lnTo>
                      <a:lnTo>
                        <a:pt x="1358" y="631"/>
                      </a:lnTo>
                      <a:lnTo>
                        <a:pt x="1358" y="624"/>
                      </a:lnTo>
                      <a:lnTo>
                        <a:pt x="1358" y="617"/>
                      </a:lnTo>
                      <a:lnTo>
                        <a:pt x="1358" y="611"/>
                      </a:lnTo>
                      <a:lnTo>
                        <a:pt x="1358" y="604"/>
                      </a:lnTo>
                      <a:lnTo>
                        <a:pt x="1358" y="604"/>
                      </a:lnTo>
                      <a:lnTo>
                        <a:pt x="1352" y="602"/>
                      </a:lnTo>
                      <a:lnTo>
                        <a:pt x="1347" y="602"/>
                      </a:lnTo>
                      <a:lnTo>
                        <a:pt x="1343" y="600"/>
                      </a:lnTo>
                      <a:lnTo>
                        <a:pt x="1341" y="600"/>
                      </a:lnTo>
                      <a:lnTo>
                        <a:pt x="1338" y="600"/>
                      </a:lnTo>
                      <a:lnTo>
                        <a:pt x="1339" y="596"/>
                      </a:lnTo>
                      <a:lnTo>
                        <a:pt x="1339" y="596"/>
                      </a:lnTo>
                      <a:lnTo>
                        <a:pt x="1339" y="591"/>
                      </a:lnTo>
                      <a:lnTo>
                        <a:pt x="1341" y="587"/>
                      </a:lnTo>
                      <a:lnTo>
                        <a:pt x="1341" y="583"/>
                      </a:lnTo>
                      <a:lnTo>
                        <a:pt x="1347" y="582"/>
                      </a:lnTo>
                      <a:lnTo>
                        <a:pt x="1352" y="582"/>
                      </a:lnTo>
                      <a:lnTo>
                        <a:pt x="1358" y="580"/>
                      </a:lnTo>
                      <a:lnTo>
                        <a:pt x="1365" y="578"/>
                      </a:lnTo>
                      <a:lnTo>
                        <a:pt x="1365" y="578"/>
                      </a:lnTo>
                      <a:lnTo>
                        <a:pt x="1371" y="569"/>
                      </a:lnTo>
                      <a:lnTo>
                        <a:pt x="1375" y="559"/>
                      </a:lnTo>
                      <a:lnTo>
                        <a:pt x="1378" y="558"/>
                      </a:lnTo>
                      <a:lnTo>
                        <a:pt x="1382" y="554"/>
                      </a:lnTo>
                      <a:lnTo>
                        <a:pt x="1384" y="552"/>
                      </a:lnTo>
                      <a:lnTo>
                        <a:pt x="1386" y="552"/>
                      </a:lnTo>
                      <a:lnTo>
                        <a:pt x="1387" y="550"/>
                      </a:lnTo>
                      <a:lnTo>
                        <a:pt x="1389" y="550"/>
                      </a:lnTo>
                      <a:lnTo>
                        <a:pt x="1389" y="556"/>
                      </a:lnTo>
                      <a:lnTo>
                        <a:pt x="1389" y="559"/>
                      </a:lnTo>
                      <a:lnTo>
                        <a:pt x="1389" y="561"/>
                      </a:lnTo>
                      <a:lnTo>
                        <a:pt x="1395" y="561"/>
                      </a:lnTo>
                      <a:lnTo>
                        <a:pt x="1402" y="563"/>
                      </a:lnTo>
                      <a:lnTo>
                        <a:pt x="1406" y="565"/>
                      </a:lnTo>
                      <a:lnTo>
                        <a:pt x="1411" y="567"/>
                      </a:lnTo>
                      <a:lnTo>
                        <a:pt x="1413" y="567"/>
                      </a:lnTo>
                      <a:lnTo>
                        <a:pt x="1411" y="561"/>
                      </a:lnTo>
                      <a:lnTo>
                        <a:pt x="1411" y="556"/>
                      </a:lnTo>
                      <a:lnTo>
                        <a:pt x="1410" y="552"/>
                      </a:lnTo>
                      <a:lnTo>
                        <a:pt x="1410" y="548"/>
                      </a:lnTo>
                      <a:lnTo>
                        <a:pt x="1413" y="543"/>
                      </a:lnTo>
                      <a:lnTo>
                        <a:pt x="1413" y="543"/>
                      </a:lnTo>
                      <a:lnTo>
                        <a:pt x="1417" y="539"/>
                      </a:lnTo>
                      <a:lnTo>
                        <a:pt x="1417" y="539"/>
                      </a:lnTo>
                      <a:lnTo>
                        <a:pt x="1421" y="534"/>
                      </a:lnTo>
                      <a:lnTo>
                        <a:pt x="1421" y="534"/>
                      </a:lnTo>
                      <a:lnTo>
                        <a:pt x="1423" y="530"/>
                      </a:lnTo>
                      <a:lnTo>
                        <a:pt x="1423" y="530"/>
                      </a:lnTo>
                      <a:lnTo>
                        <a:pt x="1426" y="519"/>
                      </a:lnTo>
                      <a:lnTo>
                        <a:pt x="1430" y="506"/>
                      </a:lnTo>
                      <a:lnTo>
                        <a:pt x="1434" y="506"/>
                      </a:lnTo>
                      <a:lnTo>
                        <a:pt x="1439" y="504"/>
                      </a:lnTo>
                      <a:lnTo>
                        <a:pt x="1445" y="502"/>
                      </a:lnTo>
                      <a:lnTo>
                        <a:pt x="1448" y="502"/>
                      </a:lnTo>
                      <a:lnTo>
                        <a:pt x="1450" y="500"/>
                      </a:lnTo>
                      <a:lnTo>
                        <a:pt x="1446" y="499"/>
                      </a:lnTo>
                      <a:lnTo>
                        <a:pt x="1446" y="497"/>
                      </a:lnTo>
                      <a:lnTo>
                        <a:pt x="1445" y="495"/>
                      </a:lnTo>
                      <a:lnTo>
                        <a:pt x="1443" y="491"/>
                      </a:lnTo>
                      <a:lnTo>
                        <a:pt x="1439" y="484"/>
                      </a:lnTo>
                      <a:lnTo>
                        <a:pt x="1435" y="471"/>
                      </a:lnTo>
                      <a:lnTo>
                        <a:pt x="1432" y="467"/>
                      </a:lnTo>
                      <a:lnTo>
                        <a:pt x="1428" y="465"/>
                      </a:lnTo>
                      <a:lnTo>
                        <a:pt x="1424" y="463"/>
                      </a:lnTo>
                      <a:lnTo>
                        <a:pt x="1423" y="462"/>
                      </a:lnTo>
                      <a:lnTo>
                        <a:pt x="1417" y="456"/>
                      </a:lnTo>
                      <a:lnTo>
                        <a:pt x="1410" y="449"/>
                      </a:lnTo>
                      <a:lnTo>
                        <a:pt x="1411" y="439"/>
                      </a:lnTo>
                      <a:lnTo>
                        <a:pt x="1413" y="430"/>
                      </a:lnTo>
                      <a:lnTo>
                        <a:pt x="1417" y="421"/>
                      </a:lnTo>
                      <a:lnTo>
                        <a:pt x="1419" y="412"/>
                      </a:lnTo>
                      <a:lnTo>
                        <a:pt x="1415" y="412"/>
                      </a:lnTo>
                      <a:lnTo>
                        <a:pt x="1411" y="410"/>
                      </a:lnTo>
                      <a:lnTo>
                        <a:pt x="1408" y="408"/>
                      </a:lnTo>
                      <a:lnTo>
                        <a:pt x="1406" y="408"/>
                      </a:lnTo>
                      <a:lnTo>
                        <a:pt x="1402" y="401"/>
                      </a:lnTo>
                      <a:lnTo>
                        <a:pt x="1402" y="395"/>
                      </a:lnTo>
                      <a:lnTo>
                        <a:pt x="1400" y="393"/>
                      </a:lnTo>
                      <a:lnTo>
                        <a:pt x="1400" y="391"/>
                      </a:lnTo>
                      <a:lnTo>
                        <a:pt x="1400" y="390"/>
                      </a:lnTo>
                      <a:lnTo>
                        <a:pt x="1400" y="386"/>
                      </a:lnTo>
                      <a:lnTo>
                        <a:pt x="1402" y="382"/>
                      </a:lnTo>
                      <a:lnTo>
                        <a:pt x="1404" y="377"/>
                      </a:lnTo>
                      <a:lnTo>
                        <a:pt x="1404" y="371"/>
                      </a:lnTo>
                      <a:lnTo>
                        <a:pt x="1408" y="364"/>
                      </a:lnTo>
                      <a:lnTo>
                        <a:pt x="1408" y="364"/>
                      </a:lnTo>
                      <a:lnTo>
                        <a:pt x="1400" y="364"/>
                      </a:lnTo>
                      <a:lnTo>
                        <a:pt x="1397" y="364"/>
                      </a:lnTo>
                      <a:lnTo>
                        <a:pt x="1395" y="358"/>
                      </a:lnTo>
                      <a:lnTo>
                        <a:pt x="1393" y="353"/>
                      </a:lnTo>
                      <a:lnTo>
                        <a:pt x="1391" y="347"/>
                      </a:lnTo>
                      <a:lnTo>
                        <a:pt x="1391" y="342"/>
                      </a:lnTo>
                      <a:lnTo>
                        <a:pt x="1393" y="342"/>
                      </a:lnTo>
                      <a:lnTo>
                        <a:pt x="1397" y="342"/>
                      </a:lnTo>
                      <a:lnTo>
                        <a:pt x="1402" y="342"/>
                      </a:lnTo>
                      <a:lnTo>
                        <a:pt x="1406" y="342"/>
                      </a:lnTo>
                      <a:lnTo>
                        <a:pt x="1408" y="342"/>
                      </a:lnTo>
                      <a:lnTo>
                        <a:pt x="1408" y="336"/>
                      </a:lnTo>
                      <a:lnTo>
                        <a:pt x="1408" y="332"/>
                      </a:lnTo>
                      <a:lnTo>
                        <a:pt x="1410" y="332"/>
                      </a:lnTo>
                      <a:lnTo>
                        <a:pt x="1413" y="332"/>
                      </a:lnTo>
                      <a:lnTo>
                        <a:pt x="1419" y="332"/>
                      </a:lnTo>
                      <a:lnTo>
                        <a:pt x="1423" y="332"/>
                      </a:lnTo>
                      <a:lnTo>
                        <a:pt x="1423" y="332"/>
                      </a:lnTo>
                      <a:lnTo>
                        <a:pt x="1423" y="327"/>
                      </a:lnTo>
                      <a:lnTo>
                        <a:pt x="1423" y="321"/>
                      </a:lnTo>
                      <a:lnTo>
                        <a:pt x="1428" y="320"/>
                      </a:lnTo>
                      <a:lnTo>
                        <a:pt x="1432" y="320"/>
                      </a:lnTo>
                      <a:lnTo>
                        <a:pt x="1435" y="318"/>
                      </a:lnTo>
                      <a:lnTo>
                        <a:pt x="1439" y="316"/>
                      </a:lnTo>
                      <a:lnTo>
                        <a:pt x="1441" y="316"/>
                      </a:lnTo>
                      <a:lnTo>
                        <a:pt x="1439" y="312"/>
                      </a:lnTo>
                      <a:lnTo>
                        <a:pt x="1439" y="307"/>
                      </a:lnTo>
                      <a:lnTo>
                        <a:pt x="1439" y="303"/>
                      </a:lnTo>
                      <a:lnTo>
                        <a:pt x="1439" y="299"/>
                      </a:lnTo>
                      <a:lnTo>
                        <a:pt x="1446" y="299"/>
                      </a:lnTo>
                      <a:lnTo>
                        <a:pt x="1456" y="299"/>
                      </a:lnTo>
                      <a:lnTo>
                        <a:pt x="1465" y="299"/>
                      </a:lnTo>
                      <a:lnTo>
                        <a:pt x="1472" y="301"/>
                      </a:lnTo>
                      <a:lnTo>
                        <a:pt x="1474" y="301"/>
                      </a:lnTo>
                      <a:lnTo>
                        <a:pt x="1474" y="292"/>
                      </a:lnTo>
                      <a:lnTo>
                        <a:pt x="1472" y="284"/>
                      </a:lnTo>
                      <a:lnTo>
                        <a:pt x="1472" y="277"/>
                      </a:lnTo>
                      <a:lnTo>
                        <a:pt x="1472" y="272"/>
                      </a:lnTo>
                      <a:lnTo>
                        <a:pt x="1476" y="270"/>
                      </a:lnTo>
                      <a:lnTo>
                        <a:pt x="1478" y="268"/>
                      </a:lnTo>
                      <a:lnTo>
                        <a:pt x="1482" y="266"/>
                      </a:lnTo>
                      <a:lnTo>
                        <a:pt x="1485" y="264"/>
                      </a:lnTo>
                      <a:lnTo>
                        <a:pt x="1487" y="262"/>
                      </a:lnTo>
                      <a:lnTo>
                        <a:pt x="1483" y="259"/>
                      </a:lnTo>
                      <a:lnTo>
                        <a:pt x="1482" y="255"/>
                      </a:lnTo>
                      <a:lnTo>
                        <a:pt x="1482" y="255"/>
                      </a:lnTo>
                      <a:lnTo>
                        <a:pt x="1480" y="251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8" y="249"/>
                      </a:lnTo>
                      <a:lnTo>
                        <a:pt x="1476" y="249"/>
                      </a:lnTo>
                      <a:lnTo>
                        <a:pt x="1478" y="253"/>
                      </a:lnTo>
                      <a:lnTo>
                        <a:pt x="1478" y="253"/>
                      </a:lnTo>
                      <a:lnTo>
                        <a:pt x="1480" y="255"/>
                      </a:lnTo>
                      <a:lnTo>
                        <a:pt x="1482" y="259"/>
                      </a:lnTo>
                      <a:lnTo>
                        <a:pt x="1482" y="260"/>
                      </a:lnTo>
                      <a:lnTo>
                        <a:pt x="1483" y="262"/>
                      </a:lnTo>
                      <a:lnTo>
                        <a:pt x="1482" y="264"/>
                      </a:lnTo>
                      <a:lnTo>
                        <a:pt x="1478" y="266"/>
                      </a:lnTo>
                      <a:lnTo>
                        <a:pt x="1478" y="266"/>
                      </a:lnTo>
                      <a:lnTo>
                        <a:pt x="1474" y="268"/>
                      </a:lnTo>
                      <a:lnTo>
                        <a:pt x="1470" y="270"/>
                      </a:lnTo>
                      <a:lnTo>
                        <a:pt x="1470" y="272"/>
                      </a:lnTo>
                      <a:lnTo>
                        <a:pt x="1470" y="277"/>
                      </a:lnTo>
                      <a:lnTo>
                        <a:pt x="1472" y="284"/>
                      </a:lnTo>
                      <a:lnTo>
                        <a:pt x="1472" y="292"/>
                      </a:lnTo>
                      <a:lnTo>
                        <a:pt x="1472" y="299"/>
                      </a:lnTo>
                      <a:lnTo>
                        <a:pt x="1465" y="299"/>
                      </a:lnTo>
                      <a:lnTo>
                        <a:pt x="1456" y="297"/>
                      </a:lnTo>
                      <a:lnTo>
                        <a:pt x="1446" y="297"/>
                      </a:lnTo>
                      <a:lnTo>
                        <a:pt x="1439" y="297"/>
                      </a:lnTo>
                      <a:lnTo>
                        <a:pt x="1437" y="297"/>
                      </a:lnTo>
                      <a:lnTo>
                        <a:pt x="1437" y="303"/>
                      </a:lnTo>
                      <a:lnTo>
                        <a:pt x="1437" y="307"/>
                      </a:lnTo>
                      <a:lnTo>
                        <a:pt x="1437" y="307"/>
                      </a:lnTo>
                      <a:lnTo>
                        <a:pt x="1439" y="312"/>
                      </a:lnTo>
                      <a:lnTo>
                        <a:pt x="1439" y="316"/>
                      </a:lnTo>
                      <a:lnTo>
                        <a:pt x="1435" y="316"/>
                      </a:lnTo>
                      <a:lnTo>
                        <a:pt x="1432" y="318"/>
                      </a:lnTo>
                      <a:lnTo>
                        <a:pt x="1426" y="318"/>
                      </a:lnTo>
                      <a:lnTo>
                        <a:pt x="1423" y="320"/>
                      </a:lnTo>
                      <a:lnTo>
                        <a:pt x="1423" y="320"/>
                      </a:lnTo>
                      <a:lnTo>
                        <a:pt x="1423" y="327"/>
                      </a:lnTo>
                      <a:lnTo>
                        <a:pt x="1423" y="331"/>
                      </a:lnTo>
                      <a:lnTo>
                        <a:pt x="1419" y="331"/>
                      </a:lnTo>
                      <a:lnTo>
                        <a:pt x="1413" y="331"/>
                      </a:lnTo>
                      <a:lnTo>
                        <a:pt x="1410" y="331"/>
                      </a:lnTo>
                      <a:lnTo>
                        <a:pt x="1406" y="331"/>
                      </a:lnTo>
                      <a:lnTo>
                        <a:pt x="1406" y="331"/>
                      </a:lnTo>
                      <a:lnTo>
                        <a:pt x="1406" y="336"/>
                      </a:lnTo>
                      <a:lnTo>
                        <a:pt x="1406" y="342"/>
                      </a:lnTo>
                      <a:lnTo>
                        <a:pt x="1402" y="342"/>
                      </a:lnTo>
                      <a:lnTo>
                        <a:pt x="1397" y="342"/>
                      </a:lnTo>
                      <a:lnTo>
                        <a:pt x="1393" y="342"/>
                      </a:lnTo>
                      <a:lnTo>
                        <a:pt x="1389" y="342"/>
                      </a:lnTo>
                      <a:lnTo>
                        <a:pt x="1389" y="342"/>
                      </a:lnTo>
                      <a:lnTo>
                        <a:pt x="1389" y="347"/>
                      </a:lnTo>
                      <a:lnTo>
                        <a:pt x="1391" y="353"/>
                      </a:lnTo>
                      <a:lnTo>
                        <a:pt x="1393" y="358"/>
                      </a:lnTo>
                      <a:lnTo>
                        <a:pt x="1395" y="364"/>
                      </a:lnTo>
                      <a:lnTo>
                        <a:pt x="1395" y="366"/>
                      </a:lnTo>
                      <a:lnTo>
                        <a:pt x="1400" y="366"/>
                      </a:lnTo>
                      <a:lnTo>
                        <a:pt x="1406" y="364"/>
                      </a:lnTo>
                      <a:lnTo>
                        <a:pt x="1404" y="369"/>
                      </a:lnTo>
                      <a:lnTo>
                        <a:pt x="1404" y="369"/>
                      </a:lnTo>
                      <a:lnTo>
                        <a:pt x="1402" y="377"/>
                      </a:lnTo>
                      <a:lnTo>
                        <a:pt x="1400" y="382"/>
                      </a:lnTo>
                      <a:lnTo>
                        <a:pt x="1400" y="382"/>
                      </a:lnTo>
                      <a:lnTo>
                        <a:pt x="1400" y="386"/>
                      </a:lnTo>
                      <a:lnTo>
                        <a:pt x="1399" y="390"/>
                      </a:lnTo>
                      <a:lnTo>
                        <a:pt x="1399" y="390"/>
                      </a:lnTo>
                      <a:lnTo>
                        <a:pt x="1399" y="391"/>
                      </a:lnTo>
                      <a:lnTo>
                        <a:pt x="1399" y="391"/>
                      </a:lnTo>
                      <a:lnTo>
                        <a:pt x="1400" y="393"/>
                      </a:lnTo>
                      <a:lnTo>
                        <a:pt x="1400" y="397"/>
                      </a:lnTo>
                      <a:lnTo>
                        <a:pt x="1400" y="397"/>
                      </a:lnTo>
                      <a:lnTo>
                        <a:pt x="1402" y="403"/>
                      </a:lnTo>
                      <a:lnTo>
                        <a:pt x="1402" y="403"/>
                      </a:lnTo>
                      <a:lnTo>
                        <a:pt x="1404" y="408"/>
                      </a:lnTo>
                      <a:lnTo>
                        <a:pt x="1404" y="408"/>
                      </a:lnTo>
                      <a:lnTo>
                        <a:pt x="1408" y="410"/>
                      </a:lnTo>
                      <a:lnTo>
                        <a:pt x="1411" y="412"/>
                      </a:lnTo>
                      <a:lnTo>
                        <a:pt x="1413" y="412"/>
                      </a:lnTo>
                      <a:lnTo>
                        <a:pt x="1417" y="414"/>
                      </a:lnTo>
                      <a:lnTo>
                        <a:pt x="1415" y="421"/>
                      </a:lnTo>
                      <a:lnTo>
                        <a:pt x="1413" y="430"/>
                      </a:lnTo>
                      <a:lnTo>
                        <a:pt x="1411" y="439"/>
                      </a:lnTo>
                      <a:lnTo>
                        <a:pt x="1410" y="449"/>
                      </a:lnTo>
                      <a:lnTo>
                        <a:pt x="1415" y="458"/>
                      </a:lnTo>
                      <a:lnTo>
                        <a:pt x="1421" y="463"/>
                      </a:lnTo>
                      <a:lnTo>
                        <a:pt x="1424" y="465"/>
                      </a:lnTo>
                      <a:lnTo>
                        <a:pt x="1424" y="465"/>
                      </a:lnTo>
                      <a:lnTo>
                        <a:pt x="1426" y="467"/>
                      </a:lnTo>
                      <a:lnTo>
                        <a:pt x="1430" y="469"/>
                      </a:lnTo>
                      <a:lnTo>
                        <a:pt x="1430" y="469"/>
                      </a:lnTo>
                      <a:lnTo>
                        <a:pt x="1435" y="471"/>
                      </a:lnTo>
                      <a:lnTo>
                        <a:pt x="1439" y="486"/>
                      </a:lnTo>
                      <a:lnTo>
                        <a:pt x="1441" y="493"/>
                      </a:lnTo>
                      <a:lnTo>
                        <a:pt x="1443" y="495"/>
                      </a:lnTo>
                      <a:lnTo>
                        <a:pt x="1443" y="495"/>
                      </a:lnTo>
                      <a:lnTo>
                        <a:pt x="1445" y="497"/>
                      </a:lnTo>
                      <a:lnTo>
                        <a:pt x="1446" y="499"/>
                      </a:lnTo>
                      <a:lnTo>
                        <a:pt x="1446" y="500"/>
                      </a:lnTo>
                      <a:lnTo>
                        <a:pt x="1445" y="500"/>
                      </a:lnTo>
                      <a:lnTo>
                        <a:pt x="1439" y="502"/>
                      </a:lnTo>
                      <a:lnTo>
                        <a:pt x="1434" y="504"/>
                      </a:lnTo>
                      <a:lnTo>
                        <a:pt x="1428" y="506"/>
                      </a:lnTo>
                      <a:lnTo>
                        <a:pt x="1428" y="506"/>
                      </a:lnTo>
                      <a:lnTo>
                        <a:pt x="1424" y="519"/>
                      </a:lnTo>
                      <a:lnTo>
                        <a:pt x="1421" y="528"/>
                      </a:lnTo>
                      <a:lnTo>
                        <a:pt x="1419" y="534"/>
                      </a:lnTo>
                      <a:lnTo>
                        <a:pt x="1417" y="539"/>
                      </a:lnTo>
                      <a:lnTo>
                        <a:pt x="1413" y="543"/>
                      </a:lnTo>
                      <a:lnTo>
                        <a:pt x="1408" y="547"/>
                      </a:lnTo>
                      <a:lnTo>
                        <a:pt x="1408" y="547"/>
                      </a:lnTo>
                      <a:lnTo>
                        <a:pt x="1408" y="552"/>
                      </a:lnTo>
                      <a:lnTo>
                        <a:pt x="1410" y="556"/>
                      </a:lnTo>
                      <a:lnTo>
                        <a:pt x="1410" y="561"/>
                      </a:lnTo>
                      <a:lnTo>
                        <a:pt x="1411" y="565"/>
                      </a:lnTo>
                      <a:lnTo>
                        <a:pt x="1408" y="563"/>
                      </a:lnTo>
                      <a:lnTo>
                        <a:pt x="1402" y="561"/>
                      </a:lnTo>
                      <a:lnTo>
                        <a:pt x="1402" y="561"/>
                      </a:lnTo>
                      <a:lnTo>
                        <a:pt x="1397" y="561"/>
                      </a:lnTo>
                      <a:lnTo>
                        <a:pt x="1391" y="559"/>
                      </a:lnTo>
                      <a:lnTo>
                        <a:pt x="1391" y="556"/>
                      </a:lnTo>
                      <a:lnTo>
                        <a:pt x="1391" y="548"/>
                      </a:lnTo>
                      <a:lnTo>
                        <a:pt x="1391" y="548"/>
                      </a:lnTo>
                      <a:lnTo>
                        <a:pt x="1387" y="548"/>
                      </a:lnTo>
                      <a:lnTo>
                        <a:pt x="1387" y="548"/>
                      </a:lnTo>
                      <a:lnTo>
                        <a:pt x="1384" y="550"/>
                      </a:lnTo>
                      <a:lnTo>
                        <a:pt x="1384" y="550"/>
                      </a:lnTo>
                      <a:lnTo>
                        <a:pt x="1382" y="552"/>
                      </a:lnTo>
                      <a:lnTo>
                        <a:pt x="1382" y="552"/>
                      </a:lnTo>
                      <a:lnTo>
                        <a:pt x="1380" y="552"/>
                      </a:lnTo>
                      <a:lnTo>
                        <a:pt x="1380" y="552"/>
                      </a:lnTo>
                      <a:lnTo>
                        <a:pt x="1376" y="556"/>
                      </a:lnTo>
                      <a:lnTo>
                        <a:pt x="1375" y="559"/>
                      </a:lnTo>
                      <a:lnTo>
                        <a:pt x="1375" y="559"/>
                      </a:lnTo>
                      <a:lnTo>
                        <a:pt x="1369" y="567"/>
                      </a:lnTo>
                      <a:lnTo>
                        <a:pt x="1363" y="576"/>
                      </a:lnTo>
                      <a:lnTo>
                        <a:pt x="1358" y="578"/>
                      </a:lnTo>
                      <a:lnTo>
                        <a:pt x="1352" y="580"/>
                      </a:lnTo>
                      <a:lnTo>
                        <a:pt x="1347" y="580"/>
                      </a:lnTo>
                      <a:lnTo>
                        <a:pt x="1341" y="582"/>
                      </a:lnTo>
                      <a:lnTo>
                        <a:pt x="1341" y="582"/>
                      </a:lnTo>
                      <a:lnTo>
                        <a:pt x="1339" y="587"/>
                      </a:lnTo>
                      <a:lnTo>
                        <a:pt x="1339" y="591"/>
                      </a:lnTo>
                      <a:lnTo>
                        <a:pt x="1338" y="594"/>
                      </a:lnTo>
                      <a:lnTo>
                        <a:pt x="1336" y="600"/>
                      </a:lnTo>
                      <a:lnTo>
                        <a:pt x="1336" y="600"/>
                      </a:lnTo>
                      <a:lnTo>
                        <a:pt x="1341" y="602"/>
                      </a:lnTo>
                      <a:lnTo>
                        <a:pt x="1347" y="602"/>
                      </a:lnTo>
                      <a:lnTo>
                        <a:pt x="1352" y="604"/>
                      </a:lnTo>
                      <a:lnTo>
                        <a:pt x="1358" y="604"/>
                      </a:lnTo>
                      <a:lnTo>
                        <a:pt x="1358" y="611"/>
                      </a:lnTo>
                      <a:lnTo>
                        <a:pt x="1358" y="617"/>
                      </a:lnTo>
                      <a:lnTo>
                        <a:pt x="1358" y="624"/>
                      </a:lnTo>
                      <a:lnTo>
                        <a:pt x="1358" y="630"/>
                      </a:lnTo>
                      <a:lnTo>
                        <a:pt x="1354" y="630"/>
                      </a:lnTo>
                      <a:lnTo>
                        <a:pt x="1349" y="628"/>
                      </a:lnTo>
                      <a:lnTo>
                        <a:pt x="1345" y="628"/>
                      </a:lnTo>
                      <a:lnTo>
                        <a:pt x="1345" y="628"/>
                      </a:lnTo>
                      <a:lnTo>
                        <a:pt x="1341" y="626"/>
                      </a:lnTo>
                      <a:lnTo>
                        <a:pt x="1339" y="626"/>
                      </a:lnTo>
                      <a:lnTo>
                        <a:pt x="1338" y="630"/>
                      </a:lnTo>
                      <a:lnTo>
                        <a:pt x="1338" y="631"/>
                      </a:lnTo>
                      <a:lnTo>
                        <a:pt x="1336" y="633"/>
                      </a:lnTo>
                      <a:lnTo>
                        <a:pt x="1334" y="635"/>
                      </a:lnTo>
                      <a:lnTo>
                        <a:pt x="1330" y="639"/>
                      </a:lnTo>
                      <a:lnTo>
                        <a:pt x="1327" y="642"/>
                      </a:lnTo>
                      <a:lnTo>
                        <a:pt x="1315" y="648"/>
                      </a:lnTo>
                      <a:lnTo>
                        <a:pt x="1306" y="654"/>
                      </a:lnTo>
                      <a:lnTo>
                        <a:pt x="1308" y="672"/>
                      </a:lnTo>
                      <a:lnTo>
                        <a:pt x="1312" y="687"/>
                      </a:lnTo>
                      <a:lnTo>
                        <a:pt x="1312" y="694"/>
                      </a:lnTo>
                      <a:lnTo>
                        <a:pt x="1314" y="702"/>
                      </a:lnTo>
                      <a:lnTo>
                        <a:pt x="1314" y="702"/>
                      </a:lnTo>
                      <a:lnTo>
                        <a:pt x="1315" y="707"/>
                      </a:lnTo>
                      <a:lnTo>
                        <a:pt x="1317" y="714"/>
                      </a:lnTo>
                      <a:lnTo>
                        <a:pt x="1317" y="714"/>
                      </a:lnTo>
                      <a:lnTo>
                        <a:pt x="1321" y="720"/>
                      </a:lnTo>
                      <a:lnTo>
                        <a:pt x="1325" y="727"/>
                      </a:lnTo>
                      <a:lnTo>
                        <a:pt x="1328" y="733"/>
                      </a:lnTo>
                      <a:lnTo>
                        <a:pt x="1332" y="740"/>
                      </a:lnTo>
                      <a:lnTo>
                        <a:pt x="1338" y="746"/>
                      </a:lnTo>
                      <a:lnTo>
                        <a:pt x="1343" y="753"/>
                      </a:lnTo>
                      <a:lnTo>
                        <a:pt x="1351" y="759"/>
                      </a:lnTo>
                      <a:lnTo>
                        <a:pt x="1360" y="766"/>
                      </a:lnTo>
                      <a:lnTo>
                        <a:pt x="1358" y="773"/>
                      </a:lnTo>
                      <a:lnTo>
                        <a:pt x="1358" y="781"/>
                      </a:lnTo>
                      <a:lnTo>
                        <a:pt x="1358" y="788"/>
                      </a:lnTo>
                      <a:lnTo>
                        <a:pt x="1358" y="796"/>
                      </a:lnTo>
                      <a:lnTo>
                        <a:pt x="1358" y="796"/>
                      </a:lnTo>
                      <a:lnTo>
                        <a:pt x="1365" y="796"/>
                      </a:lnTo>
                      <a:lnTo>
                        <a:pt x="1369" y="796"/>
                      </a:lnTo>
                      <a:lnTo>
                        <a:pt x="1369" y="799"/>
                      </a:lnTo>
                      <a:lnTo>
                        <a:pt x="1369" y="807"/>
                      </a:lnTo>
                      <a:lnTo>
                        <a:pt x="1369" y="810"/>
                      </a:lnTo>
                      <a:lnTo>
                        <a:pt x="1369" y="816"/>
                      </a:lnTo>
                      <a:lnTo>
                        <a:pt x="1367" y="818"/>
                      </a:lnTo>
                      <a:lnTo>
                        <a:pt x="1367" y="818"/>
                      </a:lnTo>
                      <a:lnTo>
                        <a:pt x="1367" y="820"/>
                      </a:lnTo>
                      <a:lnTo>
                        <a:pt x="1367" y="820"/>
                      </a:lnTo>
                      <a:lnTo>
                        <a:pt x="1367" y="821"/>
                      </a:lnTo>
                      <a:lnTo>
                        <a:pt x="1367" y="821"/>
                      </a:lnTo>
                      <a:lnTo>
                        <a:pt x="1369" y="823"/>
                      </a:lnTo>
                      <a:lnTo>
                        <a:pt x="1369" y="831"/>
                      </a:lnTo>
                      <a:lnTo>
                        <a:pt x="1369" y="838"/>
                      </a:lnTo>
                      <a:lnTo>
                        <a:pt x="1369" y="847"/>
                      </a:lnTo>
                      <a:lnTo>
                        <a:pt x="1369" y="855"/>
                      </a:lnTo>
                      <a:lnTo>
                        <a:pt x="1356" y="853"/>
                      </a:lnTo>
                      <a:lnTo>
                        <a:pt x="1345" y="851"/>
                      </a:lnTo>
                      <a:lnTo>
                        <a:pt x="1336" y="853"/>
                      </a:lnTo>
                      <a:lnTo>
                        <a:pt x="1319" y="855"/>
                      </a:lnTo>
                      <a:lnTo>
                        <a:pt x="1319" y="858"/>
                      </a:lnTo>
                      <a:lnTo>
                        <a:pt x="1319" y="864"/>
                      </a:lnTo>
                      <a:lnTo>
                        <a:pt x="1319" y="868"/>
                      </a:lnTo>
                      <a:lnTo>
                        <a:pt x="1319" y="871"/>
                      </a:lnTo>
                      <a:lnTo>
                        <a:pt x="1315" y="871"/>
                      </a:lnTo>
                      <a:lnTo>
                        <a:pt x="1310" y="871"/>
                      </a:lnTo>
                      <a:lnTo>
                        <a:pt x="1310" y="871"/>
                      </a:lnTo>
                      <a:lnTo>
                        <a:pt x="1310" y="877"/>
                      </a:lnTo>
                      <a:lnTo>
                        <a:pt x="1310" y="882"/>
                      </a:lnTo>
                      <a:lnTo>
                        <a:pt x="1304" y="881"/>
                      </a:lnTo>
                      <a:lnTo>
                        <a:pt x="1301" y="879"/>
                      </a:lnTo>
                      <a:lnTo>
                        <a:pt x="1297" y="879"/>
                      </a:lnTo>
                      <a:lnTo>
                        <a:pt x="1291" y="877"/>
                      </a:lnTo>
                      <a:lnTo>
                        <a:pt x="1291" y="877"/>
                      </a:lnTo>
                      <a:lnTo>
                        <a:pt x="1290" y="882"/>
                      </a:lnTo>
                      <a:lnTo>
                        <a:pt x="1288" y="886"/>
                      </a:lnTo>
                      <a:lnTo>
                        <a:pt x="1280" y="884"/>
                      </a:lnTo>
                      <a:lnTo>
                        <a:pt x="1273" y="882"/>
                      </a:lnTo>
                      <a:lnTo>
                        <a:pt x="1266" y="881"/>
                      </a:lnTo>
                      <a:lnTo>
                        <a:pt x="1258" y="879"/>
                      </a:lnTo>
                      <a:lnTo>
                        <a:pt x="1258" y="879"/>
                      </a:lnTo>
                      <a:lnTo>
                        <a:pt x="1251" y="877"/>
                      </a:lnTo>
                      <a:lnTo>
                        <a:pt x="1243" y="877"/>
                      </a:lnTo>
                      <a:lnTo>
                        <a:pt x="1236" y="877"/>
                      </a:lnTo>
                      <a:lnTo>
                        <a:pt x="1227" y="877"/>
                      </a:lnTo>
                      <a:lnTo>
                        <a:pt x="1227" y="877"/>
                      </a:lnTo>
                      <a:lnTo>
                        <a:pt x="1227" y="886"/>
                      </a:lnTo>
                      <a:lnTo>
                        <a:pt x="1227" y="895"/>
                      </a:lnTo>
                      <a:lnTo>
                        <a:pt x="1227" y="895"/>
                      </a:lnTo>
                      <a:lnTo>
                        <a:pt x="1227" y="905"/>
                      </a:lnTo>
                      <a:lnTo>
                        <a:pt x="1227" y="914"/>
                      </a:lnTo>
                      <a:lnTo>
                        <a:pt x="1229" y="927"/>
                      </a:lnTo>
                      <a:lnTo>
                        <a:pt x="1229" y="941"/>
                      </a:lnTo>
                      <a:lnTo>
                        <a:pt x="1229" y="958"/>
                      </a:lnTo>
                      <a:lnTo>
                        <a:pt x="1231" y="980"/>
                      </a:lnTo>
                      <a:lnTo>
                        <a:pt x="1227" y="989"/>
                      </a:lnTo>
                      <a:lnTo>
                        <a:pt x="1223" y="997"/>
                      </a:lnTo>
                      <a:lnTo>
                        <a:pt x="1221" y="1004"/>
                      </a:lnTo>
                      <a:lnTo>
                        <a:pt x="1221" y="1004"/>
                      </a:lnTo>
                      <a:lnTo>
                        <a:pt x="1221" y="1012"/>
                      </a:lnTo>
                      <a:lnTo>
                        <a:pt x="1221" y="1019"/>
                      </a:lnTo>
                      <a:lnTo>
                        <a:pt x="1221" y="1028"/>
                      </a:lnTo>
                      <a:lnTo>
                        <a:pt x="1221" y="1037"/>
                      </a:lnTo>
                      <a:lnTo>
                        <a:pt x="1221" y="1047"/>
                      </a:lnTo>
                      <a:lnTo>
                        <a:pt x="1227" y="1047"/>
                      </a:lnTo>
                      <a:lnTo>
                        <a:pt x="1231" y="1047"/>
                      </a:lnTo>
                      <a:lnTo>
                        <a:pt x="1236" y="1047"/>
                      </a:lnTo>
                      <a:lnTo>
                        <a:pt x="1238" y="1047"/>
                      </a:lnTo>
                      <a:lnTo>
                        <a:pt x="1240" y="1054"/>
                      </a:lnTo>
                      <a:lnTo>
                        <a:pt x="1240" y="1054"/>
                      </a:lnTo>
                      <a:lnTo>
                        <a:pt x="1242" y="1061"/>
                      </a:lnTo>
                      <a:lnTo>
                        <a:pt x="1243" y="1067"/>
                      </a:lnTo>
                      <a:lnTo>
                        <a:pt x="1247" y="1074"/>
                      </a:lnTo>
                      <a:lnTo>
                        <a:pt x="1247" y="1074"/>
                      </a:lnTo>
                      <a:lnTo>
                        <a:pt x="1251" y="1082"/>
                      </a:lnTo>
                      <a:lnTo>
                        <a:pt x="1256" y="1091"/>
                      </a:lnTo>
                      <a:lnTo>
                        <a:pt x="1262" y="1104"/>
                      </a:lnTo>
                      <a:lnTo>
                        <a:pt x="1271" y="1119"/>
                      </a:lnTo>
                      <a:lnTo>
                        <a:pt x="1267" y="1120"/>
                      </a:lnTo>
                      <a:lnTo>
                        <a:pt x="1266" y="1122"/>
                      </a:lnTo>
                      <a:lnTo>
                        <a:pt x="1266" y="1124"/>
                      </a:lnTo>
                      <a:lnTo>
                        <a:pt x="1262" y="1126"/>
                      </a:lnTo>
                      <a:lnTo>
                        <a:pt x="1260" y="1128"/>
                      </a:lnTo>
                      <a:lnTo>
                        <a:pt x="1260" y="1128"/>
                      </a:lnTo>
                      <a:lnTo>
                        <a:pt x="1258" y="1131"/>
                      </a:lnTo>
                      <a:lnTo>
                        <a:pt x="1258" y="1131"/>
                      </a:lnTo>
                      <a:lnTo>
                        <a:pt x="1256" y="1135"/>
                      </a:lnTo>
                      <a:lnTo>
                        <a:pt x="1256" y="1135"/>
                      </a:lnTo>
                      <a:lnTo>
                        <a:pt x="1255" y="1139"/>
                      </a:lnTo>
                      <a:lnTo>
                        <a:pt x="1253" y="1141"/>
                      </a:lnTo>
                      <a:lnTo>
                        <a:pt x="1253" y="1141"/>
                      </a:lnTo>
                      <a:lnTo>
                        <a:pt x="1249" y="1155"/>
                      </a:lnTo>
                      <a:lnTo>
                        <a:pt x="1245" y="1170"/>
                      </a:lnTo>
                      <a:lnTo>
                        <a:pt x="1240" y="1170"/>
                      </a:lnTo>
                      <a:lnTo>
                        <a:pt x="1234" y="1170"/>
                      </a:lnTo>
                      <a:lnTo>
                        <a:pt x="1234" y="1170"/>
                      </a:lnTo>
                      <a:lnTo>
                        <a:pt x="1234" y="1178"/>
                      </a:lnTo>
                      <a:lnTo>
                        <a:pt x="1234" y="1181"/>
                      </a:lnTo>
                      <a:lnTo>
                        <a:pt x="1225" y="1181"/>
                      </a:lnTo>
                      <a:lnTo>
                        <a:pt x="1214" y="1181"/>
                      </a:lnTo>
                      <a:lnTo>
                        <a:pt x="1205" y="1181"/>
                      </a:lnTo>
                      <a:lnTo>
                        <a:pt x="1196" y="1181"/>
                      </a:lnTo>
                      <a:lnTo>
                        <a:pt x="1196" y="1181"/>
                      </a:lnTo>
                      <a:lnTo>
                        <a:pt x="1196" y="1194"/>
                      </a:lnTo>
                      <a:lnTo>
                        <a:pt x="1196" y="1205"/>
                      </a:lnTo>
                      <a:lnTo>
                        <a:pt x="1196" y="1215"/>
                      </a:lnTo>
                      <a:lnTo>
                        <a:pt x="1196" y="1226"/>
                      </a:lnTo>
                      <a:lnTo>
                        <a:pt x="1184" y="1227"/>
                      </a:lnTo>
                      <a:lnTo>
                        <a:pt x="1173" y="1229"/>
                      </a:lnTo>
                      <a:lnTo>
                        <a:pt x="1164" y="1233"/>
                      </a:lnTo>
                      <a:lnTo>
                        <a:pt x="1153" y="1237"/>
                      </a:lnTo>
                      <a:lnTo>
                        <a:pt x="1144" y="1240"/>
                      </a:lnTo>
                      <a:lnTo>
                        <a:pt x="1135" y="1246"/>
                      </a:lnTo>
                      <a:lnTo>
                        <a:pt x="1125" y="1251"/>
                      </a:lnTo>
                      <a:lnTo>
                        <a:pt x="1116" y="1259"/>
                      </a:lnTo>
                      <a:lnTo>
                        <a:pt x="1114" y="1272"/>
                      </a:lnTo>
                      <a:lnTo>
                        <a:pt x="1114" y="1283"/>
                      </a:lnTo>
                      <a:lnTo>
                        <a:pt x="1114" y="1294"/>
                      </a:lnTo>
                      <a:lnTo>
                        <a:pt x="1112" y="1307"/>
                      </a:lnTo>
                      <a:lnTo>
                        <a:pt x="1114" y="1318"/>
                      </a:lnTo>
                      <a:lnTo>
                        <a:pt x="1114" y="1329"/>
                      </a:lnTo>
                      <a:lnTo>
                        <a:pt x="1116" y="1340"/>
                      </a:lnTo>
                      <a:lnTo>
                        <a:pt x="1118" y="1353"/>
                      </a:lnTo>
                      <a:lnTo>
                        <a:pt x="1112" y="1353"/>
                      </a:lnTo>
                      <a:lnTo>
                        <a:pt x="1105" y="1355"/>
                      </a:lnTo>
                      <a:lnTo>
                        <a:pt x="1100" y="1357"/>
                      </a:lnTo>
                      <a:lnTo>
                        <a:pt x="1092" y="1360"/>
                      </a:lnTo>
                      <a:lnTo>
                        <a:pt x="1090" y="1360"/>
                      </a:lnTo>
                      <a:lnTo>
                        <a:pt x="1101" y="1366"/>
                      </a:lnTo>
                      <a:lnTo>
                        <a:pt x="1112" y="1370"/>
                      </a:lnTo>
                      <a:lnTo>
                        <a:pt x="1122" y="1375"/>
                      </a:lnTo>
                      <a:lnTo>
                        <a:pt x="1131" y="1381"/>
                      </a:lnTo>
                      <a:lnTo>
                        <a:pt x="1129" y="1390"/>
                      </a:lnTo>
                      <a:lnTo>
                        <a:pt x="1129" y="1401"/>
                      </a:lnTo>
                      <a:lnTo>
                        <a:pt x="1129" y="1412"/>
                      </a:lnTo>
                      <a:lnTo>
                        <a:pt x="1129" y="1423"/>
                      </a:lnTo>
                      <a:lnTo>
                        <a:pt x="1124" y="1423"/>
                      </a:lnTo>
                      <a:lnTo>
                        <a:pt x="1118" y="1423"/>
                      </a:lnTo>
                      <a:lnTo>
                        <a:pt x="1118" y="1423"/>
                      </a:lnTo>
                      <a:lnTo>
                        <a:pt x="1116" y="1427"/>
                      </a:lnTo>
                      <a:lnTo>
                        <a:pt x="1116" y="1427"/>
                      </a:lnTo>
                      <a:lnTo>
                        <a:pt x="1116" y="1430"/>
                      </a:lnTo>
                      <a:lnTo>
                        <a:pt x="1116" y="1430"/>
                      </a:lnTo>
                      <a:lnTo>
                        <a:pt x="1114" y="1434"/>
                      </a:lnTo>
                      <a:lnTo>
                        <a:pt x="1114" y="1440"/>
                      </a:lnTo>
                      <a:lnTo>
                        <a:pt x="1114" y="1440"/>
                      </a:lnTo>
                      <a:lnTo>
                        <a:pt x="1120" y="1442"/>
                      </a:lnTo>
                      <a:lnTo>
                        <a:pt x="1125" y="1442"/>
                      </a:lnTo>
                      <a:lnTo>
                        <a:pt x="1129" y="1443"/>
                      </a:lnTo>
                      <a:lnTo>
                        <a:pt x="1133" y="1443"/>
                      </a:lnTo>
                      <a:lnTo>
                        <a:pt x="1136" y="1445"/>
                      </a:lnTo>
                      <a:lnTo>
                        <a:pt x="1140" y="1447"/>
                      </a:lnTo>
                      <a:lnTo>
                        <a:pt x="1144" y="1449"/>
                      </a:lnTo>
                      <a:lnTo>
                        <a:pt x="1146" y="1451"/>
                      </a:lnTo>
                      <a:lnTo>
                        <a:pt x="1149" y="1453"/>
                      </a:lnTo>
                      <a:lnTo>
                        <a:pt x="1151" y="1454"/>
                      </a:lnTo>
                      <a:lnTo>
                        <a:pt x="1153" y="1458"/>
                      </a:lnTo>
                      <a:lnTo>
                        <a:pt x="1155" y="1462"/>
                      </a:lnTo>
                      <a:lnTo>
                        <a:pt x="1159" y="1466"/>
                      </a:lnTo>
                      <a:lnTo>
                        <a:pt x="1160" y="1469"/>
                      </a:lnTo>
                      <a:lnTo>
                        <a:pt x="1162" y="1473"/>
                      </a:lnTo>
                      <a:lnTo>
                        <a:pt x="1164" y="1477"/>
                      </a:lnTo>
                      <a:lnTo>
                        <a:pt x="1157" y="1478"/>
                      </a:lnTo>
                      <a:lnTo>
                        <a:pt x="1157" y="1478"/>
                      </a:lnTo>
                      <a:lnTo>
                        <a:pt x="1153" y="1480"/>
                      </a:lnTo>
                      <a:lnTo>
                        <a:pt x="1153" y="1480"/>
                      </a:lnTo>
                      <a:lnTo>
                        <a:pt x="1151" y="1482"/>
                      </a:lnTo>
                      <a:lnTo>
                        <a:pt x="1149" y="1484"/>
                      </a:lnTo>
                      <a:lnTo>
                        <a:pt x="1149" y="1484"/>
                      </a:lnTo>
                      <a:lnTo>
                        <a:pt x="1148" y="1486"/>
                      </a:lnTo>
                      <a:lnTo>
                        <a:pt x="1144" y="1488"/>
                      </a:lnTo>
                      <a:lnTo>
                        <a:pt x="1144" y="1488"/>
                      </a:lnTo>
                      <a:lnTo>
                        <a:pt x="1148" y="1504"/>
                      </a:lnTo>
                      <a:lnTo>
                        <a:pt x="1151" y="1517"/>
                      </a:lnTo>
                      <a:lnTo>
                        <a:pt x="1153" y="1526"/>
                      </a:lnTo>
                      <a:lnTo>
                        <a:pt x="1155" y="1532"/>
                      </a:lnTo>
                      <a:lnTo>
                        <a:pt x="1155" y="1532"/>
                      </a:lnTo>
                      <a:lnTo>
                        <a:pt x="1157" y="1537"/>
                      </a:lnTo>
                      <a:lnTo>
                        <a:pt x="1157" y="1537"/>
                      </a:lnTo>
                      <a:lnTo>
                        <a:pt x="1159" y="1541"/>
                      </a:lnTo>
                      <a:lnTo>
                        <a:pt x="1162" y="1545"/>
                      </a:lnTo>
                      <a:lnTo>
                        <a:pt x="1162" y="1545"/>
                      </a:lnTo>
                      <a:lnTo>
                        <a:pt x="1164" y="1547"/>
                      </a:lnTo>
                      <a:lnTo>
                        <a:pt x="1153" y="1550"/>
                      </a:lnTo>
                      <a:lnTo>
                        <a:pt x="1144" y="1554"/>
                      </a:lnTo>
                      <a:lnTo>
                        <a:pt x="1135" y="1558"/>
                      </a:lnTo>
                      <a:lnTo>
                        <a:pt x="1125" y="1561"/>
                      </a:lnTo>
                      <a:lnTo>
                        <a:pt x="1116" y="1567"/>
                      </a:lnTo>
                      <a:lnTo>
                        <a:pt x="1107" y="1571"/>
                      </a:lnTo>
                      <a:lnTo>
                        <a:pt x="1101" y="1574"/>
                      </a:lnTo>
                      <a:lnTo>
                        <a:pt x="1098" y="1578"/>
                      </a:lnTo>
                      <a:lnTo>
                        <a:pt x="1098" y="1578"/>
                      </a:lnTo>
                      <a:lnTo>
                        <a:pt x="1094" y="1580"/>
                      </a:lnTo>
                      <a:lnTo>
                        <a:pt x="1088" y="1584"/>
                      </a:lnTo>
                      <a:lnTo>
                        <a:pt x="1088" y="1584"/>
                      </a:lnTo>
                      <a:lnTo>
                        <a:pt x="1090" y="1589"/>
                      </a:lnTo>
                      <a:lnTo>
                        <a:pt x="1090" y="1595"/>
                      </a:lnTo>
                      <a:lnTo>
                        <a:pt x="1092" y="1598"/>
                      </a:lnTo>
                      <a:lnTo>
                        <a:pt x="1092" y="1602"/>
                      </a:lnTo>
                      <a:lnTo>
                        <a:pt x="1087" y="1602"/>
                      </a:lnTo>
                      <a:lnTo>
                        <a:pt x="1087" y="1602"/>
                      </a:lnTo>
                      <a:lnTo>
                        <a:pt x="1081" y="1602"/>
                      </a:lnTo>
                      <a:lnTo>
                        <a:pt x="1074" y="1602"/>
                      </a:lnTo>
                      <a:lnTo>
                        <a:pt x="1074" y="1602"/>
                      </a:lnTo>
                      <a:lnTo>
                        <a:pt x="1068" y="1602"/>
                      </a:lnTo>
                      <a:lnTo>
                        <a:pt x="1063" y="1604"/>
                      </a:lnTo>
                      <a:lnTo>
                        <a:pt x="1057" y="1604"/>
                      </a:lnTo>
                      <a:lnTo>
                        <a:pt x="1057" y="1604"/>
                      </a:lnTo>
                      <a:lnTo>
                        <a:pt x="1052" y="1606"/>
                      </a:lnTo>
                      <a:lnTo>
                        <a:pt x="1046" y="1608"/>
                      </a:lnTo>
                      <a:lnTo>
                        <a:pt x="1035" y="1609"/>
                      </a:lnTo>
                      <a:lnTo>
                        <a:pt x="1026" y="1613"/>
                      </a:lnTo>
                      <a:lnTo>
                        <a:pt x="1013" y="1617"/>
                      </a:lnTo>
                      <a:lnTo>
                        <a:pt x="1000" y="1619"/>
                      </a:lnTo>
                      <a:lnTo>
                        <a:pt x="1000" y="1626"/>
                      </a:lnTo>
                      <a:lnTo>
                        <a:pt x="1000" y="1630"/>
                      </a:lnTo>
                      <a:lnTo>
                        <a:pt x="994" y="1630"/>
                      </a:lnTo>
                      <a:lnTo>
                        <a:pt x="991" y="1630"/>
                      </a:lnTo>
                      <a:lnTo>
                        <a:pt x="989" y="1630"/>
                      </a:lnTo>
                      <a:lnTo>
                        <a:pt x="989" y="1635"/>
                      </a:lnTo>
                      <a:lnTo>
                        <a:pt x="989" y="1641"/>
                      </a:lnTo>
                      <a:lnTo>
                        <a:pt x="985" y="1643"/>
                      </a:lnTo>
                      <a:lnTo>
                        <a:pt x="980" y="1643"/>
                      </a:lnTo>
                      <a:lnTo>
                        <a:pt x="980" y="1643"/>
                      </a:lnTo>
                      <a:lnTo>
                        <a:pt x="976" y="1645"/>
                      </a:lnTo>
                      <a:lnTo>
                        <a:pt x="972" y="1645"/>
                      </a:lnTo>
                      <a:lnTo>
                        <a:pt x="970" y="1641"/>
                      </a:lnTo>
                      <a:lnTo>
                        <a:pt x="969" y="1635"/>
                      </a:lnTo>
                      <a:lnTo>
                        <a:pt x="969" y="1635"/>
                      </a:lnTo>
                      <a:lnTo>
                        <a:pt x="959" y="1637"/>
                      </a:lnTo>
                      <a:lnTo>
                        <a:pt x="950" y="1637"/>
                      </a:lnTo>
                      <a:lnTo>
                        <a:pt x="941" y="1639"/>
                      </a:lnTo>
                      <a:lnTo>
                        <a:pt x="932" y="1641"/>
                      </a:lnTo>
                      <a:lnTo>
                        <a:pt x="922" y="1641"/>
                      </a:lnTo>
                      <a:lnTo>
                        <a:pt x="913" y="1643"/>
                      </a:lnTo>
                      <a:lnTo>
                        <a:pt x="904" y="1645"/>
                      </a:lnTo>
                      <a:lnTo>
                        <a:pt x="897" y="1645"/>
                      </a:lnTo>
                      <a:lnTo>
                        <a:pt x="895" y="1643"/>
                      </a:lnTo>
                      <a:lnTo>
                        <a:pt x="895" y="1643"/>
                      </a:lnTo>
                      <a:lnTo>
                        <a:pt x="893" y="1641"/>
                      </a:lnTo>
                      <a:lnTo>
                        <a:pt x="891" y="1639"/>
                      </a:lnTo>
                      <a:lnTo>
                        <a:pt x="891" y="1639"/>
                      </a:lnTo>
                      <a:lnTo>
                        <a:pt x="889" y="1637"/>
                      </a:lnTo>
                      <a:lnTo>
                        <a:pt x="889" y="1637"/>
                      </a:lnTo>
                      <a:lnTo>
                        <a:pt x="885" y="1633"/>
                      </a:lnTo>
                      <a:lnTo>
                        <a:pt x="885" y="1633"/>
                      </a:lnTo>
                      <a:lnTo>
                        <a:pt x="880" y="1632"/>
                      </a:lnTo>
                      <a:lnTo>
                        <a:pt x="880" y="1632"/>
                      </a:lnTo>
                      <a:lnTo>
                        <a:pt x="876" y="1630"/>
                      </a:lnTo>
                      <a:lnTo>
                        <a:pt x="871" y="1628"/>
                      </a:lnTo>
                      <a:lnTo>
                        <a:pt x="871" y="1628"/>
                      </a:lnTo>
                      <a:lnTo>
                        <a:pt x="863" y="1626"/>
                      </a:lnTo>
                      <a:lnTo>
                        <a:pt x="858" y="1624"/>
                      </a:lnTo>
                      <a:lnTo>
                        <a:pt x="845" y="1622"/>
                      </a:lnTo>
                      <a:lnTo>
                        <a:pt x="834" y="1622"/>
                      </a:lnTo>
                      <a:lnTo>
                        <a:pt x="823" y="1622"/>
                      </a:lnTo>
                      <a:lnTo>
                        <a:pt x="812" y="1621"/>
                      </a:lnTo>
                      <a:lnTo>
                        <a:pt x="810" y="1626"/>
                      </a:lnTo>
                      <a:lnTo>
                        <a:pt x="808" y="1630"/>
                      </a:lnTo>
                      <a:lnTo>
                        <a:pt x="802" y="1628"/>
                      </a:lnTo>
                      <a:lnTo>
                        <a:pt x="795" y="1626"/>
                      </a:lnTo>
                      <a:lnTo>
                        <a:pt x="788" y="1624"/>
                      </a:lnTo>
                      <a:lnTo>
                        <a:pt x="780" y="1622"/>
                      </a:lnTo>
                      <a:lnTo>
                        <a:pt x="780" y="1622"/>
                      </a:lnTo>
                      <a:lnTo>
                        <a:pt x="773" y="1622"/>
                      </a:lnTo>
                      <a:lnTo>
                        <a:pt x="766" y="1621"/>
                      </a:lnTo>
                      <a:lnTo>
                        <a:pt x="766" y="1621"/>
                      </a:lnTo>
                      <a:lnTo>
                        <a:pt x="758" y="1621"/>
                      </a:lnTo>
                      <a:lnTo>
                        <a:pt x="751" y="1619"/>
                      </a:lnTo>
                      <a:lnTo>
                        <a:pt x="738" y="1619"/>
                      </a:lnTo>
                      <a:lnTo>
                        <a:pt x="723" y="1619"/>
                      </a:lnTo>
                      <a:lnTo>
                        <a:pt x="708" y="1621"/>
                      </a:lnTo>
                      <a:lnTo>
                        <a:pt x="694" y="1621"/>
                      </a:lnTo>
                      <a:lnTo>
                        <a:pt x="692" y="1624"/>
                      </a:lnTo>
                      <a:lnTo>
                        <a:pt x="690" y="1626"/>
                      </a:lnTo>
                      <a:lnTo>
                        <a:pt x="690" y="1630"/>
                      </a:lnTo>
                      <a:lnTo>
                        <a:pt x="688" y="1632"/>
                      </a:lnTo>
                      <a:lnTo>
                        <a:pt x="686" y="1633"/>
                      </a:lnTo>
                      <a:lnTo>
                        <a:pt x="686" y="1633"/>
                      </a:lnTo>
                      <a:lnTo>
                        <a:pt x="682" y="1635"/>
                      </a:lnTo>
                      <a:lnTo>
                        <a:pt x="681" y="1635"/>
                      </a:lnTo>
                      <a:lnTo>
                        <a:pt x="677" y="1637"/>
                      </a:lnTo>
                      <a:lnTo>
                        <a:pt x="675" y="1635"/>
                      </a:lnTo>
                      <a:lnTo>
                        <a:pt x="673" y="1633"/>
                      </a:lnTo>
                      <a:lnTo>
                        <a:pt x="671" y="1632"/>
                      </a:lnTo>
                      <a:lnTo>
                        <a:pt x="670" y="1628"/>
                      </a:lnTo>
                      <a:lnTo>
                        <a:pt x="664" y="1622"/>
                      </a:lnTo>
                      <a:lnTo>
                        <a:pt x="660" y="1615"/>
                      </a:lnTo>
                      <a:lnTo>
                        <a:pt x="653" y="1600"/>
                      </a:lnTo>
                      <a:lnTo>
                        <a:pt x="647" y="1587"/>
                      </a:lnTo>
                      <a:lnTo>
                        <a:pt x="642" y="1593"/>
                      </a:lnTo>
                      <a:lnTo>
                        <a:pt x="638" y="1595"/>
                      </a:lnTo>
                      <a:lnTo>
                        <a:pt x="636" y="1591"/>
                      </a:lnTo>
                      <a:lnTo>
                        <a:pt x="634" y="1587"/>
                      </a:lnTo>
                      <a:lnTo>
                        <a:pt x="633" y="1585"/>
                      </a:lnTo>
                      <a:lnTo>
                        <a:pt x="631" y="1580"/>
                      </a:lnTo>
                      <a:lnTo>
                        <a:pt x="627" y="1569"/>
                      </a:lnTo>
                      <a:lnTo>
                        <a:pt x="623" y="1550"/>
                      </a:lnTo>
                      <a:lnTo>
                        <a:pt x="623" y="1550"/>
                      </a:lnTo>
                      <a:lnTo>
                        <a:pt x="622" y="1549"/>
                      </a:lnTo>
                      <a:lnTo>
                        <a:pt x="620" y="1545"/>
                      </a:lnTo>
                      <a:lnTo>
                        <a:pt x="618" y="1537"/>
                      </a:lnTo>
                      <a:lnTo>
                        <a:pt x="614" y="1532"/>
                      </a:lnTo>
                      <a:lnTo>
                        <a:pt x="612" y="1526"/>
                      </a:lnTo>
                      <a:lnTo>
                        <a:pt x="612" y="1526"/>
                      </a:lnTo>
                      <a:lnTo>
                        <a:pt x="607" y="1525"/>
                      </a:lnTo>
                      <a:lnTo>
                        <a:pt x="603" y="1523"/>
                      </a:lnTo>
                      <a:lnTo>
                        <a:pt x="601" y="1519"/>
                      </a:lnTo>
                      <a:lnTo>
                        <a:pt x="599" y="1517"/>
                      </a:lnTo>
                      <a:lnTo>
                        <a:pt x="598" y="1513"/>
                      </a:lnTo>
                      <a:lnTo>
                        <a:pt x="596" y="1512"/>
                      </a:lnTo>
                      <a:lnTo>
                        <a:pt x="594" y="1508"/>
                      </a:lnTo>
                      <a:lnTo>
                        <a:pt x="594" y="1504"/>
                      </a:lnTo>
                      <a:lnTo>
                        <a:pt x="592" y="1497"/>
                      </a:lnTo>
                      <a:lnTo>
                        <a:pt x="592" y="1497"/>
                      </a:lnTo>
                      <a:lnTo>
                        <a:pt x="588" y="1491"/>
                      </a:lnTo>
                      <a:lnTo>
                        <a:pt x="586" y="1488"/>
                      </a:lnTo>
                      <a:lnTo>
                        <a:pt x="586" y="1488"/>
                      </a:lnTo>
                      <a:lnTo>
                        <a:pt x="585" y="1484"/>
                      </a:lnTo>
                      <a:lnTo>
                        <a:pt x="585" y="1484"/>
                      </a:lnTo>
                      <a:lnTo>
                        <a:pt x="581" y="1480"/>
                      </a:lnTo>
                      <a:lnTo>
                        <a:pt x="581" y="1480"/>
                      </a:lnTo>
                      <a:lnTo>
                        <a:pt x="579" y="1477"/>
                      </a:lnTo>
                      <a:lnTo>
                        <a:pt x="581" y="1475"/>
                      </a:lnTo>
                      <a:lnTo>
                        <a:pt x="583" y="1473"/>
                      </a:lnTo>
                      <a:lnTo>
                        <a:pt x="585" y="1471"/>
                      </a:lnTo>
                      <a:lnTo>
                        <a:pt x="581" y="1469"/>
                      </a:lnTo>
                      <a:lnTo>
                        <a:pt x="581" y="1469"/>
                      </a:lnTo>
                      <a:lnTo>
                        <a:pt x="581" y="1467"/>
                      </a:lnTo>
                      <a:lnTo>
                        <a:pt x="581" y="1467"/>
                      </a:lnTo>
                      <a:lnTo>
                        <a:pt x="577" y="1467"/>
                      </a:lnTo>
                      <a:lnTo>
                        <a:pt x="577" y="1467"/>
                      </a:lnTo>
                      <a:lnTo>
                        <a:pt x="575" y="1466"/>
                      </a:lnTo>
                      <a:lnTo>
                        <a:pt x="575" y="1466"/>
                      </a:lnTo>
                      <a:lnTo>
                        <a:pt x="568" y="1464"/>
                      </a:lnTo>
                      <a:lnTo>
                        <a:pt x="568" y="1464"/>
                      </a:lnTo>
                      <a:lnTo>
                        <a:pt x="557" y="1464"/>
                      </a:lnTo>
                      <a:lnTo>
                        <a:pt x="557" y="1458"/>
                      </a:lnTo>
                      <a:lnTo>
                        <a:pt x="557" y="1453"/>
                      </a:lnTo>
                      <a:lnTo>
                        <a:pt x="557" y="1451"/>
                      </a:lnTo>
                      <a:lnTo>
                        <a:pt x="551" y="1454"/>
                      </a:lnTo>
                      <a:lnTo>
                        <a:pt x="548" y="1456"/>
                      </a:lnTo>
                      <a:lnTo>
                        <a:pt x="542" y="1458"/>
                      </a:lnTo>
                      <a:lnTo>
                        <a:pt x="539" y="1460"/>
                      </a:lnTo>
                      <a:lnTo>
                        <a:pt x="537" y="1460"/>
                      </a:lnTo>
                      <a:lnTo>
                        <a:pt x="540" y="1464"/>
                      </a:lnTo>
                      <a:lnTo>
                        <a:pt x="540" y="1464"/>
                      </a:lnTo>
                      <a:lnTo>
                        <a:pt x="544" y="1466"/>
                      </a:lnTo>
                      <a:lnTo>
                        <a:pt x="537" y="1466"/>
                      </a:lnTo>
                      <a:lnTo>
                        <a:pt x="527" y="1467"/>
                      </a:lnTo>
                      <a:lnTo>
                        <a:pt x="520" y="1467"/>
                      </a:lnTo>
                      <a:lnTo>
                        <a:pt x="513" y="1469"/>
                      </a:lnTo>
                      <a:lnTo>
                        <a:pt x="511" y="1460"/>
                      </a:lnTo>
                      <a:lnTo>
                        <a:pt x="509" y="1449"/>
                      </a:lnTo>
                      <a:lnTo>
                        <a:pt x="509" y="1440"/>
                      </a:lnTo>
                      <a:lnTo>
                        <a:pt x="507" y="1430"/>
                      </a:lnTo>
                      <a:lnTo>
                        <a:pt x="494" y="1425"/>
                      </a:lnTo>
                      <a:lnTo>
                        <a:pt x="483" y="1423"/>
                      </a:lnTo>
                      <a:lnTo>
                        <a:pt x="474" y="1419"/>
                      </a:lnTo>
                      <a:lnTo>
                        <a:pt x="463" y="1418"/>
                      </a:lnTo>
                      <a:lnTo>
                        <a:pt x="454" y="1416"/>
                      </a:lnTo>
                      <a:lnTo>
                        <a:pt x="443" y="1414"/>
                      </a:lnTo>
                      <a:lnTo>
                        <a:pt x="431" y="1414"/>
                      </a:lnTo>
                      <a:lnTo>
                        <a:pt x="419" y="1414"/>
                      </a:lnTo>
                      <a:lnTo>
                        <a:pt x="417" y="1421"/>
                      </a:lnTo>
                      <a:lnTo>
                        <a:pt x="415" y="1427"/>
                      </a:lnTo>
                      <a:lnTo>
                        <a:pt x="415" y="1432"/>
                      </a:lnTo>
                      <a:lnTo>
                        <a:pt x="413" y="1438"/>
                      </a:lnTo>
                      <a:lnTo>
                        <a:pt x="411" y="1438"/>
                      </a:lnTo>
                      <a:lnTo>
                        <a:pt x="411" y="1438"/>
                      </a:lnTo>
                      <a:lnTo>
                        <a:pt x="407" y="1440"/>
                      </a:lnTo>
                      <a:lnTo>
                        <a:pt x="404" y="1440"/>
                      </a:lnTo>
                      <a:lnTo>
                        <a:pt x="402" y="1442"/>
                      </a:lnTo>
                      <a:lnTo>
                        <a:pt x="402" y="1442"/>
                      </a:lnTo>
                      <a:lnTo>
                        <a:pt x="400" y="1451"/>
                      </a:lnTo>
                      <a:lnTo>
                        <a:pt x="400" y="1458"/>
                      </a:lnTo>
                      <a:lnTo>
                        <a:pt x="398" y="1462"/>
                      </a:lnTo>
                      <a:lnTo>
                        <a:pt x="398" y="1466"/>
                      </a:lnTo>
                      <a:lnTo>
                        <a:pt x="396" y="1467"/>
                      </a:lnTo>
                      <a:lnTo>
                        <a:pt x="396" y="1471"/>
                      </a:lnTo>
                      <a:lnTo>
                        <a:pt x="395" y="1475"/>
                      </a:lnTo>
                      <a:lnTo>
                        <a:pt x="393" y="1477"/>
                      </a:lnTo>
                      <a:lnTo>
                        <a:pt x="391" y="1478"/>
                      </a:lnTo>
                      <a:lnTo>
                        <a:pt x="389" y="1482"/>
                      </a:lnTo>
                      <a:lnTo>
                        <a:pt x="385" y="1484"/>
                      </a:lnTo>
                      <a:lnTo>
                        <a:pt x="382" y="1486"/>
                      </a:lnTo>
                      <a:lnTo>
                        <a:pt x="380" y="1489"/>
                      </a:lnTo>
                      <a:lnTo>
                        <a:pt x="374" y="1491"/>
                      </a:lnTo>
                      <a:lnTo>
                        <a:pt x="374" y="1491"/>
                      </a:lnTo>
                      <a:lnTo>
                        <a:pt x="372" y="1502"/>
                      </a:lnTo>
                      <a:lnTo>
                        <a:pt x="371" y="1513"/>
                      </a:lnTo>
                      <a:lnTo>
                        <a:pt x="371" y="1525"/>
                      </a:lnTo>
                      <a:lnTo>
                        <a:pt x="369" y="1534"/>
                      </a:lnTo>
                      <a:lnTo>
                        <a:pt x="365" y="1534"/>
                      </a:lnTo>
                      <a:lnTo>
                        <a:pt x="361" y="1534"/>
                      </a:lnTo>
                      <a:lnTo>
                        <a:pt x="358" y="1534"/>
                      </a:lnTo>
                      <a:lnTo>
                        <a:pt x="352" y="1534"/>
                      </a:lnTo>
                      <a:lnTo>
                        <a:pt x="352" y="1534"/>
                      </a:lnTo>
                      <a:lnTo>
                        <a:pt x="352" y="1541"/>
                      </a:lnTo>
                      <a:lnTo>
                        <a:pt x="352" y="1545"/>
                      </a:lnTo>
                      <a:lnTo>
                        <a:pt x="348" y="1545"/>
                      </a:lnTo>
                      <a:lnTo>
                        <a:pt x="341" y="1545"/>
                      </a:lnTo>
                      <a:lnTo>
                        <a:pt x="341" y="1545"/>
                      </a:lnTo>
                      <a:lnTo>
                        <a:pt x="341" y="1560"/>
                      </a:lnTo>
                      <a:lnTo>
                        <a:pt x="341" y="1565"/>
                      </a:lnTo>
                      <a:lnTo>
                        <a:pt x="341" y="1567"/>
                      </a:lnTo>
                      <a:lnTo>
                        <a:pt x="339" y="1567"/>
                      </a:lnTo>
                      <a:lnTo>
                        <a:pt x="339" y="1567"/>
                      </a:lnTo>
                      <a:lnTo>
                        <a:pt x="337" y="1567"/>
                      </a:lnTo>
                      <a:lnTo>
                        <a:pt x="337" y="1558"/>
                      </a:lnTo>
                      <a:lnTo>
                        <a:pt x="337" y="1549"/>
                      </a:lnTo>
                      <a:lnTo>
                        <a:pt x="337" y="1539"/>
                      </a:lnTo>
                      <a:lnTo>
                        <a:pt x="337" y="1530"/>
                      </a:lnTo>
                      <a:lnTo>
                        <a:pt x="337" y="1530"/>
                      </a:lnTo>
                      <a:lnTo>
                        <a:pt x="332" y="1530"/>
                      </a:lnTo>
                      <a:lnTo>
                        <a:pt x="326" y="1530"/>
                      </a:lnTo>
                      <a:lnTo>
                        <a:pt x="326" y="1526"/>
                      </a:lnTo>
                      <a:lnTo>
                        <a:pt x="326" y="1521"/>
                      </a:lnTo>
                      <a:lnTo>
                        <a:pt x="326" y="1517"/>
                      </a:lnTo>
                      <a:lnTo>
                        <a:pt x="326" y="1513"/>
                      </a:lnTo>
                      <a:lnTo>
                        <a:pt x="326" y="1513"/>
                      </a:lnTo>
                      <a:lnTo>
                        <a:pt x="324" y="1513"/>
                      </a:lnTo>
                      <a:lnTo>
                        <a:pt x="323" y="1513"/>
                      </a:lnTo>
                      <a:lnTo>
                        <a:pt x="323" y="1513"/>
                      </a:lnTo>
                      <a:lnTo>
                        <a:pt x="321" y="1513"/>
                      </a:lnTo>
                      <a:lnTo>
                        <a:pt x="321" y="1513"/>
                      </a:lnTo>
                      <a:lnTo>
                        <a:pt x="319" y="1515"/>
                      </a:lnTo>
                      <a:lnTo>
                        <a:pt x="319" y="1515"/>
                      </a:lnTo>
                      <a:lnTo>
                        <a:pt x="317" y="1521"/>
                      </a:lnTo>
                      <a:lnTo>
                        <a:pt x="317" y="1521"/>
                      </a:lnTo>
                      <a:lnTo>
                        <a:pt x="315" y="1530"/>
                      </a:lnTo>
                      <a:lnTo>
                        <a:pt x="312" y="1532"/>
                      </a:lnTo>
                      <a:lnTo>
                        <a:pt x="308" y="1536"/>
                      </a:lnTo>
                      <a:lnTo>
                        <a:pt x="304" y="1536"/>
                      </a:lnTo>
                      <a:lnTo>
                        <a:pt x="300" y="1537"/>
                      </a:lnTo>
                      <a:lnTo>
                        <a:pt x="286" y="1541"/>
                      </a:lnTo>
                      <a:lnTo>
                        <a:pt x="260" y="1547"/>
                      </a:lnTo>
                      <a:lnTo>
                        <a:pt x="256" y="1556"/>
                      </a:lnTo>
                      <a:lnTo>
                        <a:pt x="254" y="1563"/>
                      </a:lnTo>
                      <a:lnTo>
                        <a:pt x="254" y="1565"/>
                      </a:lnTo>
                      <a:lnTo>
                        <a:pt x="252" y="1567"/>
                      </a:lnTo>
                      <a:lnTo>
                        <a:pt x="251" y="1569"/>
                      </a:lnTo>
                      <a:lnTo>
                        <a:pt x="249" y="1571"/>
                      </a:lnTo>
                      <a:lnTo>
                        <a:pt x="241" y="1571"/>
                      </a:lnTo>
                      <a:lnTo>
                        <a:pt x="232" y="1569"/>
                      </a:lnTo>
                      <a:lnTo>
                        <a:pt x="225" y="1569"/>
                      </a:lnTo>
                      <a:lnTo>
                        <a:pt x="225" y="1569"/>
                      </a:lnTo>
                      <a:lnTo>
                        <a:pt x="217" y="1569"/>
                      </a:lnTo>
                      <a:lnTo>
                        <a:pt x="216" y="1563"/>
                      </a:lnTo>
                      <a:lnTo>
                        <a:pt x="216" y="1563"/>
                      </a:lnTo>
                      <a:lnTo>
                        <a:pt x="214" y="1560"/>
                      </a:lnTo>
                      <a:lnTo>
                        <a:pt x="212" y="1554"/>
                      </a:lnTo>
                      <a:lnTo>
                        <a:pt x="210" y="1550"/>
                      </a:lnTo>
                      <a:lnTo>
                        <a:pt x="210" y="1545"/>
                      </a:lnTo>
                      <a:lnTo>
                        <a:pt x="208" y="1541"/>
                      </a:lnTo>
                      <a:lnTo>
                        <a:pt x="208" y="1536"/>
                      </a:lnTo>
                      <a:lnTo>
                        <a:pt x="208" y="1530"/>
                      </a:lnTo>
                      <a:lnTo>
                        <a:pt x="208" y="1519"/>
                      </a:lnTo>
                      <a:lnTo>
                        <a:pt x="210" y="1508"/>
                      </a:lnTo>
                      <a:lnTo>
                        <a:pt x="212" y="1497"/>
                      </a:lnTo>
                      <a:lnTo>
                        <a:pt x="214" y="1486"/>
                      </a:lnTo>
                      <a:lnTo>
                        <a:pt x="219" y="1464"/>
                      </a:lnTo>
                      <a:lnTo>
                        <a:pt x="225" y="1442"/>
                      </a:lnTo>
                      <a:lnTo>
                        <a:pt x="227" y="1430"/>
                      </a:lnTo>
                      <a:lnTo>
                        <a:pt x="230" y="1419"/>
                      </a:lnTo>
                      <a:lnTo>
                        <a:pt x="232" y="1410"/>
                      </a:lnTo>
                      <a:lnTo>
                        <a:pt x="232" y="1399"/>
                      </a:lnTo>
                      <a:lnTo>
                        <a:pt x="227" y="1397"/>
                      </a:lnTo>
                      <a:lnTo>
                        <a:pt x="221" y="1394"/>
                      </a:lnTo>
                      <a:lnTo>
                        <a:pt x="217" y="1392"/>
                      </a:lnTo>
                      <a:lnTo>
                        <a:pt x="212" y="1388"/>
                      </a:lnTo>
                      <a:lnTo>
                        <a:pt x="208" y="1386"/>
                      </a:lnTo>
                      <a:lnTo>
                        <a:pt x="206" y="1382"/>
                      </a:lnTo>
                      <a:lnTo>
                        <a:pt x="203" y="1381"/>
                      </a:lnTo>
                      <a:lnTo>
                        <a:pt x="201" y="1377"/>
                      </a:lnTo>
                      <a:lnTo>
                        <a:pt x="199" y="1373"/>
                      </a:lnTo>
                      <a:lnTo>
                        <a:pt x="197" y="1370"/>
                      </a:lnTo>
                      <a:lnTo>
                        <a:pt x="193" y="1366"/>
                      </a:lnTo>
                      <a:lnTo>
                        <a:pt x="192" y="1360"/>
                      </a:lnTo>
                      <a:lnTo>
                        <a:pt x="188" y="1351"/>
                      </a:lnTo>
                      <a:lnTo>
                        <a:pt x="182" y="1340"/>
                      </a:lnTo>
                      <a:lnTo>
                        <a:pt x="188" y="1340"/>
                      </a:lnTo>
                      <a:lnTo>
                        <a:pt x="193" y="1340"/>
                      </a:lnTo>
                      <a:lnTo>
                        <a:pt x="193" y="1340"/>
                      </a:lnTo>
                      <a:lnTo>
                        <a:pt x="195" y="1327"/>
                      </a:lnTo>
                      <a:lnTo>
                        <a:pt x="195" y="1320"/>
                      </a:lnTo>
                      <a:lnTo>
                        <a:pt x="195" y="1316"/>
                      </a:lnTo>
                      <a:lnTo>
                        <a:pt x="197" y="1314"/>
                      </a:lnTo>
                      <a:lnTo>
                        <a:pt x="199" y="1312"/>
                      </a:lnTo>
                      <a:lnTo>
                        <a:pt x="199" y="1310"/>
                      </a:lnTo>
                      <a:lnTo>
                        <a:pt x="201" y="1309"/>
                      </a:lnTo>
                      <a:lnTo>
                        <a:pt x="192" y="1307"/>
                      </a:lnTo>
                      <a:lnTo>
                        <a:pt x="182" y="1303"/>
                      </a:lnTo>
                      <a:lnTo>
                        <a:pt x="175" y="1299"/>
                      </a:lnTo>
                      <a:lnTo>
                        <a:pt x="168" y="1298"/>
                      </a:lnTo>
                      <a:lnTo>
                        <a:pt x="171" y="1292"/>
                      </a:lnTo>
                      <a:lnTo>
                        <a:pt x="171" y="1292"/>
                      </a:lnTo>
                      <a:lnTo>
                        <a:pt x="173" y="1287"/>
                      </a:lnTo>
                      <a:lnTo>
                        <a:pt x="177" y="1281"/>
                      </a:lnTo>
                      <a:lnTo>
                        <a:pt x="177" y="1281"/>
                      </a:lnTo>
                      <a:lnTo>
                        <a:pt x="180" y="1275"/>
                      </a:lnTo>
                      <a:lnTo>
                        <a:pt x="180" y="1274"/>
                      </a:lnTo>
                      <a:lnTo>
                        <a:pt x="177" y="1272"/>
                      </a:lnTo>
                      <a:lnTo>
                        <a:pt x="175" y="1270"/>
                      </a:lnTo>
                      <a:lnTo>
                        <a:pt x="173" y="1266"/>
                      </a:lnTo>
                      <a:lnTo>
                        <a:pt x="171" y="1263"/>
                      </a:lnTo>
                      <a:lnTo>
                        <a:pt x="168" y="1255"/>
                      </a:lnTo>
                      <a:lnTo>
                        <a:pt x="164" y="1248"/>
                      </a:lnTo>
                      <a:lnTo>
                        <a:pt x="162" y="1239"/>
                      </a:lnTo>
                      <a:lnTo>
                        <a:pt x="158" y="1229"/>
                      </a:lnTo>
                      <a:lnTo>
                        <a:pt x="156" y="1222"/>
                      </a:lnTo>
                      <a:lnTo>
                        <a:pt x="155" y="1215"/>
                      </a:lnTo>
                      <a:lnTo>
                        <a:pt x="155" y="1215"/>
                      </a:lnTo>
                      <a:lnTo>
                        <a:pt x="145" y="1215"/>
                      </a:lnTo>
                      <a:lnTo>
                        <a:pt x="136" y="1216"/>
                      </a:lnTo>
                      <a:lnTo>
                        <a:pt x="129" y="1216"/>
                      </a:lnTo>
                      <a:lnTo>
                        <a:pt x="121" y="1218"/>
                      </a:lnTo>
                      <a:lnTo>
                        <a:pt x="120" y="1213"/>
                      </a:lnTo>
                      <a:lnTo>
                        <a:pt x="118" y="1209"/>
                      </a:lnTo>
                      <a:lnTo>
                        <a:pt x="118" y="1203"/>
                      </a:lnTo>
                      <a:lnTo>
                        <a:pt x="116" y="1198"/>
                      </a:lnTo>
                      <a:lnTo>
                        <a:pt x="121" y="1198"/>
                      </a:lnTo>
                      <a:lnTo>
                        <a:pt x="127" y="1196"/>
                      </a:lnTo>
                      <a:lnTo>
                        <a:pt x="131" y="1196"/>
                      </a:lnTo>
                      <a:lnTo>
                        <a:pt x="136" y="1194"/>
                      </a:lnTo>
                      <a:lnTo>
                        <a:pt x="136" y="1194"/>
                      </a:lnTo>
                      <a:lnTo>
                        <a:pt x="136" y="1189"/>
                      </a:lnTo>
                      <a:lnTo>
                        <a:pt x="134" y="1185"/>
                      </a:lnTo>
                      <a:lnTo>
                        <a:pt x="134" y="1181"/>
                      </a:lnTo>
                      <a:lnTo>
                        <a:pt x="132" y="1176"/>
                      </a:lnTo>
                      <a:lnTo>
                        <a:pt x="132" y="1176"/>
                      </a:lnTo>
                      <a:lnTo>
                        <a:pt x="127" y="1176"/>
                      </a:lnTo>
                      <a:lnTo>
                        <a:pt x="121" y="1176"/>
                      </a:lnTo>
                      <a:lnTo>
                        <a:pt x="121" y="1170"/>
                      </a:lnTo>
                      <a:lnTo>
                        <a:pt x="121" y="1167"/>
                      </a:lnTo>
                      <a:lnTo>
                        <a:pt x="121" y="1165"/>
                      </a:lnTo>
                      <a:lnTo>
                        <a:pt x="116" y="1165"/>
                      </a:lnTo>
                      <a:lnTo>
                        <a:pt x="110" y="1165"/>
                      </a:lnTo>
                      <a:lnTo>
                        <a:pt x="110" y="1165"/>
                      </a:lnTo>
                      <a:lnTo>
                        <a:pt x="110" y="1165"/>
                      </a:lnTo>
                      <a:lnTo>
                        <a:pt x="105" y="1167"/>
                      </a:lnTo>
                      <a:lnTo>
                        <a:pt x="99" y="1167"/>
                      </a:lnTo>
                      <a:lnTo>
                        <a:pt x="94" y="1167"/>
                      </a:lnTo>
                      <a:lnTo>
                        <a:pt x="88" y="1165"/>
                      </a:lnTo>
                      <a:lnTo>
                        <a:pt x="83" y="1165"/>
                      </a:lnTo>
                      <a:lnTo>
                        <a:pt x="77" y="1165"/>
                      </a:lnTo>
                      <a:lnTo>
                        <a:pt x="72" y="1163"/>
                      </a:lnTo>
                      <a:lnTo>
                        <a:pt x="66" y="1161"/>
                      </a:lnTo>
                      <a:lnTo>
                        <a:pt x="55" y="1159"/>
                      </a:lnTo>
                      <a:lnTo>
                        <a:pt x="44" y="1155"/>
                      </a:lnTo>
                      <a:lnTo>
                        <a:pt x="35" y="1152"/>
                      </a:lnTo>
                      <a:lnTo>
                        <a:pt x="25" y="1150"/>
                      </a:lnTo>
                      <a:lnTo>
                        <a:pt x="25" y="1144"/>
                      </a:lnTo>
                      <a:lnTo>
                        <a:pt x="27" y="1137"/>
                      </a:lnTo>
                      <a:lnTo>
                        <a:pt x="27" y="1131"/>
                      </a:lnTo>
                      <a:lnTo>
                        <a:pt x="29" y="1126"/>
                      </a:lnTo>
                      <a:lnTo>
                        <a:pt x="35" y="1115"/>
                      </a:lnTo>
                      <a:lnTo>
                        <a:pt x="40" y="1104"/>
                      </a:lnTo>
                      <a:lnTo>
                        <a:pt x="42" y="1100"/>
                      </a:lnTo>
                      <a:lnTo>
                        <a:pt x="44" y="1095"/>
                      </a:lnTo>
                      <a:lnTo>
                        <a:pt x="44" y="1095"/>
                      </a:lnTo>
                      <a:lnTo>
                        <a:pt x="46" y="1089"/>
                      </a:lnTo>
                      <a:lnTo>
                        <a:pt x="48" y="1084"/>
                      </a:lnTo>
                      <a:lnTo>
                        <a:pt x="49" y="1078"/>
                      </a:lnTo>
                      <a:lnTo>
                        <a:pt x="49" y="1078"/>
                      </a:lnTo>
                      <a:lnTo>
                        <a:pt x="51" y="1072"/>
                      </a:lnTo>
                      <a:lnTo>
                        <a:pt x="51" y="1072"/>
                      </a:lnTo>
                      <a:lnTo>
                        <a:pt x="51" y="1067"/>
                      </a:lnTo>
                      <a:lnTo>
                        <a:pt x="51" y="1067"/>
                      </a:lnTo>
                      <a:lnTo>
                        <a:pt x="51" y="1061"/>
                      </a:lnTo>
                      <a:lnTo>
                        <a:pt x="51" y="1060"/>
                      </a:lnTo>
                      <a:lnTo>
                        <a:pt x="48" y="1060"/>
                      </a:lnTo>
                      <a:lnTo>
                        <a:pt x="48" y="1060"/>
                      </a:lnTo>
                      <a:lnTo>
                        <a:pt x="44" y="1058"/>
                      </a:lnTo>
                      <a:lnTo>
                        <a:pt x="42" y="1058"/>
                      </a:lnTo>
                      <a:lnTo>
                        <a:pt x="40" y="1056"/>
                      </a:lnTo>
                      <a:lnTo>
                        <a:pt x="40" y="1048"/>
                      </a:lnTo>
                      <a:lnTo>
                        <a:pt x="40" y="1041"/>
                      </a:lnTo>
                      <a:lnTo>
                        <a:pt x="40" y="1032"/>
                      </a:lnTo>
                      <a:lnTo>
                        <a:pt x="40" y="1024"/>
                      </a:lnTo>
                      <a:lnTo>
                        <a:pt x="40" y="1023"/>
                      </a:lnTo>
                      <a:lnTo>
                        <a:pt x="33" y="1023"/>
                      </a:lnTo>
                      <a:lnTo>
                        <a:pt x="29" y="1023"/>
                      </a:lnTo>
                      <a:lnTo>
                        <a:pt x="27" y="1010"/>
                      </a:lnTo>
                      <a:lnTo>
                        <a:pt x="25" y="999"/>
                      </a:lnTo>
                      <a:lnTo>
                        <a:pt x="25" y="991"/>
                      </a:lnTo>
                      <a:lnTo>
                        <a:pt x="25" y="991"/>
                      </a:lnTo>
                      <a:lnTo>
                        <a:pt x="24" y="984"/>
                      </a:lnTo>
                      <a:lnTo>
                        <a:pt x="24" y="978"/>
                      </a:lnTo>
                      <a:lnTo>
                        <a:pt x="24" y="978"/>
                      </a:lnTo>
                      <a:lnTo>
                        <a:pt x="22" y="975"/>
                      </a:lnTo>
                      <a:lnTo>
                        <a:pt x="20" y="969"/>
                      </a:lnTo>
                      <a:lnTo>
                        <a:pt x="20" y="969"/>
                      </a:lnTo>
                      <a:lnTo>
                        <a:pt x="16" y="964"/>
                      </a:lnTo>
                      <a:lnTo>
                        <a:pt x="16" y="964"/>
                      </a:lnTo>
                      <a:lnTo>
                        <a:pt x="13" y="964"/>
                      </a:lnTo>
                      <a:lnTo>
                        <a:pt x="7" y="964"/>
                      </a:lnTo>
                      <a:lnTo>
                        <a:pt x="3" y="964"/>
                      </a:lnTo>
                      <a:lnTo>
                        <a:pt x="1" y="964"/>
                      </a:lnTo>
                      <a:lnTo>
                        <a:pt x="1" y="962"/>
                      </a:lnTo>
                      <a:lnTo>
                        <a:pt x="1" y="958"/>
                      </a:lnTo>
                      <a:lnTo>
                        <a:pt x="3" y="954"/>
                      </a:lnTo>
                      <a:lnTo>
                        <a:pt x="3" y="952"/>
                      </a:lnTo>
                      <a:lnTo>
                        <a:pt x="5" y="949"/>
                      </a:lnTo>
                      <a:lnTo>
                        <a:pt x="9" y="947"/>
                      </a:lnTo>
                      <a:lnTo>
                        <a:pt x="11" y="945"/>
                      </a:lnTo>
                      <a:lnTo>
                        <a:pt x="13" y="943"/>
                      </a:lnTo>
                      <a:lnTo>
                        <a:pt x="20" y="940"/>
                      </a:lnTo>
                      <a:lnTo>
                        <a:pt x="25" y="936"/>
                      </a:lnTo>
                      <a:lnTo>
                        <a:pt x="33" y="934"/>
                      </a:lnTo>
                      <a:lnTo>
                        <a:pt x="38" y="932"/>
                      </a:lnTo>
                      <a:lnTo>
                        <a:pt x="38" y="932"/>
                      </a:lnTo>
                      <a:lnTo>
                        <a:pt x="38" y="917"/>
                      </a:lnTo>
                      <a:lnTo>
                        <a:pt x="37" y="901"/>
                      </a:lnTo>
                      <a:lnTo>
                        <a:pt x="35" y="886"/>
                      </a:lnTo>
                      <a:lnTo>
                        <a:pt x="35" y="871"/>
                      </a:lnTo>
                      <a:lnTo>
                        <a:pt x="33" y="857"/>
                      </a:lnTo>
                      <a:lnTo>
                        <a:pt x="33" y="857"/>
                      </a:lnTo>
                      <a:lnTo>
                        <a:pt x="33" y="842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31" y="827"/>
                      </a:lnTo>
                      <a:lnTo>
                        <a:pt x="29" y="812"/>
                      </a:lnTo>
                      <a:lnTo>
                        <a:pt x="20" y="797"/>
                      </a:lnTo>
                      <a:lnTo>
                        <a:pt x="13" y="786"/>
                      </a:lnTo>
                      <a:lnTo>
                        <a:pt x="11" y="783"/>
                      </a:lnTo>
                      <a:lnTo>
                        <a:pt x="9" y="781"/>
                      </a:lnTo>
                      <a:lnTo>
                        <a:pt x="9" y="777"/>
                      </a:lnTo>
                      <a:lnTo>
                        <a:pt x="7" y="773"/>
                      </a:lnTo>
                      <a:lnTo>
                        <a:pt x="5" y="770"/>
                      </a:lnTo>
                      <a:lnTo>
                        <a:pt x="5" y="766"/>
                      </a:lnTo>
                      <a:lnTo>
                        <a:pt x="5" y="762"/>
                      </a:lnTo>
                      <a:lnTo>
                        <a:pt x="5" y="757"/>
                      </a:lnTo>
                      <a:lnTo>
                        <a:pt x="7" y="755"/>
                      </a:lnTo>
                      <a:lnTo>
                        <a:pt x="11" y="751"/>
                      </a:lnTo>
                      <a:lnTo>
                        <a:pt x="22" y="748"/>
                      </a:lnTo>
                      <a:lnTo>
                        <a:pt x="35" y="744"/>
                      </a:lnTo>
                      <a:lnTo>
                        <a:pt x="46" y="740"/>
                      </a:lnTo>
                      <a:lnTo>
                        <a:pt x="61" y="737"/>
                      </a:lnTo>
                      <a:lnTo>
                        <a:pt x="61" y="729"/>
                      </a:lnTo>
                      <a:lnTo>
                        <a:pt x="61" y="726"/>
                      </a:lnTo>
                      <a:lnTo>
                        <a:pt x="66" y="726"/>
                      </a:lnTo>
                      <a:lnTo>
                        <a:pt x="66" y="726"/>
                      </a:lnTo>
                      <a:lnTo>
                        <a:pt x="72" y="727"/>
                      </a:lnTo>
                      <a:lnTo>
                        <a:pt x="79" y="729"/>
                      </a:lnTo>
                      <a:lnTo>
                        <a:pt x="86" y="731"/>
                      </a:lnTo>
                      <a:lnTo>
                        <a:pt x="86" y="731"/>
                      </a:lnTo>
                      <a:lnTo>
                        <a:pt x="86" y="716"/>
                      </a:lnTo>
                      <a:lnTo>
                        <a:pt x="86" y="702"/>
                      </a:lnTo>
                      <a:lnTo>
                        <a:pt x="86" y="689"/>
                      </a:lnTo>
                      <a:lnTo>
                        <a:pt x="86" y="676"/>
                      </a:lnTo>
                      <a:lnTo>
                        <a:pt x="90" y="674"/>
                      </a:lnTo>
                      <a:lnTo>
                        <a:pt x="94" y="674"/>
                      </a:lnTo>
                      <a:lnTo>
                        <a:pt x="97" y="672"/>
                      </a:lnTo>
                      <a:lnTo>
                        <a:pt x="101" y="672"/>
                      </a:lnTo>
                      <a:lnTo>
                        <a:pt x="103" y="672"/>
                      </a:lnTo>
                      <a:lnTo>
                        <a:pt x="103" y="663"/>
                      </a:lnTo>
                      <a:lnTo>
                        <a:pt x="103" y="657"/>
                      </a:lnTo>
                      <a:lnTo>
                        <a:pt x="103" y="650"/>
                      </a:lnTo>
                      <a:lnTo>
                        <a:pt x="103" y="642"/>
                      </a:lnTo>
                      <a:lnTo>
                        <a:pt x="116" y="635"/>
                      </a:lnTo>
                      <a:lnTo>
                        <a:pt x="127" y="628"/>
                      </a:lnTo>
                      <a:lnTo>
                        <a:pt x="140" y="618"/>
                      </a:lnTo>
                      <a:lnTo>
                        <a:pt x="153" y="611"/>
                      </a:lnTo>
                      <a:lnTo>
                        <a:pt x="155" y="604"/>
                      </a:lnTo>
                      <a:lnTo>
                        <a:pt x="156" y="598"/>
                      </a:lnTo>
                      <a:lnTo>
                        <a:pt x="156" y="593"/>
                      </a:lnTo>
                      <a:lnTo>
                        <a:pt x="158" y="587"/>
                      </a:lnTo>
                      <a:lnTo>
                        <a:pt x="158" y="587"/>
                      </a:lnTo>
                      <a:lnTo>
                        <a:pt x="153" y="585"/>
                      </a:lnTo>
                      <a:lnTo>
                        <a:pt x="147" y="585"/>
                      </a:lnTo>
                      <a:lnTo>
                        <a:pt x="144" y="583"/>
                      </a:lnTo>
                      <a:lnTo>
                        <a:pt x="140" y="582"/>
                      </a:lnTo>
                      <a:lnTo>
                        <a:pt x="136" y="570"/>
                      </a:lnTo>
                      <a:lnTo>
                        <a:pt x="134" y="559"/>
                      </a:lnTo>
                      <a:lnTo>
                        <a:pt x="132" y="554"/>
                      </a:lnTo>
                      <a:lnTo>
                        <a:pt x="131" y="550"/>
                      </a:lnTo>
                      <a:lnTo>
                        <a:pt x="129" y="545"/>
                      </a:lnTo>
                      <a:lnTo>
                        <a:pt x="127" y="541"/>
                      </a:lnTo>
                      <a:lnTo>
                        <a:pt x="127" y="541"/>
                      </a:lnTo>
                      <a:lnTo>
                        <a:pt x="125" y="537"/>
                      </a:lnTo>
                      <a:lnTo>
                        <a:pt x="123" y="535"/>
                      </a:lnTo>
                      <a:lnTo>
                        <a:pt x="123" y="535"/>
                      </a:lnTo>
                      <a:lnTo>
                        <a:pt x="120" y="532"/>
                      </a:lnTo>
                      <a:lnTo>
                        <a:pt x="116" y="528"/>
                      </a:lnTo>
                      <a:lnTo>
                        <a:pt x="116" y="528"/>
                      </a:lnTo>
                      <a:lnTo>
                        <a:pt x="112" y="524"/>
                      </a:lnTo>
                      <a:lnTo>
                        <a:pt x="109" y="521"/>
                      </a:lnTo>
                      <a:lnTo>
                        <a:pt x="109" y="521"/>
                      </a:lnTo>
                      <a:lnTo>
                        <a:pt x="103" y="517"/>
                      </a:lnTo>
                      <a:lnTo>
                        <a:pt x="97" y="511"/>
                      </a:lnTo>
                      <a:lnTo>
                        <a:pt x="99" y="510"/>
                      </a:lnTo>
                      <a:lnTo>
                        <a:pt x="101" y="506"/>
                      </a:lnTo>
                      <a:lnTo>
                        <a:pt x="101" y="506"/>
                      </a:lnTo>
                      <a:lnTo>
                        <a:pt x="101" y="504"/>
                      </a:lnTo>
                      <a:lnTo>
                        <a:pt x="103" y="500"/>
                      </a:lnTo>
                      <a:lnTo>
                        <a:pt x="103" y="500"/>
                      </a:lnTo>
                      <a:lnTo>
                        <a:pt x="97" y="500"/>
                      </a:lnTo>
                      <a:lnTo>
                        <a:pt x="94" y="500"/>
                      </a:lnTo>
                      <a:lnTo>
                        <a:pt x="88" y="500"/>
                      </a:lnTo>
                      <a:lnTo>
                        <a:pt x="86" y="500"/>
                      </a:lnTo>
                      <a:lnTo>
                        <a:pt x="85" y="493"/>
                      </a:lnTo>
                      <a:lnTo>
                        <a:pt x="83" y="486"/>
                      </a:lnTo>
                      <a:lnTo>
                        <a:pt x="81" y="478"/>
                      </a:lnTo>
                      <a:lnTo>
                        <a:pt x="81" y="471"/>
                      </a:lnTo>
                      <a:lnTo>
                        <a:pt x="81" y="471"/>
                      </a:lnTo>
                      <a:lnTo>
                        <a:pt x="79" y="463"/>
                      </a:lnTo>
                      <a:lnTo>
                        <a:pt x="77" y="456"/>
                      </a:lnTo>
                      <a:lnTo>
                        <a:pt x="75" y="449"/>
                      </a:lnTo>
                      <a:lnTo>
                        <a:pt x="75" y="441"/>
                      </a:lnTo>
                      <a:lnTo>
                        <a:pt x="75" y="439"/>
                      </a:lnTo>
                      <a:lnTo>
                        <a:pt x="68" y="439"/>
                      </a:lnTo>
                      <a:lnTo>
                        <a:pt x="64" y="439"/>
                      </a:lnTo>
                      <a:lnTo>
                        <a:pt x="64" y="439"/>
                      </a:lnTo>
                      <a:lnTo>
                        <a:pt x="64" y="438"/>
                      </a:lnTo>
                      <a:lnTo>
                        <a:pt x="64" y="438"/>
                      </a:lnTo>
                      <a:lnTo>
                        <a:pt x="64" y="436"/>
                      </a:lnTo>
                      <a:lnTo>
                        <a:pt x="68" y="436"/>
                      </a:lnTo>
                      <a:lnTo>
                        <a:pt x="73" y="436"/>
                      </a:lnTo>
                      <a:lnTo>
                        <a:pt x="75" y="436"/>
                      </a:lnTo>
                      <a:lnTo>
                        <a:pt x="75" y="432"/>
                      </a:lnTo>
                      <a:lnTo>
                        <a:pt x="75" y="427"/>
                      </a:lnTo>
                      <a:lnTo>
                        <a:pt x="75" y="423"/>
                      </a:lnTo>
                      <a:lnTo>
                        <a:pt x="75" y="419"/>
                      </a:lnTo>
                      <a:lnTo>
                        <a:pt x="75" y="417"/>
                      </a:lnTo>
                      <a:lnTo>
                        <a:pt x="75" y="414"/>
                      </a:lnTo>
                      <a:lnTo>
                        <a:pt x="75" y="408"/>
                      </a:lnTo>
                      <a:lnTo>
                        <a:pt x="75" y="404"/>
                      </a:lnTo>
                      <a:lnTo>
                        <a:pt x="75" y="404"/>
                      </a:lnTo>
                      <a:lnTo>
                        <a:pt x="79" y="404"/>
                      </a:lnTo>
                      <a:lnTo>
                        <a:pt x="85" y="404"/>
                      </a:lnTo>
                      <a:lnTo>
                        <a:pt x="94" y="404"/>
                      </a:lnTo>
                      <a:lnTo>
                        <a:pt x="103" y="403"/>
                      </a:lnTo>
                      <a:lnTo>
                        <a:pt x="114" y="403"/>
                      </a:lnTo>
                      <a:lnTo>
                        <a:pt x="123" y="403"/>
                      </a:lnTo>
                      <a:lnTo>
                        <a:pt x="123" y="395"/>
                      </a:lnTo>
                      <a:lnTo>
                        <a:pt x="123" y="388"/>
                      </a:lnTo>
                      <a:lnTo>
                        <a:pt x="121" y="382"/>
                      </a:lnTo>
                      <a:lnTo>
                        <a:pt x="121" y="379"/>
                      </a:lnTo>
                      <a:lnTo>
                        <a:pt x="123" y="382"/>
                      </a:lnTo>
                      <a:lnTo>
                        <a:pt x="127" y="390"/>
                      </a:lnTo>
                      <a:lnTo>
                        <a:pt x="131" y="397"/>
                      </a:lnTo>
                      <a:lnTo>
                        <a:pt x="132" y="404"/>
                      </a:lnTo>
                      <a:lnTo>
                        <a:pt x="136" y="412"/>
                      </a:lnTo>
                      <a:lnTo>
                        <a:pt x="140" y="419"/>
                      </a:lnTo>
                      <a:lnTo>
                        <a:pt x="140" y="421"/>
                      </a:lnTo>
                      <a:lnTo>
                        <a:pt x="140" y="421"/>
                      </a:lnTo>
                      <a:lnTo>
                        <a:pt x="144" y="425"/>
                      </a:lnTo>
                      <a:lnTo>
                        <a:pt x="144" y="425"/>
                      </a:lnTo>
                      <a:lnTo>
                        <a:pt x="145" y="428"/>
                      </a:lnTo>
                      <a:lnTo>
                        <a:pt x="147" y="430"/>
                      </a:lnTo>
                      <a:lnTo>
                        <a:pt x="149" y="432"/>
                      </a:lnTo>
                      <a:lnTo>
                        <a:pt x="149" y="425"/>
                      </a:lnTo>
                      <a:lnTo>
                        <a:pt x="149" y="417"/>
                      </a:lnTo>
                      <a:lnTo>
                        <a:pt x="149" y="412"/>
                      </a:lnTo>
                      <a:lnTo>
                        <a:pt x="149" y="406"/>
                      </a:lnTo>
                      <a:lnTo>
                        <a:pt x="155" y="406"/>
                      </a:lnTo>
                      <a:lnTo>
                        <a:pt x="160" y="404"/>
                      </a:lnTo>
                      <a:lnTo>
                        <a:pt x="168" y="404"/>
                      </a:lnTo>
                      <a:lnTo>
                        <a:pt x="173" y="403"/>
                      </a:lnTo>
                      <a:lnTo>
                        <a:pt x="173" y="403"/>
                      </a:lnTo>
                      <a:lnTo>
                        <a:pt x="173" y="397"/>
                      </a:lnTo>
                      <a:lnTo>
                        <a:pt x="173" y="391"/>
                      </a:lnTo>
                      <a:lnTo>
                        <a:pt x="184" y="391"/>
                      </a:lnTo>
                      <a:lnTo>
                        <a:pt x="195" y="390"/>
                      </a:lnTo>
                      <a:lnTo>
                        <a:pt x="208" y="390"/>
                      </a:lnTo>
                      <a:lnTo>
                        <a:pt x="219" y="390"/>
                      </a:lnTo>
                      <a:lnTo>
                        <a:pt x="230" y="388"/>
                      </a:lnTo>
                      <a:lnTo>
                        <a:pt x="243" y="388"/>
                      </a:lnTo>
                      <a:lnTo>
                        <a:pt x="254" y="386"/>
                      </a:lnTo>
                      <a:lnTo>
                        <a:pt x="265" y="386"/>
                      </a:lnTo>
                      <a:lnTo>
                        <a:pt x="265" y="388"/>
                      </a:lnTo>
                      <a:lnTo>
                        <a:pt x="265" y="388"/>
                      </a:lnTo>
                      <a:lnTo>
                        <a:pt x="265" y="390"/>
                      </a:lnTo>
                      <a:lnTo>
                        <a:pt x="264" y="390"/>
                      </a:lnTo>
                      <a:lnTo>
                        <a:pt x="264" y="390"/>
                      </a:lnTo>
                      <a:lnTo>
                        <a:pt x="264" y="390"/>
                      </a:lnTo>
                      <a:lnTo>
                        <a:pt x="262" y="390"/>
                      </a:lnTo>
                      <a:lnTo>
                        <a:pt x="258" y="390"/>
                      </a:lnTo>
                      <a:lnTo>
                        <a:pt x="254" y="390"/>
                      </a:lnTo>
                      <a:lnTo>
                        <a:pt x="254" y="390"/>
                      </a:lnTo>
                      <a:lnTo>
                        <a:pt x="254" y="395"/>
                      </a:lnTo>
                      <a:lnTo>
                        <a:pt x="254" y="395"/>
                      </a:lnTo>
                      <a:lnTo>
                        <a:pt x="258" y="399"/>
                      </a:lnTo>
                      <a:lnTo>
                        <a:pt x="258" y="399"/>
                      </a:lnTo>
                      <a:lnTo>
                        <a:pt x="260" y="403"/>
                      </a:lnTo>
                      <a:lnTo>
                        <a:pt x="260" y="403"/>
                      </a:lnTo>
                      <a:lnTo>
                        <a:pt x="262" y="404"/>
                      </a:lnTo>
                      <a:lnTo>
                        <a:pt x="265" y="406"/>
                      </a:lnTo>
                      <a:lnTo>
                        <a:pt x="265" y="406"/>
                      </a:lnTo>
                      <a:lnTo>
                        <a:pt x="267" y="408"/>
                      </a:lnTo>
                      <a:lnTo>
                        <a:pt x="267" y="408"/>
                      </a:lnTo>
                      <a:lnTo>
                        <a:pt x="271" y="410"/>
                      </a:lnTo>
                      <a:lnTo>
                        <a:pt x="271" y="410"/>
                      </a:lnTo>
                      <a:lnTo>
                        <a:pt x="275" y="412"/>
                      </a:lnTo>
                      <a:lnTo>
                        <a:pt x="280" y="412"/>
                      </a:lnTo>
                      <a:lnTo>
                        <a:pt x="284" y="414"/>
                      </a:lnTo>
                      <a:lnTo>
                        <a:pt x="288" y="414"/>
                      </a:lnTo>
                      <a:lnTo>
                        <a:pt x="291" y="414"/>
                      </a:lnTo>
                      <a:lnTo>
                        <a:pt x="293" y="414"/>
                      </a:lnTo>
                      <a:lnTo>
                        <a:pt x="302" y="414"/>
                      </a:lnTo>
                      <a:lnTo>
                        <a:pt x="312" y="412"/>
                      </a:lnTo>
                      <a:lnTo>
                        <a:pt x="321" y="412"/>
                      </a:lnTo>
                      <a:lnTo>
                        <a:pt x="332" y="408"/>
                      </a:lnTo>
                      <a:lnTo>
                        <a:pt x="341" y="406"/>
                      </a:lnTo>
                      <a:lnTo>
                        <a:pt x="350" y="404"/>
                      </a:lnTo>
                      <a:lnTo>
                        <a:pt x="367" y="399"/>
                      </a:lnTo>
                      <a:lnTo>
                        <a:pt x="382" y="397"/>
                      </a:lnTo>
                      <a:lnTo>
                        <a:pt x="380" y="388"/>
                      </a:lnTo>
                      <a:lnTo>
                        <a:pt x="378" y="380"/>
                      </a:lnTo>
                      <a:lnTo>
                        <a:pt x="376" y="373"/>
                      </a:lnTo>
                      <a:lnTo>
                        <a:pt x="374" y="366"/>
                      </a:lnTo>
                      <a:lnTo>
                        <a:pt x="371" y="358"/>
                      </a:lnTo>
                      <a:lnTo>
                        <a:pt x="369" y="351"/>
                      </a:lnTo>
                      <a:lnTo>
                        <a:pt x="367" y="344"/>
                      </a:lnTo>
                      <a:lnTo>
                        <a:pt x="365" y="336"/>
                      </a:lnTo>
                      <a:lnTo>
                        <a:pt x="369" y="336"/>
                      </a:lnTo>
                      <a:lnTo>
                        <a:pt x="374" y="336"/>
                      </a:lnTo>
                      <a:lnTo>
                        <a:pt x="376" y="336"/>
                      </a:lnTo>
                      <a:lnTo>
                        <a:pt x="376" y="332"/>
                      </a:lnTo>
                      <a:lnTo>
                        <a:pt x="376" y="327"/>
                      </a:lnTo>
                      <a:lnTo>
                        <a:pt x="376" y="323"/>
                      </a:lnTo>
                      <a:lnTo>
                        <a:pt x="376" y="320"/>
                      </a:lnTo>
                      <a:lnTo>
                        <a:pt x="380" y="320"/>
                      </a:lnTo>
                      <a:lnTo>
                        <a:pt x="383" y="321"/>
                      </a:lnTo>
                      <a:lnTo>
                        <a:pt x="389" y="323"/>
                      </a:lnTo>
                      <a:lnTo>
                        <a:pt x="395" y="323"/>
                      </a:lnTo>
                      <a:lnTo>
                        <a:pt x="400" y="325"/>
                      </a:lnTo>
                      <a:lnTo>
                        <a:pt x="400" y="325"/>
                      </a:lnTo>
                      <a:lnTo>
                        <a:pt x="406" y="327"/>
                      </a:lnTo>
                      <a:lnTo>
                        <a:pt x="406" y="327"/>
                      </a:lnTo>
                      <a:lnTo>
                        <a:pt x="407" y="327"/>
                      </a:lnTo>
                      <a:lnTo>
                        <a:pt x="409" y="327"/>
                      </a:lnTo>
                      <a:lnTo>
                        <a:pt x="409" y="327"/>
                      </a:lnTo>
                      <a:lnTo>
                        <a:pt x="409" y="325"/>
                      </a:lnTo>
                      <a:lnTo>
                        <a:pt x="409" y="325"/>
                      </a:lnTo>
                      <a:lnTo>
                        <a:pt x="411" y="325"/>
                      </a:lnTo>
                      <a:lnTo>
                        <a:pt x="411" y="325"/>
                      </a:lnTo>
                      <a:lnTo>
                        <a:pt x="413" y="323"/>
                      </a:lnTo>
                      <a:lnTo>
                        <a:pt x="413" y="323"/>
                      </a:lnTo>
                      <a:lnTo>
                        <a:pt x="415" y="323"/>
                      </a:lnTo>
                      <a:lnTo>
                        <a:pt x="415" y="320"/>
                      </a:lnTo>
                      <a:lnTo>
                        <a:pt x="415" y="318"/>
                      </a:lnTo>
                      <a:lnTo>
                        <a:pt x="415" y="316"/>
                      </a:lnTo>
                      <a:lnTo>
                        <a:pt x="415" y="316"/>
                      </a:lnTo>
                      <a:lnTo>
                        <a:pt x="415" y="316"/>
                      </a:lnTo>
                      <a:lnTo>
                        <a:pt x="415" y="314"/>
                      </a:lnTo>
                      <a:lnTo>
                        <a:pt x="417" y="314"/>
                      </a:lnTo>
                      <a:lnTo>
                        <a:pt x="419" y="314"/>
                      </a:lnTo>
                      <a:lnTo>
                        <a:pt x="417" y="320"/>
                      </a:lnTo>
                      <a:lnTo>
                        <a:pt x="417" y="320"/>
                      </a:lnTo>
                      <a:lnTo>
                        <a:pt x="415" y="325"/>
                      </a:lnTo>
                      <a:lnTo>
                        <a:pt x="415" y="325"/>
                      </a:lnTo>
                      <a:lnTo>
                        <a:pt x="413" y="327"/>
                      </a:lnTo>
                      <a:lnTo>
                        <a:pt x="413" y="327"/>
                      </a:lnTo>
                      <a:lnTo>
                        <a:pt x="413" y="332"/>
                      </a:lnTo>
                      <a:lnTo>
                        <a:pt x="415" y="336"/>
                      </a:lnTo>
                      <a:lnTo>
                        <a:pt x="417" y="338"/>
                      </a:lnTo>
                      <a:lnTo>
                        <a:pt x="422" y="331"/>
                      </a:lnTo>
                      <a:lnTo>
                        <a:pt x="428" y="325"/>
                      </a:lnTo>
                      <a:lnTo>
                        <a:pt x="430" y="323"/>
                      </a:lnTo>
                      <a:lnTo>
                        <a:pt x="430" y="323"/>
                      </a:lnTo>
                      <a:lnTo>
                        <a:pt x="431" y="323"/>
                      </a:lnTo>
                      <a:lnTo>
                        <a:pt x="431" y="325"/>
                      </a:lnTo>
                      <a:lnTo>
                        <a:pt x="431" y="325"/>
                      </a:lnTo>
                      <a:lnTo>
                        <a:pt x="431" y="325"/>
                      </a:lnTo>
                      <a:lnTo>
                        <a:pt x="430" y="327"/>
                      </a:lnTo>
                      <a:lnTo>
                        <a:pt x="430" y="329"/>
                      </a:lnTo>
                      <a:lnTo>
                        <a:pt x="437" y="329"/>
                      </a:lnTo>
                      <a:lnTo>
                        <a:pt x="437" y="329"/>
                      </a:lnTo>
                      <a:lnTo>
                        <a:pt x="441" y="327"/>
                      </a:lnTo>
                      <a:lnTo>
                        <a:pt x="441" y="327"/>
                      </a:lnTo>
                      <a:lnTo>
                        <a:pt x="443" y="327"/>
                      </a:lnTo>
                      <a:lnTo>
                        <a:pt x="443" y="325"/>
                      </a:lnTo>
                      <a:lnTo>
                        <a:pt x="443" y="325"/>
                      </a:lnTo>
                      <a:lnTo>
                        <a:pt x="444" y="323"/>
                      </a:lnTo>
                      <a:lnTo>
                        <a:pt x="446" y="321"/>
                      </a:lnTo>
                      <a:lnTo>
                        <a:pt x="448" y="321"/>
                      </a:lnTo>
                      <a:lnTo>
                        <a:pt x="444" y="318"/>
                      </a:lnTo>
                      <a:lnTo>
                        <a:pt x="443" y="318"/>
                      </a:lnTo>
                      <a:lnTo>
                        <a:pt x="448" y="316"/>
                      </a:lnTo>
                      <a:lnTo>
                        <a:pt x="454" y="314"/>
                      </a:lnTo>
                      <a:lnTo>
                        <a:pt x="461" y="314"/>
                      </a:lnTo>
                      <a:lnTo>
                        <a:pt x="468" y="312"/>
                      </a:lnTo>
                      <a:lnTo>
                        <a:pt x="468" y="312"/>
                      </a:lnTo>
                      <a:lnTo>
                        <a:pt x="470" y="310"/>
                      </a:lnTo>
                      <a:lnTo>
                        <a:pt x="470" y="310"/>
                      </a:lnTo>
                      <a:lnTo>
                        <a:pt x="472" y="308"/>
                      </a:lnTo>
                      <a:lnTo>
                        <a:pt x="474" y="310"/>
                      </a:lnTo>
                      <a:lnTo>
                        <a:pt x="476" y="312"/>
                      </a:lnTo>
                      <a:lnTo>
                        <a:pt x="476" y="312"/>
                      </a:lnTo>
                      <a:lnTo>
                        <a:pt x="478" y="314"/>
                      </a:lnTo>
                      <a:lnTo>
                        <a:pt x="479" y="316"/>
                      </a:lnTo>
                      <a:lnTo>
                        <a:pt x="479" y="316"/>
                      </a:lnTo>
                      <a:lnTo>
                        <a:pt x="485" y="318"/>
                      </a:lnTo>
                      <a:lnTo>
                        <a:pt x="489" y="321"/>
                      </a:lnTo>
                      <a:lnTo>
                        <a:pt x="492" y="323"/>
                      </a:lnTo>
                      <a:lnTo>
                        <a:pt x="498" y="325"/>
                      </a:lnTo>
                      <a:lnTo>
                        <a:pt x="500" y="327"/>
                      </a:lnTo>
                      <a:lnTo>
                        <a:pt x="502" y="331"/>
                      </a:lnTo>
                      <a:lnTo>
                        <a:pt x="503" y="332"/>
                      </a:lnTo>
                      <a:lnTo>
                        <a:pt x="505" y="336"/>
                      </a:lnTo>
                      <a:lnTo>
                        <a:pt x="505" y="336"/>
                      </a:lnTo>
                      <a:lnTo>
                        <a:pt x="513" y="336"/>
                      </a:lnTo>
                      <a:lnTo>
                        <a:pt x="516" y="336"/>
                      </a:lnTo>
                      <a:lnTo>
                        <a:pt x="516" y="338"/>
                      </a:lnTo>
                      <a:lnTo>
                        <a:pt x="515" y="342"/>
                      </a:lnTo>
                      <a:lnTo>
                        <a:pt x="513" y="344"/>
                      </a:lnTo>
                      <a:lnTo>
                        <a:pt x="513" y="344"/>
                      </a:lnTo>
                      <a:lnTo>
                        <a:pt x="513" y="347"/>
                      </a:lnTo>
                      <a:lnTo>
                        <a:pt x="513" y="347"/>
                      </a:lnTo>
                      <a:lnTo>
                        <a:pt x="516" y="351"/>
                      </a:lnTo>
                      <a:lnTo>
                        <a:pt x="522" y="356"/>
                      </a:lnTo>
                      <a:lnTo>
                        <a:pt x="520" y="360"/>
                      </a:lnTo>
                      <a:lnTo>
                        <a:pt x="518" y="364"/>
                      </a:lnTo>
                      <a:lnTo>
                        <a:pt x="518" y="368"/>
                      </a:lnTo>
                      <a:lnTo>
                        <a:pt x="518" y="368"/>
                      </a:lnTo>
                      <a:lnTo>
                        <a:pt x="516" y="373"/>
                      </a:lnTo>
                      <a:lnTo>
                        <a:pt x="516" y="375"/>
                      </a:lnTo>
                      <a:lnTo>
                        <a:pt x="522" y="375"/>
                      </a:lnTo>
                      <a:lnTo>
                        <a:pt x="526" y="375"/>
                      </a:lnTo>
                      <a:lnTo>
                        <a:pt x="529" y="375"/>
                      </a:lnTo>
                      <a:lnTo>
                        <a:pt x="533" y="375"/>
                      </a:lnTo>
                      <a:lnTo>
                        <a:pt x="537" y="379"/>
                      </a:lnTo>
                      <a:lnTo>
                        <a:pt x="539" y="382"/>
                      </a:lnTo>
                      <a:lnTo>
                        <a:pt x="540" y="386"/>
                      </a:lnTo>
                      <a:lnTo>
                        <a:pt x="540" y="390"/>
                      </a:lnTo>
                      <a:lnTo>
                        <a:pt x="540" y="391"/>
                      </a:lnTo>
                      <a:lnTo>
                        <a:pt x="540" y="395"/>
                      </a:lnTo>
                      <a:lnTo>
                        <a:pt x="540" y="399"/>
                      </a:lnTo>
                      <a:lnTo>
                        <a:pt x="540" y="403"/>
                      </a:lnTo>
                      <a:lnTo>
                        <a:pt x="539" y="404"/>
                      </a:lnTo>
                      <a:lnTo>
                        <a:pt x="539" y="404"/>
                      </a:lnTo>
                      <a:lnTo>
                        <a:pt x="537" y="404"/>
                      </a:lnTo>
                      <a:lnTo>
                        <a:pt x="537" y="404"/>
                      </a:lnTo>
                      <a:lnTo>
                        <a:pt x="537" y="404"/>
                      </a:lnTo>
                      <a:lnTo>
                        <a:pt x="535" y="403"/>
                      </a:lnTo>
                      <a:lnTo>
                        <a:pt x="531" y="401"/>
                      </a:lnTo>
                      <a:lnTo>
                        <a:pt x="527" y="399"/>
                      </a:lnTo>
                      <a:lnTo>
                        <a:pt x="527" y="399"/>
                      </a:lnTo>
                      <a:lnTo>
                        <a:pt x="526" y="399"/>
                      </a:lnTo>
                      <a:lnTo>
                        <a:pt x="522" y="397"/>
                      </a:lnTo>
                      <a:lnTo>
                        <a:pt x="522" y="397"/>
                      </a:lnTo>
                      <a:lnTo>
                        <a:pt x="515" y="397"/>
                      </a:lnTo>
                      <a:lnTo>
                        <a:pt x="515" y="397"/>
                      </a:lnTo>
                      <a:lnTo>
                        <a:pt x="500" y="397"/>
                      </a:lnTo>
                      <a:lnTo>
                        <a:pt x="513" y="406"/>
                      </a:lnTo>
                      <a:lnTo>
                        <a:pt x="524" y="414"/>
                      </a:lnTo>
                      <a:lnTo>
                        <a:pt x="531" y="415"/>
                      </a:lnTo>
                      <a:lnTo>
                        <a:pt x="531" y="417"/>
                      </a:lnTo>
                      <a:lnTo>
                        <a:pt x="537" y="419"/>
                      </a:lnTo>
                      <a:lnTo>
                        <a:pt x="537" y="419"/>
                      </a:lnTo>
                      <a:lnTo>
                        <a:pt x="540" y="419"/>
                      </a:lnTo>
                      <a:lnTo>
                        <a:pt x="540" y="419"/>
                      </a:lnTo>
                      <a:lnTo>
                        <a:pt x="544" y="419"/>
                      </a:lnTo>
                      <a:lnTo>
                        <a:pt x="548" y="421"/>
                      </a:lnTo>
                      <a:lnTo>
                        <a:pt x="548" y="421"/>
                      </a:lnTo>
                      <a:lnTo>
                        <a:pt x="551" y="421"/>
                      </a:lnTo>
                      <a:lnTo>
                        <a:pt x="551" y="421"/>
                      </a:lnTo>
                      <a:lnTo>
                        <a:pt x="553" y="419"/>
                      </a:lnTo>
                      <a:lnTo>
                        <a:pt x="553" y="417"/>
                      </a:lnTo>
                      <a:lnTo>
                        <a:pt x="557" y="419"/>
                      </a:lnTo>
                      <a:lnTo>
                        <a:pt x="561" y="421"/>
                      </a:lnTo>
                      <a:lnTo>
                        <a:pt x="559" y="425"/>
                      </a:lnTo>
                      <a:lnTo>
                        <a:pt x="559" y="430"/>
                      </a:lnTo>
                      <a:lnTo>
                        <a:pt x="559" y="434"/>
                      </a:lnTo>
                      <a:lnTo>
                        <a:pt x="559" y="438"/>
                      </a:lnTo>
                      <a:lnTo>
                        <a:pt x="559" y="439"/>
                      </a:lnTo>
                      <a:lnTo>
                        <a:pt x="575" y="447"/>
                      </a:lnTo>
                      <a:lnTo>
                        <a:pt x="588" y="452"/>
                      </a:lnTo>
                      <a:lnTo>
                        <a:pt x="599" y="458"/>
                      </a:lnTo>
                      <a:lnTo>
                        <a:pt x="609" y="462"/>
                      </a:lnTo>
                      <a:lnTo>
                        <a:pt x="618" y="463"/>
                      </a:lnTo>
                      <a:lnTo>
                        <a:pt x="625" y="467"/>
                      </a:lnTo>
                      <a:lnTo>
                        <a:pt x="631" y="469"/>
                      </a:lnTo>
                      <a:lnTo>
                        <a:pt x="640" y="473"/>
                      </a:lnTo>
                      <a:lnTo>
                        <a:pt x="636" y="447"/>
                      </a:lnTo>
                      <a:lnTo>
                        <a:pt x="634" y="430"/>
                      </a:lnTo>
                      <a:lnTo>
                        <a:pt x="633" y="415"/>
                      </a:lnTo>
                      <a:lnTo>
                        <a:pt x="631" y="406"/>
                      </a:lnTo>
                      <a:lnTo>
                        <a:pt x="629" y="399"/>
                      </a:lnTo>
                      <a:lnTo>
                        <a:pt x="629" y="391"/>
                      </a:lnTo>
                      <a:lnTo>
                        <a:pt x="627" y="384"/>
                      </a:lnTo>
                      <a:lnTo>
                        <a:pt x="623" y="377"/>
                      </a:lnTo>
                      <a:lnTo>
                        <a:pt x="629" y="375"/>
                      </a:lnTo>
                      <a:lnTo>
                        <a:pt x="633" y="373"/>
                      </a:lnTo>
                      <a:lnTo>
                        <a:pt x="633" y="379"/>
                      </a:lnTo>
                      <a:lnTo>
                        <a:pt x="633" y="384"/>
                      </a:lnTo>
                      <a:lnTo>
                        <a:pt x="633" y="384"/>
                      </a:lnTo>
                      <a:lnTo>
                        <a:pt x="640" y="388"/>
                      </a:lnTo>
                      <a:lnTo>
                        <a:pt x="646" y="390"/>
                      </a:lnTo>
                      <a:lnTo>
                        <a:pt x="651" y="391"/>
                      </a:lnTo>
                      <a:lnTo>
                        <a:pt x="657" y="391"/>
                      </a:lnTo>
                      <a:lnTo>
                        <a:pt x="660" y="391"/>
                      </a:lnTo>
                      <a:lnTo>
                        <a:pt x="666" y="393"/>
                      </a:lnTo>
                      <a:lnTo>
                        <a:pt x="673" y="393"/>
                      </a:lnTo>
                      <a:lnTo>
                        <a:pt x="682" y="393"/>
                      </a:lnTo>
                      <a:lnTo>
                        <a:pt x="682" y="393"/>
                      </a:lnTo>
                      <a:lnTo>
                        <a:pt x="690" y="380"/>
                      </a:lnTo>
                      <a:lnTo>
                        <a:pt x="697" y="369"/>
                      </a:lnTo>
                      <a:lnTo>
                        <a:pt x="703" y="356"/>
                      </a:lnTo>
                      <a:lnTo>
                        <a:pt x="710" y="345"/>
                      </a:lnTo>
                      <a:lnTo>
                        <a:pt x="718" y="347"/>
                      </a:lnTo>
                      <a:lnTo>
                        <a:pt x="725" y="347"/>
                      </a:lnTo>
                      <a:lnTo>
                        <a:pt x="732" y="347"/>
                      </a:lnTo>
                      <a:lnTo>
                        <a:pt x="732" y="347"/>
                      </a:lnTo>
                      <a:lnTo>
                        <a:pt x="740" y="349"/>
                      </a:lnTo>
                      <a:lnTo>
                        <a:pt x="747" y="349"/>
                      </a:lnTo>
                      <a:lnTo>
                        <a:pt x="754" y="349"/>
                      </a:lnTo>
                      <a:lnTo>
                        <a:pt x="762" y="351"/>
                      </a:lnTo>
                      <a:lnTo>
                        <a:pt x="769" y="351"/>
                      </a:lnTo>
                      <a:lnTo>
                        <a:pt x="771" y="351"/>
                      </a:lnTo>
                      <a:lnTo>
                        <a:pt x="771" y="345"/>
                      </a:lnTo>
                      <a:lnTo>
                        <a:pt x="771" y="344"/>
                      </a:lnTo>
                      <a:lnTo>
                        <a:pt x="773" y="342"/>
                      </a:lnTo>
                      <a:lnTo>
                        <a:pt x="773" y="340"/>
                      </a:lnTo>
                      <a:lnTo>
                        <a:pt x="775" y="340"/>
                      </a:lnTo>
                      <a:lnTo>
                        <a:pt x="773" y="338"/>
                      </a:lnTo>
                      <a:lnTo>
                        <a:pt x="773" y="338"/>
                      </a:lnTo>
                      <a:lnTo>
                        <a:pt x="769" y="336"/>
                      </a:lnTo>
                      <a:lnTo>
                        <a:pt x="769" y="336"/>
                      </a:lnTo>
                      <a:lnTo>
                        <a:pt x="767" y="338"/>
                      </a:lnTo>
                      <a:lnTo>
                        <a:pt x="767" y="338"/>
                      </a:lnTo>
                      <a:lnTo>
                        <a:pt x="767" y="332"/>
                      </a:lnTo>
                      <a:lnTo>
                        <a:pt x="767" y="325"/>
                      </a:lnTo>
                      <a:lnTo>
                        <a:pt x="767" y="318"/>
                      </a:lnTo>
                      <a:lnTo>
                        <a:pt x="767" y="312"/>
                      </a:lnTo>
                      <a:lnTo>
                        <a:pt x="771" y="310"/>
                      </a:lnTo>
                      <a:lnTo>
                        <a:pt x="775" y="310"/>
                      </a:lnTo>
                      <a:lnTo>
                        <a:pt x="778" y="310"/>
                      </a:lnTo>
                      <a:lnTo>
                        <a:pt x="780" y="310"/>
                      </a:lnTo>
                      <a:lnTo>
                        <a:pt x="782" y="312"/>
                      </a:lnTo>
                      <a:lnTo>
                        <a:pt x="786" y="312"/>
                      </a:lnTo>
                      <a:lnTo>
                        <a:pt x="788" y="314"/>
                      </a:lnTo>
                      <a:lnTo>
                        <a:pt x="793" y="316"/>
                      </a:lnTo>
                      <a:lnTo>
                        <a:pt x="793" y="318"/>
                      </a:lnTo>
                      <a:lnTo>
                        <a:pt x="797" y="310"/>
                      </a:lnTo>
                      <a:lnTo>
                        <a:pt x="799" y="307"/>
                      </a:lnTo>
                      <a:lnTo>
                        <a:pt x="801" y="301"/>
                      </a:lnTo>
                      <a:lnTo>
                        <a:pt x="804" y="296"/>
                      </a:lnTo>
                      <a:lnTo>
                        <a:pt x="804" y="296"/>
                      </a:lnTo>
                      <a:lnTo>
                        <a:pt x="797" y="296"/>
                      </a:lnTo>
                      <a:lnTo>
                        <a:pt x="791" y="296"/>
                      </a:lnTo>
                      <a:lnTo>
                        <a:pt x="791" y="292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90"/>
                      </a:lnTo>
                      <a:lnTo>
                        <a:pt x="789" y="286"/>
                      </a:lnTo>
                      <a:lnTo>
                        <a:pt x="788" y="283"/>
                      </a:lnTo>
                      <a:lnTo>
                        <a:pt x="788" y="283"/>
                      </a:lnTo>
                      <a:lnTo>
                        <a:pt x="784" y="281"/>
                      </a:lnTo>
                      <a:lnTo>
                        <a:pt x="782" y="281"/>
                      </a:lnTo>
                      <a:lnTo>
                        <a:pt x="782" y="281"/>
                      </a:lnTo>
                      <a:lnTo>
                        <a:pt x="778" y="279"/>
                      </a:lnTo>
                      <a:lnTo>
                        <a:pt x="777" y="279"/>
                      </a:lnTo>
                      <a:lnTo>
                        <a:pt x="777" y="273"/>
                      </a:lnTo>
                      <a:lnTo>
                        <a:pt x="777" y="268"/>
                      </a:lnTo>
                      <a:lnTo>
                        <a:pt x="777" y="262"/>
                      </a:lnTo>
                      <a:lnTo>
                        <a:pt x="777" y="259"/>
                      </a:lnTo>
                      <a:lnTo>
                        <a:pt x="777" y="257"/>
                      </a:lnTo>
                      <a:lnTo>
                        <a:pt x="769" y="257"/>
                      </a:lnTo>
                      <a:lnTo>
                        <a:pt x="764" y="257"/>
                      </a:lnTo>
                      <a:lnTo>
                        <a:pt x="764" y="257"/>
                      </a:lnTo>
                      <a:lnTo>
                        <a:pt x="764" y="264"/>
                      </a:lnTo>
                      <a:lnTo>
                        <a:pt x="764" y="268"/>
                      </a:lnTo>
                      <a:lnTo>
                        <a:pt x="758" y="268"/>
                      </a:lnTo>
                      <a:lnTo>
                        <a:pt x="754" y="268"/>
                      </a:lnTo>
                      <a:lnTo>
                        <a:pt x="754" y="262"/>
                      </a:lnTo>
                      <a:lnTo>
                        <a:pt x="754" y="255"/>
                      </a:lnTo>
                      <a:lnTo>
                        <a:pt x="754" y="248"/>
                      </a:lnTo>
                      <a:lnTo>
                        <a:pt x="754" y="242"/>
                      </a:lnTo>
                      <a:lnTo>
                        <a:pt x="760" y="240"/>
                      </a:lnTo>
                      <a:lnTo>
                        <a:pt x="764" y="236"/>
                      </a:lnTo>
                      <a:lnTo>
                        <a:pt x="764" y="236"/>
                      </a:lnTo>
                      <a:lnTo>
                        <a:pt x="766" y="236"/>
                      </a:lnTo>
                      <a:lnTo>
                        <a:pt x="766" y="236"/>
                      </a:lnTo>
                      <a:lnTo>
                        <a:pt x="767" y="235"/>
                      </a:lnTo>
                      <a:lnTo>
                        <a:pt x="769" y="233"/>
                      </a:lnTo>
                      <a:lnTo>
                        <a:pt x="769" y="233"/>
                      </a:lnTo>
                      <a:lnTo>
                        <a:pt x="771" y="231"/>
                      </a:lnTo>
                      <a:lnTo>
                        <a:pt x="771" y="231"/>
                      </a:lnTo>
                      <a:lnTo>
                        <a:pt x="773" y="229"/>
                      </a:lnTo>
                      <a:lnTo>
                        <a:pt x="775" y="227"/>
                      </a:lnTo>
                      <a:lnTo>
                        <a:pt x="775" y="227"/>
                      </a:lnTo>
                      <a:lnTo>
                        <a:pt x="775" y="225"/>
                      </a:lnTo>
                      <a:lnTo>
                        <a:pt x="775" y="224"/>
                      </a:lnTo>
                      <a:lnTo>
                        <a:pt x="775" y="224"/>
                      </a:lnTo>
                      <a:lnTo>
                        <a:pt x="777" y="218"/>
                      </a:lnTo>
                      <a:lnTo>
                        <a:pt x="777" y="218"/>
                      </a:lnTo>
                      <a:lnTo>
                        <a:pt x="777" y="212"/>
                      </a:lnTo>
                      <a:lnTo>
                        <a:pt x="777" y="212"/>
                      </a:lnTo>
                      <a:lnTo>
                        <a:pt x="773" y="211"/>
                      </a:lnTo>
                      <a:lnTo>
                        <a:pt x="771" y="211"/>
                      </a:lnTo>
                      <a:lnTo>
                        <a:pt x="767" y="209"/>
                      </a:lnTo>
                      <a:lnTo>
                        <a:pt x="764" y="209"/>
                      </a:lnTo>
                      <a:lnTo>
                        <a:pt x="760" y="209"/>
                      </a:lnTo>
                      <a:lnTo>
                        <a:pt x="760" y="205"/>
                      </a:lnTo>
                      <a:lnTo>
                        <a:pt x="760" y="201"/>
                      </a:lnTo>
                      <a:lnTo>
                        <a:pt x="760" y="196"/>
                      </a:lnTo>
                      <a:lnTo>
                        <a:pt x="760" y="194"/>
                      </a:lnTo>
                      <a:lnTo>
                        <a:pt x="766" y="192"/>
                      </a:lnTo>
                      <a:lnTo>
                        <a:pt x="775" y="192"/>
                      </a:lnTo>
                      <a:lnTo>
                        <a:pt x="782" y="190"/>
                      </a:lnTo>
                      <a:lnTo>
                        <a:pt x="789" y="188"/>
                      </a:lnTo>
                      <a:lnTo>
                        <a:pt x="795" y="187"/>
                      </a:lnTo>
                      <a:lnTo>
                        <a:pt x="795" y="187"/>
                      </a:lnTo>
                      <a:lnTo>
                        <a:pt x="802" y="185"/>
                      </a:lnTo>
                      <a:lnTo>
                        <a:pt x="810" y="183"/>
                      </a:lnTo>
                      <a:lnTo>
                        <a:pt x="815" y="181"/>
                      </a:lnTo>
                      <a:lnTo>
                        <a:pt x="830" y="176"/>
                      </a:lnTo>
                      <a:lnTo>
                        <a:pt x="843" y="172"/>
                      </a:lnTo>
                      <a:lnTo>
                        <a:pt x="856" y="166"/>
                      </a:lnTo>
                      <a:lnTo>
                        <a:pt x="871" y="159"/>
                      </a:lnTo>
                      <a:lnTo>
                        <a:pt x="873" y="157"/>
                      </a:lnTo>
                      <a:lnTo>
                        <a:pt x="874" y="157"/>
                      </a:lnTo>
                      <a:lnTo>
                        <a:pt x="884" y="152"/>
                      </a:lnTo>
                      <a:lnTo>
                        <a:pt x="889" y="148"/>
                      </a:lnTo>
                      <a:lnTo>
                        <a:pt x="893" y="146"/>
                      </a:lnTo>
                      <a:lnTo>
                        <a:pt x="895" y="146"/>
                      </a:lnTo>
                      <a:lnTo>
                        <a:pt x="897" y="146"/>
                      </a:lnTo>
                      <a:lnTo>
                        <a:pt x="898" y="146"/>
                      </a:lnTo>
                      <a:lnTo>
                        <a:pt x="898" y="148"/>
                      </a:lnTo>
                      <a:lnTo>
                        <a:pt x="897" y="150"/>
                      </a:lnTo>
                      <a:lnTo>
                        <a:pt x="895" y="150"/>
                      </a:lnTo>
                      <a:lnTo>
                        <a:pt x="893" y="152"/>
                      </a:lnTo>
                      <a:lnTo>
                        <a:pt x="893" y="152"/>
                      </a:lnTo>
                      <a:lnTo>
                        <a:pt x="893" y="153"/>
                      </a:lnTo>
                      <a:lnTo>
                        <a:pt x="889" y="153"/>
                      </a:lnTo>
                      <a:lnTo>
                        <a:pt x="884" y="155"/>
                      </a:lnTo>
                      <a:lnTo>
                        <a:pt x="880" y="157"/>
                      </a:lnTo>
                      <a:lnTo>
                        <a:pt x="876" y="159"/>
                      </a:lnTo>
                      <a:lnTo>
                        <a:pt x="876" y="159"/>
                      </a:lnTo>
                      <a:lnTo>
                        <a:pt x="874" y="159"/>
                      </a:lnTo>
                      <a:lnTo>
                        <a:pt x="873" y="161"/>
                      </a:lnTo>
                      <a:lnTo>
                        <a:pt x="867" y="163"/>
                      </a:lnTo>
                      <a:lnTo>
                        <a:pt x="861" y="165"/>
                      </a:lnTo>
                      <a:lnTo>
                        <a:pt x="861" y="165"/>
                      </a:lnTo>
                      <a:lnTo>
                        <a:pt x="860" y="170"/>
                      </a:lnTo>
                      <a:lnTo>
                        <a:pt x="860" y="176"/>
                      </a:lnTo>
                      <a:lnTo>
                        <a:pt x="858" y="181"/>
                      </a:lnTo>
                      <a:lnTo>
                        <a:pt x="858" y="187"/>
                      </a:lnTo>
                      <a:lnTo>
                        <a:pt x="858" y="188"/>
                      </a:lnTo>
                      <a:lnTo>
                        <a:pt x="863" y="190"/>
                      </a:lnTo>
                      <a:lnTo>
                        <a:pt x="863" y="190"/>
                      </a:lnTo>
                      <a:lnTo>
                        <a:pt x="869" y="192"/>
                      </a:lnTo>
                      <a:lnTo>
                        <a:pt x="869" y="192"/>
                      </a:lnTo>
                      <a:lnTo>
                        <a:pt x="876" y="177"/>
                      </a:lnTo>
                      <a:lnTo>
                        <a:pt x="880" y="168"/>
                      </a:lnTo>
                      <a:lnTo>
                        <a:pt x="880" y="166"/>
                      </a:lnTo>
                      <a:lnTo>
                        <a:pt x="882" y="166"/>
                      </a:lnTo>
                      <a:lnTo>
                        <a:pt x="884" y="166"/>
                      </a:lnTo>
                      <a:lnTo>
                        <a:pt x="884" y="166"/>
                      </a:lnTo>
                      <a:lnTo>
                        <a:pt x="884" y="168"/>
                      </a:lnTo>
                      <a:lnTo>
                        <a:pt x="884" y="174"/>
                      </a:lnTo>
                      <a:lnTo>
                        <a:pt x="884" y="177"/>
                      </a:lnTo>
                      <a:lnTo>
                        <a:pt x="884" y="181"/>
                      </a:lnTo>
                      <a:lnTo>
                        <a:pt x="884" y="181"/>
                      </a:lnTo>
                      <a:lnTo>
                        <a:pt x="887" y="183"/>
                      </a:lnTo>
                      <a:lnTo>
                        <a:pt x="887" y="183"/>
                      </a:lnTo>
                      <a:lnTo>
                        <a:pt x="891" y="185"/>
                      </a:lnTo>
                      <a:lnTo>
                        <a:pt x="895" y="185"/>
                      </a:lnTo>
                      <a:lnTo>
                        <a:pt x="897" y="187"/>
                      </a:lnTo>
                      <a:lnTo>
                        <a:pt x="897" y="188"/>
                      </a:lnTo>
                      <a:lnTo>
                        <a:pt x="897" y="188"/>
                      </a:lnTo>
                      <a:lnTo>
                        <a:pt x="897" y="190"/>
                      </a:lnTo>
                      <a:lnTo>
                        <a:pt x="895" y="192"/>
                      </a:lnTo>
                      <a:lnTo>
                        <a:pt x="895" y="194"/>
                      </a:lnTo>
                      <a:lnTo>
                        <a:pt x="893" y="194"/>
                      </a:lnTo>
                      <a:lnTo>
                        <a:pt x="891" y="196"/>
                      </a:lnTo>
                      <a:lnTo>
                        <a:pt x="887" y="198"/>
                      </a:lnTo>
                      <a:lnTo>
                        <a:pt x="884" y="200"/>
                      </a:lnTo>
                      <a:lnTo>
                        <a:pt x="884" y="200"/>
                      </a:lnTo>
                      <a:lnTo>
                        <a:pt x="889" y="203"/>
                      </a:lnTo>
                      <a:lnTo>
                        <a:pt x="895" y="207"/>
                      </a:lnTo>
                      <a:lnTo>
                        <a:pt x="900" y="211"/>
                      </a:lnTo>
                      <a:lnTo>
                        <a:pt x="906" y="214"/>
                      </a:lnTo>
                      <a:lnTo>
                        <a:pt x="908" y="214"/>
                      </a:lnTo>
                      <a:lnTo>
                        <a:pt x="909" y="201"/>
                      </a:lnTo>
                      <a:lnTo>
                        <a:pt x="909" y="188"/>
                      </a:lnTo>
                      <a:lnTo>
                        <a:pt x="911" y="177"/>
                      </a:lnTo>
                      <a:lnTo>
                        <a:pt x="911" y="177"/>
                      </a:lnTo>
                      <a:lnTo>
                        <a:pt x="913" y="163"/>
                      </a:lnTo>
                      <a:lnTo>
                        <a:pt x="911" y="165"/>
                      </a:lnTo>
                      <a:lnTo>
                        <a:pt x="909" y="165"/>
                      </a:lnTo>
                      <a:lnTo>
                        <a:pt x="909" y="165"/>
                      </a:lnTo>
                      <a:lnTo>
                        <a:pt x="909" y="166"/>
                      </a:lnTo>
                      <a:lnTo>
                        <a:pt x="909" y="166"/>
                      </a:lnTo>
                      <a:lnTo>
                        <a:pt x="908" y="166"/>
                      </a:lnTo>
                      <a:lnTo>
                        <a:pt x="908" y="166"/>
                      </a:lnTo>
                      <a:lnTo>
                        <a:pt x="908" y="170"/>
                      </a:lnTo>
                      <a:lnTo>
                        <a:pt x="908" y="170"/>
                      </a:lnTo>
                      <a:lnTo>
                        <a:pt x="906" y="172"/>
                      </a:lnTo>
                      <a:lnTo>
                        <a:pt x="906" y="172"/>
                      </a:lnTo>
                      <a:lnTo>
                        <a:pt x="904" y="176"/>
                      </a:lnTo>
                      <a:lnTo>
                        <a:pt x="904" y="177"/>
                      </a:lnTo>
                      <a:lnTo>
                        <a:pt x="904" y="177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2" y="179"/>
                      </a:lnTo>
                      <a:lnTo>
                        <a:pt x="900" y="174"/>
                      </a:lnTo>
                      <a:lnTo>
                        <a:pt x="898" y="168"/>
                      </a:lnTo>
                      <a:lnTo>
                        <a:pt x="897" y="163"/>
                      </a:lnTo>
                      <a:lnTo>
                        <a:pt x="897" y="157"/>
                      </a:lnTo>
                      <a:lnTo>
                        <a:pt x="897" y="155"/>
                      </a:lnTo>
                      <a:lnTo>
                        <a:pt x="898" y="153"/>
                      </a:lnTo>
                      <a:lnTo>
                        <a:pt x="898" y="153"/>
                      </a:lnTo>
                      <a:lnTo>
                        <a:pt x="900" y="153"/>
                      </a:lnTo>
                      <a:lnTo>
                        <a:pt x="902" y="152"/>
                      </a:lnTo>
                      <a:lnTo>
                        <a:pt x="902" y="150"/>
                      </a:lnTo>
                      <a:lnTo>
                        <a:pt x="904" y="148"/>
                      </a:lnTo>
                      <a:lnTo>
                        <a:pt x="904" y="148"/>
                      </a:lnTo>
                      <a:lnTo>
                        <a:pt x="906" y="142"/>
                      </a:lnTo>
                      <a:lnTo>
                        <a:pt x="908" y="139"/>
                      </a:lnTo>
                      <a:lnTo>
                        <a:pt x="915" y="135"/>
                      </a:lnTo>
                      <a:lnTo>
                        <a:pt x="924" y="131"/>
                      </a:lnTo>
                      <a:lnTo>
                        <a:pt x="932" y="126"/>
                      </a:lnTo>
                      <a:lnTo>
                        <a:pt x="941" y="122"/>
                      </a:lnTo>
                      <a:lnTo>
                        <a:pt x="946" y="120"/>
                      </a:lnTo>
                      <a:lnTo>
                        <a:pt x="950" y="118"/>
                      </a:lnTo>
                      <a:lnTo>
                        <a:pt x="956" y="117"/>
                      </a:lnTo>
                      <a:lnTo>
                        <a:pt x="961" y="117"/>
                      </a:lnTo>
                      <a:lnTo>
                        <a:pt x="965" y="115"/>
                      </a:lnTo>
                      <a:lnTo>
                        <a:pt x="969" y="115"/>
                      </a:lnTo>
                      <a:lnTo>
                        <a:pt x="974" y="115"/>
                      </a:lnTo>
                      <a:lnTo>
                        <a:pt x="978" y="115"/>
                      </a:lnTo>
                      <a:lnTo>
                        <a:pt x="980" y="118"/>
                      </a:lnTo>
                      <a:lnTo>
                        <a:pt x="980" y="122"/>
                      </a:lnTo>
                      <a:lnTo>
                        <a:pt x="981" y="128"/>
                      </a:lnTo>
                      <a:lnTo>
                        <a:pt x="981" y="131"/>
                      </a:lnTo>
                      <a:lnTo>
                        <a:pt x="978" y="133"/>
                      </a:lnTo>
                      <a:lnTo>
                        <a:pt x="974" y="135"/>
                      </a:lnTo>
                      <a:lnTo>
                        <a:pt x="970" y="137"/>
                      </a:lnTo>
                      <a:lnTo>
                        <a:pt x="967" y="139"/>
                      </a:lnTo>
                      <a:lnTo>
                        <a:pt x="965" y="141"/>
                      </a:lnTo>
                      <a:lnTo>
                        <a:pt x="970" y="142"/>
                      </a:lnTo>
                      <a:lnTo>
                        <a:pt x="974" y="146"/>
                      </a:lnTo>
                      <a:lnTo>
                        <a:pt x="974" y="146"/>
                      </a:lnTo>
                      <a:lnTo>
                        <a:pt x="989" y="139"/>
                      </a:lnTo>
                      <a:lnTo>
                        <a:pt x="996" y="135"/>
                      </a:lnTo>
                      <a:lnTo>
                        <a:pt x="1000" y="135"/>
                      </a:lnTo>
                      <a:lnTo>
                        <a:pt x="1002" y="133"/>
                      </a:lnTo>
                      <a:lnTo>
                        <a:pt x="1007" y="133"/>
                      </a:lnTo>
                      <a:lnTo>
                        <a:pt x="1011" y="133"/>
                      </a:lnTo>
                      <a:lnTo>
                        <a:pt x="1015" y="137"/>
                      </a:lnTo>
                      <a:lnTo>
                        <a:pt x="1018" y="142"/>
                      </a:lnTo>
                      <a:lnTo>
                        <a:pt x="1018" y="144"/>
                      </a:lnTo>
                      <a:lnTo>
                        <a:pt x="1024" y="139"/>
                      </a:lnTo>
                      <a:lnTo>
                        <a:pt x="1029" y="135"/>
                      </a:lnTo>
                      <a:lnTo>
                        <a:pt x="1035" y="133"/>
                      </a:lnTo>
                      <a:lnTo>
                        <a:pt x="1040" y="129"/>
                      </a:lnTo>
                      <a:lnTo>
                        <a:pt x="1050" y="131"/>
                      </a:lnTo>
                      <a:lnTo>
                        <a:pt x="1059" y="131"/>
                      </a:lnTo>
                      <a:lnTo>
                        <a:pt x="1059" y="131"/>
                      </a:lnTo>
                      <a:lnTo>
                        <a:pt x="1068" y="131"/>
                      </a:lnTo>
                      <a:lnTo>
                        <a:pt x="1076" y="131"/>
                      </a:lnTo>
                      <a:lnTo>
                        <a:pt x="1076" y="131"/>
                      </a:lnTo>
                      <a:lnTo>
                        <a:pt x="1079" y="129"/>
                      </a:lnTo>
                      <a:lnTo>
                        <a:pt x="1083" y="129"/>
                      </a:lnTo>
                      <a:lnTo>
                        <a:pt x="1083" y="129"/>
                      </a:lnTo>
                      <a:lnTo>
                        <a:pt x="1087" y="128"/>
                      </a:lnTo>
                      <a:lnTo>
                        <a:pt x="1088" y="126"/>
                      </a:lnTo>
                      <a:lnTo>
                        <a:pt x="1092" y="126"/>
                      </a:lnTo>
                      <a:lnTo>
                        <a:pt x="1092" y="126"/>
                      </a:lnTo>
                      <a:lnTo>
                        <a:pt x="1094" y="124"/>
                      </a:lnTo>
                      <a:lnTo>
                        <a:pt x="1094" y="124"/>
                      </a:lnTo>
                      <a:lnTo>
                        <a:pt x="1098" y="122"/>
                      </a:lnTo>
                      <a:lnTo>
                        <a:pt x="1098" y="122"/>
                      </a:lnTo>
                      <a:lnTo>
                        <a:pt x="1100" y="120"/>
                      </a:lnTo>
                      <a:lnTo>
                        <a:pt x="1101" y="118"/>
                      </a:lnTo>
                      <a:lnTo>
                        <a:pt x="1101" y="118"/>
                      </a:lnTo>
                      <a:lnTo>
                        <a:pt x="1105" y="117"/>
                      </a:lnTo>
                      <a:lnTo>
                        <a:pt x="1105" y="117"/>
                      </a:lnTo>
                      <a:lnTo>
                        <a:pt x="1107" y="113"/>
                      </a:lnTo>
                      <a:lnTo>
                        <a:pt x="1109" y="111"/>
                      </a:lnTo>
                      <a:lnTo>
                        <a:pt x="1109" y="111"/>
                      </a:lnTo>
                      <a:lnTo>
                        <a:pt x="1112" y="105"/>
                      </a:lnTo>
                      <a:lnTo>
                        <a:pt x="1112" y="105"/>
                      </a:lnTo>
                      <a:lnTo>
                        <a:pt x="1116" y="98"/>
                      </a:lnTo>
                      <a:lnTo>
                        <a:pt x="1118" y="91"/>
                      </a:lnTo>
                      <a:lnTo>
                        <a:pt x="1122" y="83"/>
                      </a:lnTo>
                      <a:lnTo>
                        <a:pt x="1124" y="74"/>
                      </a:lnTo>
                      <a:lnTo>
                        <a:pt x="1125" y="67"/>
                      </a:lnTo>
                      <a:lnTo>
                        <a:pt x="1131" y="67"/>
                      </a:lnTo>
                      <a:lnTo>
                        <a:pt x="1136" y="67"/>
                      </a:lnTo>
                      <a:lnTo>
                        <a:pt x="1136" y="67"/>
                      </a:lnTo>
                      <a:lnTo>
                        <a:pt x="1142" y="56"/>
                      </a:lnTo>
                      <a:lnTo>
                        <a:pt x="1148" y="48"/>
                      </a:lnTo>
                      <a:lnTo>
                        <a:pt x="1153" y="39"/>
                      </a:lnTo>
                      <a:lnTo>
                        <a:pt x="1159" y="32"/>
                      </a:lnTo>
                      <a:lnTo>
                        <a:pt x="1162" y="30"/>
                      </a:lnTo>
                      <a:lnTo>
                        <a:pt x="1166" y="26"/>
                      </a:lnTo>
                      <a:lnTo>
                        <a:pt x="1168" y="22"/>
                      </a:lnTo>
                      <a:lnTo>
                        <a:pt x="1172" y="21"/>
                      </a:lnTo>
                      <a:lnTo>
                        <a:pt x="1175" y="19"/>
                      </a:lnTo>
                      <a:lnTo>
                        <a:pt x="1179" y="15"/>
                      </a:lnTo>
                      <a:lnTo>
                        <a:pt x="1183" y="13"/>
                      </a:lnTo>
                      <a:lnTo>
                        <a:pt x="1186" y="11"/>
                      </a:lnTo>
                      <a:lnTo>
                        <a:pt x="1190" y="9"/>
                      </a:lnTo>
                      <a:lnTo>
                        <a:pt x="1194" y="9"/>
                      </a:lnTo>
                      <a:lnTo>
                        <a:pt x="1197" y="8"/>
                      </a:lnTo>
                      <a:lnTo>
                        <a:pt x="1201" y="6"/>
                      </a:lnTo>
                      <a:lnTo>
                        <a:pt x="1207" y="6"/>
                      </a:lnTo>
                      <a:lnTo>
                        <a:pt x="1210" y="4"/>
                      </a:lnTo>
                      <a:lnTo>
                        <a:pt x="1214" y="4"/>
                      </a:lnTo>
                      <a:lnTo>
                        <a:pt x="1218" y="4"/>
                      </a:lnTo>
                      <a:lnTo>
                        <a:pt x="1219" y="4"/>
                      </a:lnTo>
                      <a:lnTo>
                        <a:pt x="1223" y="4"/>
                      </a:lnTo>
                      <a:lnTo>
                        <a:pt x="1229" y="4"/>
                      </a:lnTo>
                      <a:lnTo>
                        <a:pt x="1232" y="4"/>
                      </a:lnTo>
                      <a:lnTo>
                        <a:pt x="1236" y="4"/>
                      </a:lnTo>
                      <a:lnTo>
                        <a:pt x="1247" y="6"/>
                      </a:lnTo>
                      <a:lnTo>
                        <a:pt x="1256" y="9"/>
                      </a:lnTo>
                      <a:lnTo>
                        <a:pt x="1262" y="17"/>
                      </a:lnTo>
                      <a:lnTo>
                        <a:pt x="1264" y="22"/>
                      </a:lnTo>
                      <a:lnTo>
                        <a:pt x="1267" y="28"/>
                      </a:lnTo>
                      <a:lnTo>
                        <a:pt x="1267" y="28"/>
                      </a:lnTo>
                      <a:lnTo>
                        <a:pt x="1269" y="32"/>
                      </a:lnTo>
                      <a:lnTo>
                        <a:pt x="1271" y="33"/>
                      </a:lnTo>
                      <a:lnTo>
                        <a:pt x="1271" y="33"/>
                      </a:lnTo>
                      <a:lnTo>
                        <a:pt x="1275" y="35"/>
                      </a:lnTo>
                      <a:lnTo>
                        <a:pt x="1275" y="35"/>
                      </a:lnTo>
                      <a:lnTo>
                        <a:pt x="1279" y="39"/>
                      </a:lnTo>
                      <a:lnTo>
                        <a:pt x="1282" y="41"/>
                      </a:lnTo>
                      <a:lnTo>
                        <a:pt x="1282" y="43"/>
                      </a:lnTo>
                      <a:lnTo>
                        <a:pt x="1291" y="37"/>
                      </a:lnTo>
                      <a:lnTo>
                        <a:pt x="1299" y="33"/>
                      </a:lnTo>
                      <a:lnTo>
                        <a:pt x="1306" y="28"/>
                      </a:lnTo>
                      <a:lnTo>
                        <a:pt x="1314" y="24"/>
                      </a:lnTo>
                      <a:lnTo>
                        <a:pt x="1319" y="28"/>
                      </a:lnTo>
                      <a:lnTo>
                        <a:pt x="1323" y="32"/>
                      </a:lnTo>
                      <a:lnTo>
                        <a:pt x="1323" y="32"/>
                      </a:lnTo>
                      <a:lnTo>
                        <a:pt x="1327" y="26"/>
                      </a:lnTo>
                      <a:lnTo>
                        <a:pt x="1330" y="22"/>
                      </a:lnTo>
                      <a:lnTo>
                        <a:pt x="1332" y="22"/>
                      </a:lnTo>
                      <a:lnTo>
                        <a:pt x="1332" y="24"/>
                      </a:lnTo>
                      <a:lnTo>
                        <a:pt x="1332" y="24"/>
                      </a:lnTo>
                      <a:lnTo>
                        <a:pt x="1339" y="26"/>
                      </a:lnTo>
                      <a:lnTo>
                        <a:pt x="1343" y="26"/>
                      </a:lnTo>
                      <a:lnTo>
                        <a:pt x="1345" y="28"/>
                      </a:lnTo>
                      <a:lnTo>
                        <a:pt x="1343" y="19"/>
                      </a:lnTo>
                      <a:lnTo>
                        <a:pt x="1343" y="19"/>
                      </a:lnTo>
                      <a:lnTo>
                        <a:pt x="1341" y="11"/>
                      </a:lnTo>
                      <a:lnTo>
                        <a:pt x="1341" y="6"/>
                      </a:lnTo>
                      <a:lnTo>
                        <a:pt x="1339" y="0"/>
                      </a:lnTo>
                      <a:lnTo>
                        <a:pt x="1347" y="0"/>
                      </a:lnTo>
                      <a:lnTo>
                        <a:pt x="133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1" name="Freeform 3125"/>
                <p:cNvSpPr>
                  <a:spLocks/>
                </p:cNvSpPr>
                <p:nvPr/>
              </p:nvSpPr>
              <p:spPr bwMode="auto">
                <a:xfrm>
                  <a:off x="4806" y="1094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2" name="Freeform 3126"/>
                <p:cNvSpPr>
                  <a:spLocks/>
                </p:cNvSpPr>
                <p:nvPr/>
              </p:nvSpPr>
              <p:spPr bwMode="auto">
                <a:xfrm>
                  <a:off x="4806" y="1094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3" name="Freeform 3127"/>
                <p:cNvSpPr>
                  <a:spLocks/>
                </p:cNvSpPr>
                <p:nvPr/>
              </p:nvSpPr>
              <p:spPr bwMode="auto">
                <a:xfrm>
                  <a:off x="4049" y="973"/>
                  <a:ext cx="72" cy="37"/>
                </a:xfrm>
                <a:custGeom>
                  <a:avLst/>
                  <a:gdLst>
                    <a:gd name="T0" fmla="*/ 0 w 72"/>
                    <a:gd name="T1" fmla="*/ 0 h 37"/>
                    <a:gd name="T2" fmla="*/ 0 w 72"/>
                    <a:gd name="T3" fmla="*/ 0 h 37"/>
                    <a:gd name="T4" fmla="*/ 0 w 72"/>
                    <a:gd name="T5" fmla="*/ 9 h 37"/>
                    <a:gd name="T6" fmla="*/ 2 w 72"/>
                    <a:gd name="T7" fmla="*/ 18 h 37"/>
                    <a:gd name="T8" fmla="*/ 4 w 72"/>
                    <a:gd name="T9" fmla="*/ 27 h 37"/>
                    <a:gd name="T10" fmla="*/ 6 w 72"/>
                    <a:gd name="T11" fmla="*/ 37 h 37"/>
                    <a:gd name="T12" fmla="*/ 15 w 72"/>
                    <a:gd name="T13" fmla="*/ 35 h 37"/>
                    <a:gd name="T14" fmla="*/ 24 w 72"/>
                    <a:gd name="T15" fmla="*/ 33 h 37"/>
                    <a:gd name="T16" fmla="*/ 33 w 72"/>
                    <a:gd name="T17" fmla="*/ 31 h 37"/>
                    <a:gd name="T18" fmla="*/ 41 w 72"/>
                    <a:gd name="T19" fmla="*/ 29 h 37"/>
                    <a:gd name="T20" fmla="*/ 46 w 72"/>
                    <a:gd name="T21" fmla="*/ 29 h 37"/>
                    <a:gd name="T22" fmla="*/ 50 w 72"/>
                    <a:gd name="T23" fmla="*/ 27 h 37"/>
                    <a:gd name="T24" fmla="*/ 54 w 72"/>
                    <a:gd name="T25" fmla="*/ 25 h 37"/>
                    <a:gd name="T26" fmla="*/ 57 w 72"/>
                    <a:gd name="T27" fmla="*/ 22 h 37"/>
                    <a:gd name="T28" fmla="*/ 61 w 72"/>
                    <a:gd name="T29" fmla="*/ 20 h 37"/>
                    <a:gd name="T30" fmla="*/ 65 w 72"/>
                    <a:gd name="T31" fmla="*/ 18 h 37"/>
                    <a:gd name="T32" fmla="*/ 68 w 72"/>
                    <a:gd name="T33" fmla="*/ 14 h 37"/>
                    <a:gd name="T34" fmla="*/ 72 w 72"/>
                    <a:gd name="T35" fmla="*/ 11 h 37"/>
                    <a:gd name="T36" fmla="*/ 68 w 72"/>
                    <a:gd name="T37" fmla="*/ 14 h 37"/>
                    <a:gd name="T38" fmla="*/ 65 w 72"/>
                    <a:gd name="T39" fmla="*/ 18 h 37"/>
                    <a:gd name="T40" fmla="*/ 61 w 72"/>
                    <a:gd name="T41" fmla="*/ 20 h 37"/>
                    <a:gd name="T42" fmla="*/ 57 w 72"/>
                    <a:gd name="T43" fmla="*/ 22 h 37"/>
                    <a:gd name="T44" fmla="*/ 54 w 72"/>
                    <a:gd name="T45" fmla="*/ 25 h 37"/>
                    <a:gd name="T46" fmla="*/ 50 w 72"/>
                    <a:gd name="T47" fmla="*/ 27 h 37"/>
                    <a:gd name="T48" fmla="*/ 46 w 72"/>
                    <a:gd name="T49" fmla="*/ 29 h 37"/>
                    <a:gd name="T50" fmla="*/ 41 w 72"/>
                    <a:gd name="T51" fmla="*/ 29 h 37"/>
                    <a:gd name="T52" fmla="*/ 33 w 72"/>
                    <a:gd name="T53" fmla="*/ 31 h 37"/>
                    <a:gd name="T54" fmla="*/ 24 w 72"/>
                    <a:gd name="T55" fmla="*/ 33 h 37"/>
                    <a:gd name="T56" fmla="*/ 15 w 72"/>
                    <a:gd name="T57" fmla="*/ 35 h 37"/>
                    <a:gd name="T58" fmla="*/ 6 w 72"/>
                    <a:gd name="T59" fmla="*/ 37 h 37"/>
                    <a:gd name="T60" fmla="*/ 4 w 72"/>
                    <a:gd name="T61" fmla="*/ 27 h 37"/>
                    <a:gd name="T62" fmla="*/ 2 w 72"/>
                    <a:gd name="T63" fmla="*/ 18 h 37"/>
                    <a:gd name="T64" fmla="*/ 0 w 72"/>
                    <a:gd name="T65" fmla="*/ 9 h 37"/>
                    <a:gd name="T66" fmla="*/ 0 w 72"/>
                    <a:gd name="T6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2" h="3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2" y="18"/>
                      </a:lnTo>
                      <a:lnTo>
                        <a:pt x="4" y="27"/>
                      </a:lnTo>
                      <a:lnTo>
                        <a:pt x="6" y="37"/>
                      </a:lnTo>
                      <a:lnTo>
                        <a:pt x="15" y="35"/>
                      </a:lnTo>
                      <a:lnTo>
                        <a:pt x="24" y="33"/>
                      </a:lnTo>
                      <a:lnTo>
                        <a:pt x="33" y="31"/>
                      </a:lnTo>
                      <a:lnTo>
                        <a:pt x="41" y="29"/>
                      </a:lnTo>
                      <a:lnTo>
                        <a:pt x="46" y="29"/>
                      </a:lnTo>
                      <a:lnTo>
                        <a:pt x="50" y="27"/>
                      </a:lnTo>
                      <a:lnTo>
                        <a:pt x="54" y="25"/>
                      </a:lnTo>
                      <a:lnTo>
                        <a:pt x="57" y="22"/>
                      </a:lnTo>
                      <a:lnTo>
                        <a:pt x="61" y="20"/>
                      </a:lnTo>
                      <a:lnTo>
                        <a:pt x="65" y="18"/>
                      </a:lnTo>
                      <a:lnTo>
                        <a:pt x="68" y="14"/>
                      </a:lnTo>
                      <a:lnTo>
                        <a:pt x="72" y="11"/>
                      </a:lnTo>
                      <a:lnTo>
                        <a:pt x="68" y="14"/>
                      </a:lnTo>
                      <a:lnTo>
                        <a:pt x="65" y="18"/>
                      </a:lnTo>
                      <a:lnTo>
                        <a:pt x="61" y="20"/>
                      </a:lnTo>
                      <a:lnTo>
                        <a:pt x="57" y="22"/>
                      </a:lnTo>
                      <a:lnTo>
                        <a:pt x="54" y="25"/>
                      </a:lnTo>
                      <a:lnTo>
                        <a:pt x="50" y="27"/>
                      </a:lnTo>
                      <a:lnTo>
                        <a:pt x="46" y="29"/>
                      </a:lnTo>
                      <a:lnTo>
                        <a:pt x="41" y="29"/>
                      </a:lnTo>
                      <a:lnTo>
                        <a:pt x="33" y="31"/>
                      </a:lnTo>
                      <a:lnTo>
                        <a:pt x="24" y="33"/>
                      </a:lnTo>
                      <a:lnTo>
                        <a:pt x="15" y="35"/>
                      </a:lnTo>
                      <a:lnTo>
                        <a:pt x="6" y="37"/>
                      </a:lnTo>
                      <a:lnTo>
                        <a:pt x="4" y="27"/>
                      </a:lnTo>
                      <a:lnTo>
                        <a:pt x="2" y="18"/>
                      </a:ln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4" name="Freeform 3128"/>
                <p:cNvSpPr>
                  <a:spLocks/>
                </p:cNvSpPr>
                <p:nvPr/>
              </p:nvSpPr>
              <p:spPr bwMode="auto">
                <a:xfrm>
                  <a:off x="4049" y="973"/>
                  <a:ext cx="72" cy="37"/>
                </a:xfrm>
                <a:custGeom>
                  <a:avLst/>
                  <a:gdLst>
                    <a:gd name="T0" fmla="*/ 0 w 72"/>
                    <a:gd name="T1" fmla="*/ 0 h 37"/>
                    <a:gd name="T2" fmla="*/ 0 w 72"/>
                    <a:gd name="T3" fmla="*/ 0 h 37"/>
                    <a:gd name="T4" fmla="*/ 0 w 72"/>
                    <a:gd name="T5" fmla="*/ 9 h 37"/>
                    <a:gd name="T6" fmla="*/ 2 w 72"/>
                    <a:gd name="T7" fmla="*/ 18 h 37"/>
                    <a:gd name="T8" fmla="*/ 4 w 72"/>
                    <a:gd name="T9" fmla="*/ 27 h 37"/>
                    <a:gd name="T10" fmla="*/ 6 w 72"/>
                    <a:gd name="T11" fmla="*/ 37 h 37"/>
                    <a:gd name="T12" fmla="*/ 15 w 72"/>
                    <a:gd name="T13" fmla="*/ 35 h 37"/>
                    <a:gd name="T14" fmla="*/ 24 w 72"/>
                    <a:gd name="T15" fmla="*/ 33 h 37"/>
                    <a:gd name="T16" fmla="*/ 33 w 72"/>
                    <a:gd name="T17" fmla="*/ 31 h 37"/>
                    <a:gd name="T18" fmla="*/ 41 w 72"/>
                    <a:gd name="T19" fmla="*/ 29 h 37"/>
                    <a:gd name="T20" fmla="*/ 46 w 72"/>
                    <a:gd name="T21" fmla="*/ 29 h 37"/>
                    <a:gd name="T22" fmla="*/ 50 w 72"/>
                    <a:gd name="T23" fmla="*/ 27 h 37"/>
                    <a:gd name="T24" fmla="*/ 54 w 72"/>
                    <a:gd name="T25" fmla="*/ 25 h 37"/>
                    <a:gd name="T26" fmla="*/ 57 w 72"/>
                    <a:gd name="T27" fmla="*/ 22 h 37"/>
                    <a:gd name="T28" fmla="*/ 61 w 72"/>
                    <a:gd name="T29" fmla="*/ 20 h 37"/>
                    <a:gd name="T30" fmla="*/ 65 w 72"/>
                    <a:gd name="T31" fmla="*/ 18 h 37"/>
                    <a:gd name="T32" fmla="*/ 68 w 72"/>
                    <a:gd name="T33" fmla="*/ 14 h 37"/>
                    <a:gd name="T34" fmla="*/ 72 w 72"/>
                    <a:gd name="T35" fmla="*/ 11 h 37"/>
                    <a:gd name="T36" fmla="*/ 68 w 72"/>
                    <a:gd name="T37" fmla="*/ 14 h 37"/>
                    <a:gd name="T38" fmla="*/ 65 w 72"/>
                    <a:gd name="T39" fmla="*/ 18 h 37"/>
                    <a:gd name="T40" fmla="*/ 61 w 72"/>
                    <a:gd name="T41" fmla="*/ 20 h 37"/>
                    <a:gd name="T42" fmla="*/ 57 w 72"/>
                    <a:gd name="T43" fmla="*/ 22 h 37"/>
                    <a:gd name="T44" fmla="*/ 54 w 72"/>
                    <a:gd name="T45" fmla="*/ 25 h 37"/>
                    <a:gd name="T46" fmla="*/ 50 w 72"/>
                    <a:gd name="T47" fmla="*/ 27 h 37"/>
                    <a:gd name="T48" fmla="*/ 46 w 72"/>
                    <a:gd name="T49" fmla="*/ 29 h 37"/>
                    <a:gd name="T50" fmla="*/ 41 w 72"/>
                    <a:gd name="T51" fmla="*/ 29 h 37"/>
                    <a:gd name="T52" fmla="*/ 33 w 72"/>
                    <a:gd name="T53" fmla="*/ 31 h 37"/>
                    <a:gd name="T54" fmla="*/ 24 w 72"/>
                    <a:gd name="T55" fmla="*/ 33 h 37"/>
                    <a:gd name="T56" fmla="*/ 15 w 72"/>
                    <a:gd name="T57" fmla="*/ 35 h 37"/>
                    <a:gd name="T58" fmla="*/ 6 w 72"/>
                    <a:gd name="T59" fmla="*/ 37 h 37"/>
                    <a:gd name="T60" fmla="*/ 4 w 72"/>
                    <a:gd name="T61" fmla="*/ 27 h 37"/>
                    <a:gd name="T62" fmla="*/ 2 w 72"/>
                    <a:gd name="T63" fmla="*/ 18 h 37"/>
                    <a:gd name="T64" fmla="*/ 0 w 72"/>
                    <a:gd name="T65" fmla="*/ 9 h 37"/>
                    <a:gd name="T66" fmla="*/ 0 w 72"/>
                    <a:gd name="T6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2" h="3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2" y="18"/>
                      </a:lnTo>
                      <a:lnTo>
                        <a:pt x="4" y="27"/>
                      </a:lnTo>
                      <a:lnTo>
                        <a:pt x="6" y="37"/>
                      </a:lnTo>
                      <a:lnTo>
                        <a:pt x="15" y="35"/>
                      </a:lnTo>
                      <a:lnTo>
                        <a:pt x="24" y="33"/>
                      </a:lnTo>
                      <a:lnTo>
                        <a:pt x="33" y="31"/>
                      </a:lnTo>
                      <a:lnTo>
                        <a:pt x="41" y="29"/>
                      </a:lnTo>
                      <a:lnTo>
                        <a:pt x="46" y="29"/>
                      </a:lnTo>
                      <a:lnTo>
                        <a:pt x="50" y="27"/>
                      </a:lnTo>
                      <a:lnTo>
                        <a:pt x="54" y="25"/>
                      </a:lnTo>
                      <a:lnTo>
                        <a:pt x="57" y="22"/>
                      </a:lnTo>
                      <a:lnTo>
                        <a:pt x="61" y="20"/>
                      </a:lnTo>
                      <a:lnTo>
                        <a:pt x="65" y="18"/>
                      </a:lnTo>
                      <a:lnTo>
                        <a:pt x="68" y="14"/>
                      </a:lnTo>
                      <a:lnTo>
                        <a:pt x="72" y="11"/>
                      </a:lnTo>
                      <a:lnTo>
                        <a:pt x="68" y="14"/>
                      </a:lnTo>
                      <a:lnTo>
                        <a:pt x="65" y="18"/>
                      </a:lnTo>
                      <a:lnTo>
                        <a:pt x="61" y="20"/>
                      </a:lnTo>
                      <a:lnTo>
                        <a:pt x="57" y="22"/>
                      </a:lnTo>
                      <a:lnTo>
                        <a:pt x="54" y="25"/>
                      </a:lnTo>
                      <a:lnTo>
                        <a:pt x="50" y="27"/>
                      </a:lnTo>
                      <a:lnTo>
                        <a:pt x="46" y="29"/>
                      </a:lnTo>
                      <a:lnTo>
                        <a:pt x="41" y="29"/>
                      </a:lnTo>
                      <a:lnTo>
                        <a:pt x="33" y="31"/>
                      </a:lnTo>
                      <a:lnTo>
                        <a:pt x="24" y="33"/>
                      </a:lnTo>
                      <a:lnTo>
                        <a:pt x="15" y="35"/>
                      </a:lnTo>
                      <a:lnTo>
                        <a:pt x="6" y="37"/>
                      </a:lnTo>
                      <a:lnTo>
                        <a:pt x="4" y="27"/>
                      </a:lnTo>
                      <a:lnTo>
                        <a:pt x="2" y="18"/>
                      </a:ln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5" name="Freeform 3129"/>
                <p:cNvSpPr>
                  <a:spLocks noEditPoints="1"/>
                </p:cNvSpPr>
                <p:nvPr/>
              </p:nvSpPr>
              <p:spPr bwMode="auto">
                <a:xfrm>
                  <a:off x="4047" y="963"/>
                  <a:ext cx="76" cy="48"/>
                </a:xfrm>
                <a:custGeom>
                  <a:avLst/>
                  <a:gdLst>
                    <a:gd name="T0" fmla="*/ 6 w 76"/>
                    <a:gd name="T1" fmla="*/ 37 h 48"/>
                    <a:gd name="T2" fmla="*/ 2 w 76"/>
                    <a:gd name="T3" fmla="*/ 10 h 48"/>
                    <a:gd name="T4" fmla="*/ 6 w 76"/>
                    <a:gd name="T5" fmla="*/ 8 h 48"/>
                    <a:gd name="T6" fmla="*/ 13 w 76"/>
                    <a:gd name="T7" fmla="*/ 6 h 48"/>
                    <a:gd name="T8" fmla="*/ 21 w 76"/>
                    <a:gd name="T9" fmla="*/ 4 h 48"/>
                    <a:gd name="T10" fmla="*/ 28 w 76"/>
                    <a:gd name="T11" fmla="*/ 2 h 48"/>
                    <a:gd name="T12" fmla="*/ 41 w 76"/>
                    <a:gd name="T13" fmla="*/ 2 h 48"/>
                    <a:gd name="T14" fmla="*/ 48 w 76"/>
                    <a:gd name="T15" fmla="*/ 2 h 48"/>
                    <a:gd name="T16" fmla="*/ 67 w 76"/>
                    <a:gd name="T17" fmla="*/ 4 h 48"/>
                    <a:gd name="T18" fmla="*/ 70 w 76"/>
                    <a:gd name="T19" fmla="*/ 11 h 48"/>
                    <a:gd name="T20" fmla="*/ 72 w 76"/>
                    <a:gd name="T21" fmla="*/ 17 h 48"/>
                    <a:gd name="T22" fmla="*/ 70 w 76"/>
                    <a:gd name="T23" fmla="*/ 24 h 48"/>
                    <a:gd name="T24" fmla="*/ 63 w 76"/>
                    <a:gd name="T25" fmla="*/ 30 h 48"/>
                    <a:gd name="T26" fmla="*/ 56 w 76"/>
                    <a:gd name="T27" fmla="*/ 35 h 48"/>
                    <a:gd name="T28" fmla="*/ 48 w 76"/>
                    <a:gd name="T29" fmla="*/ 39 h 48"/>
                    <a:gd name="T30" fmla="*/ 35 w 76"/>
                    <a:gd name="T31" fmla="*/ 41 h 48"/>
                    <a:gd name="T32" fmla="*/ 17 w 76"/>
                    <a:gd name="T33" fmla="*/ 45 h 48"/>
                    <a:gd name="T34" fmla="*/ 6 w 76"/>
                    <a:gd name="T35" fmla="*/ 37 h 48"/>
                    <a:gd name="T36" fmla="*/ 6 w 76"/>
                    <a:gd name="T37" fmla="*/ 37 h 48"/>
                    <a:gd name="T38" fmla="*/ 2 w 76"/>
                    <a:gd name="T39" fmla="*/ 19 h 48"/>
                    <a:gd name="T40" fmla="*/ 41 w 76"/>
                    <a:gd name="T41" fmla="*/ 0 h 48"/>
                    <a:gd name="T42" fmla="*/ 34 w 76"/>
                    <a:gd name="T43" fmla="*/ 0 h 48"/>
                    <a:gd name="T44" fmla="*/ 28 w 76"/>
                    <a:gd name="T45" fmla="*/ 0 h 48"/>
                    <a:gd name="T46" fmla="*/ 21 w 76"/>
                    <a:gd name="T47" fmla="*/ 2 h 48"/>
                    <a:gd name="T48" fmla="*/ 13 w 76"/>
                    <a:gd name="T49" fmla="*/ 4 h 48"/>
                    <a:gd name="T50" fmla="*/ 4 w 76"/>
                    <a:gd name="T51" fmla="*/ 6 h 48"/>
                    <a:gd name="T52" fmla="*/ 0 w 76"/>
                    <a:gd name="T53" fmla="*/ 8 h 48"/>
                    <a:gd name="T54" fmla="*/ 0 w 76"/>
                    <a:gd name="T55" fmla="*/ 19 h 48"/>
                    <a:gd name="T56" fmla="*/ 4 w 76"/>
                    <a:gd name="T57" fmla="*/ 37 h 48"/>
                    <a:gd name="T58" fmla="*/ 6 w 76"/>
                    <a:gd name="T59" fmla="*/ 48 h 48"/>
                    <a:gd name="T60" fmla="*/ 26 w 76"/>
                    <a:gd name="T61" fmla="*/ 45 h 48"/>
                    <a:gd name="T62" fmla="*/ 45 w 76"/>
                    <a:gd name="T63" fmla="*/ 41 h 48"/>
                    <a:gd name="T64" fmla="*/ 48 w 76"/>
                    <a:gd name="T65" fmla="*/ 39 h 48"/>
                    <a:gd name="T66" fmla="*/ 52 w 76"/>
                    <a:gd name="T67" fmla="*/ 37 h 48"/>
                    <a:gd name="T68" fmla="*/ 56 w 76"/>
                    <a:gd name="T69" fmla="*/ 35 h 48"/>
                    <a:gd name="T70" fmla="*/ 63 w 76"/>
                    <a:gd name="T71" fmla="*/ 32 h 48"/>
                    <a:gd name="T72" fmla="*/ 69 w 76"/>
                    <a:gd name="T73" fmla="*/ 28 h 48"/>
                    <a:gd name="T74" fmla="*/ 76 w 76"/>
                    <a:gd name="T75" fmla="*/ 23 h 48"/>
                    <a:gd name="T76" fmla="*/ 74 w 76"/>
                    <a:gd name="T77" fmla="*/ 17 h 48"/>
                    <a:gd name="T78" fmla="*/ 70 w 76"/>
                    <a:gd name="T79" fmla="*/ 8 h 48"/>
                    <a:gd name="T80" fmla="*/ 67 w 76"/>
                    <a:gd name="T81" fmla="*/ 2 h 48"/>
                    <a:gd name="T82" fmla="*/ 48 w 76"/>
                    <a:gd name="T83" fmla="*/ 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76" h="48">
                      <a:moveTo>
                        <a:pt x="4" y="37"/>
                      </a:moveTo>
                      <a:lnTo>
                        <a:pt x="6" y="37"/>
                      </a:lnTo>
                      <a:lnTo>
                        <a:pt x="4" y="37"/>
                      </a:lnTo>
                      <a:close/>
                      <a:moveTo>
                        <a:pt x="2" y="10"/>
                      </a:moveTo>
                      <a:lnTo>
                        <a:pt x="2" y="10"/>
                      </a:lnTo>
                      <a:lnTo>
                        <a:pt x="6" y="8"/>
                      </a:lnTo>
                      <a:lnTo>
                        <a:pt x="10" y="6"/>
                      </a:lnTo>
                      <a:lnTo>
                        <a:pt x="13" y="6"/>
                      </a:lnTo>
                      <a:lnTo>
                        <a:pt x="17" y="4"/>
                      </a:lnTo>
                      <a:lnTo>
                        <a:pt x="21" y="4"/>
                      </a:lnTo>
                      <a:lnTo>
                        <a:pt x="24" y="2"/>
                      </a:lnTo>
                      <a:lnTo>
                        <a:pt x="28" y="2"/>
                      </a:lnTo>
                      <a:lnTo>
                        <a:pt x="34" y="2"/>
                      </a:lnTo>
                      <a:lnTo>
                        <a:pt x="41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58" y="4"/>
                      </a:lnTo>
                      <a:lnTo>
                        <a:pt x="67" y="4"/>
                      </a:lnTo>
                      <a:lnTo>
                        <a:pt x="69" y="8"/>
                      </a:lnTo>
                      <a:lnTo>
                        <a:pt x="70" y="11"/>
                      </a:lnTo>
                      <a:lnTo>
                        <a:pt x="72" y="17"/>
                      </a:lnTo>
                      <a:lnTo>
                        <a:pt x="72" y="17"/>
                      </a:lnTo>
                      <a:lnTo>
                        <a:pt x="74" y="21"/>
                      </a:lnTo>
                      <a:lnTo>
                        <a:pt x="70" y="24"/>
                      </a:lnTo>
                      <a:lnTo>
                        <a:pt x="67" y="28"/>
                      </a:lnTo>
                      <a:lnTo>
                        <a:pt x="63" y="30"/>
                      </a:lnTo>
                      <a:lnTo>
                        <a:pt x="59" y="32"/>
                      </a:lnTo>
                      <a:lnTo>
                        <a:pt x="56" y="35"/>
                      </a:lnTo>
                      <a:lnTo>
                        <a:pt x="52" y="37"/>
                      </a:lnTo>
                      <a:lnTo>
                        <a:pt x="48" y="39"/>
                      </a:lnTo>
                      <a:lnTo>
                        <a:pt x="43" y="39"/>
                      </a:lnTo>
                      <a:lnTo>
                        <a:pt x="35" y="41"/>
                      </a:lnTo>
                      <a:lnTo>
                        <a:pt x="26" y="43"/>
                      </a:lnTo>
                      <a:lnTo>
                        <a:pt x="17" y="45"/>
                      </a:lnTo>
                      <a:lnTo>
                        <a:pt x="8" y="47"/>
                      </a:lnTo>
                      <a:lnTo>
                        <a:pt x="6" y="37"/>
                      </a:lnTo>
                      <a:lnTo>
                        <a:pt x="4" y="37"/>
                      </a:lnTo>
                      <a:lnTo>
                        <a:pt x="6" y="37"/>
                      </a:lnTo>
                      <a:lnTo>
                        <a:pt x="4" y="28"/>
                      </a:lnTo>
                      <a:lnTo>
                        <a:pt x="2" y="19"/>
                      </a:lnTo>
                      <a:lnTo>
                        <a:pt x="2" y="10"/>
                      </a:lnTo>
                      <a:close/>
                      <a:moveTo>
                        <a:pt x="41" y="0"/>
                      </a:moveTo>
                      <a:lnTo>
                        <a:pt x="41" y="0"/>
                      </a:lnTo>
                      <a:lnTo>
                        <a:pt x="34" y="0"/>
                      </a:lnTo>
                      <a:lnTo>
                        <a:pt x="32" y="0"/>
                      </a:lnTo>
                      <a:lnTo>
                        <a:pt x="28" y="0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7" y="2"/>
                      </a:lnTo>
                      <a:lnTo>
                        <a:pt x="13" y="4"/>
                      </a:lnTo>
                      <a:lnTo>
                        <a:pt x="1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0" y="19"/>
                      </a:lnTo>
                      <a:lnTo>
                        <a:pt x="2" y="28"/>
                      </a:lnTo>
                      <a:lnTo>
                        <a:pt x="4" y="37"/>
                      </a:lnTo>
                      <a:lnTo>
                        <a:pt x="6" y="48"/>
                      </a:lnTo>
                      <a:lnTo>
                        <a:pt x="6" y="48"/>
                      </a:lnTo>
                      <a:lnTo>
                        <a:pt x="17" y="47"/>
                      </a:lnTo>
                      <a:lnTo>
                        <a:pt x="26" y="45"/>
                      </a:lnTo>
                      <a:lnTo>
                        <a:pt x="35" y="43"/>
                      </a:lnTo>
                      <a:lnTo>
                        <a:pt x="45" y="41"/>
                      </a:lnTo>
                      <a:lnTo>
                        <a:pt x="48" y="39"/>
                      </a:lnTo>
                      <a:lnTo>
                        <a:pt x="48" y="39"/>
                      </a:lnTo>
                      <a:lnTo>
                        <a:pt x="52" y="37"/>
                      </a:lnTo>
                      <a:lnTo>
                        <a:pt x="52" y="37"/>
                      </a:lnTo>
                      <a:lnTo>
                        <a:pt x="56" y="35"/>
                      </a:lnTo>
                      <a:lnTo>
                        <a:pt x="56" y="35"/>
                      </a:lnTo>
                      <a:lnTo>
                        <a:pt x="59" y="34"/>
                      </a:lnTo>
                      <a:lnTo>
                        <a:pt x="63" y="32"/>
                      </a:lnTo>
                      <a:lnTo>
                        <a:pt x="69" y="28"/>
                      </a:lnTo>
                      <a:lnTo>
                        <a:pt x="69" y="28"/>
                      </a:lnTo>
                      <a:lnTo>
                        <a:pt x="72" y="24"/>
                      </a:lnTo>
                      <a:lnTo>
                        <a:pt x="76" y="23"/>
                      </a:lnTo>
                      <a:lnTo>
                        <a:pt x="76" y="21"/>
                      </a:lnTo>
                      <a:lnTo>
                        <a:pt x="74" y="17"/>
                      </a:lnTo>
                      <a:lnTo>
                        <a:pt x="72" y="11"/>
                      </a:lnTo>
                      <a:lnTo>
                        <a:pt x="70" y="8"/>
                      </a:lnTo>
                      <a:lnTo>
                        <a:pt x="67" y="2"/>
                      </a:lnTo>
                      <a:lnTo>
                        <a:pt x="67" y="2"/>
                      </a:lnTo>
                      <a:lnTo>
                        <a:pt x="58" y="2"/>
                      </a:lnTo>
                      <a:lnTo>
                        <a:pt x="48" y="2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6" name="Freeform 3130"/>
                <p:cNvSpPr>
                  <a:spLocks/>
                </p:cNvSpPr>
                <p:nvPr/>
              </p:nvSpPr>
              <p:spPr bwMode="auto">
                <a:xfrm>
                  <a:off x="4051" y="1000"/>
                  <a:ext cx="2" cy="1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7" name="Freeform 3131"/>
                <p:cNvSpPr>
                  <a:spLocks/>
                </p:cNvSpPr>
                <p:nvPr/>
              </p:nvSpPr>
              <p:spPr bwMode="auto">
                <a:xfrm>
                  <a:off x="4049" y="965"/>
                  <a:ext cx="72" cy="45"/>
                </a:xfrm>
                <a:custGeom>
                  <a:avLst/>
                  <a:gdLst>
                    <a:gd name="T0" fmla="*/ 0 w 72"/>
                    <a:gd name="T1" fmla="*/ 8 h 45"/>
                    <a:gd name="T2" fmla="*/ 0 w 72"/>
                    <a:gd name="T3" fmla="*/ 8 h 45"/>
                    <a:gd name="T4" fmla="*/ 4 w 72"/>
                    <a:gd name="T5" fmla="*/ 6 h 45"/>
                    <a:gd name="T6" fmla="*/ 8 w 72"/>
                    <a:gd name="T7" fmla="*/ 4 h 45"/>
                    <a:gd name="T8" fmla="*/ 11 w 72"/>
                    <a:gd name="T9" fmla="*/ 4 h 45"/>
                    <a:gd name="T10" fmla="*/ 15 w 72"/>
                    <a:gd name="T11" fmla="*/ 2 h 45"/>
                    <a:gd name="T12" fmla="*/ 19 w 72"/>
                    <a:gd name="T13" fmla="*/ 2 h 45"/>
                    <a:gd name="T14" fmla="*/ 22 w 72"/>
                    <a:gd name="T15" fmla="*/ 0 h 45"/>
                    <a:gd name="T16" fmla="*/ 26 w 72"/>
                    <a:gd name="T17" fmla="*/ 0 h 45"/>
                    <a:gd name="T18" fmla="*/ 32 w 72"/>
                    <a:gd name="T19" fmla="*/ 0 h 45"/>
                    <a:gd name="T20" fmla="*/ 39 w 72"/>
                    <a:gd name="T21" fmla="*/ 0 h 45"/>
                    <a:gd name="T22" fmla="*/ 46 w 72"/>
                    <a:gd name="T23" fmla="*/ 0 h 45"/>
                    <a:gd name="T24" fmla="*/ 46 w 72"/>
                    <a:gd name="T25" fmla="*/ 0 h 45"/>
                    <a:gd name="T26" fmla="*/ 56 w 72"/>
                    <a:gd name="T27" fmla="*/ 2 h 45"/>
                    <a:gd name="T28" fmla="*/ 65 w 72"/>
                    <a:gd name="T29" fmla="*/ 2 h 45"/>
                    <a:gd name="T30" fmla="*/ 67 w 72"/>
                    <a:gd name="T31" fmla="*/ 6 h 45"/>
                    <a:gd name="T32" fmla="*/ 68 w 72"/>
                    <a:gd name="T33" fmla="*/ 9 h 45"/>
                    <a:gd name="T34" fmla="*/ 70 w 72"/>
                    <a:gd name="T35" fmla="*/ 15 h 45"/>
                    <a:gd name="T36" fmla="*/ 70 w 72"/>
                    <a:gd name="T37" fmla="*/ 15 h 45"/>
                    <a:gd name="T38" fmla="*/ 72 w 72"/>
                    <a:gd name="T39" fmla="*/ 19 h 45"/>
                    <a:gd name="T40" fmla="*/ 68 w 72"/>
                    <a:gd name="T41" fmla="*/ 22 h 45"/>
                    <a:gd name="T42" fmla="*/ 65 w 72"/>
                    <a:gd name="T43" fmla="*/ 26 h 45"/>
                    <a:gd name="T44" fmla="*/ 61 w 72"/>
                    <a:gd name="T45" fmla="*/ 28 h 45"/>
                    <a:gd name="T46" fmla="*/ 57 w 72"/>
                    <a:gd name="T47" fmla="*/ 30 h 45"/>
                    <a:gd name="T48" fmla="*/ 54 w 72"/>
                    <a:gd name="T49" fmla="*/ 33 h 45"/>
                    <a:gd name="T50" fmla="*/ 50 w 72"/>
                    <a:gd name="T51" fmla="*/ 35 h 45"/>
                    <a:gd name="T52" fmla="*/ 46 w 72"/>
                    <a:gd name="T53" fmla="*/ 37 h 45"/>
                    <a:gd name="T54" fmla="*/ 41 w 72"/>
                    <a:gd name="T55" fmla="*/ 37 h 45"/>
                    <a:gd name="T56" fmla="*/ 33 w 72"/>
                    <a:gd name="T57" fmla="*/ 39 h 45"/>
                    <a:gd name="T58" fmla="*/ 24 w 72"/>
                    <a:gd name="T59" fmla="*/ 41 h 45"/>
                    <a:gd name="T60" fmla="*/ 15 w 72"/>
                    <a:gd name="T61" fmla="*/ 43 h 45"/>
                    <a:gd name="T62" fmla="*/ 6 w 72"/>
                    <a:gd name="T63" fmla="*/ 45 h 45"/>
                    <a:gd name="T64" fmla="*/ 4 w 72"/>
                    <a:gd name="T65" fmla="*/ 35 h 45"/>
                    <a:gd name="T66" fmla="*/ 2 w 72"/>
                    <a:gd name="T67" fmla="*/ 35 h 45"/>
                    <a:gd name="T68" fmla="*/ 4 w 72"/>
                    <a:gd name="T69" fmla="*/ 35 h 45"/>
                    <a:gd name="T70" fmla="*/ 2 w 72"/>
                    <a:gd name="T71" fmla="*/ 26 h 45"/>
                    <a:gd name="T72" fmla="*/ 0 w 72"/>
                    <a:gd name="T73" fmla="*/ 17 h 45"/>
                    <a:gd name="T74" fmla="*/ 0 w 72"/>
                    <a:gd name="T75" fmla="*/ 8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72" h="45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4" y="6"/>
                      </a:lnTo>
                      <a:lnTo>
                        <a:pt x="8" y="4"/>
                      </a:lnTo>
                      <a:lnTo>
                        <a:pt x="11" y="4"/>
                      </a:lnTo>
                      <a:lnTo>
                        <a:pt x="15" y="2"/>
                      </a:lnTo>
                      <a:lnTo>
                        <a:pt x="19" y="2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32" y="0"/>
                      </a:lnTo>
                      <a:lnTo>
                        <a:pt x="39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56" y="2"/>
                      </a:lnTo>
                      <a:lnTo>
                        <a:pt x="65" y="2"/>
                      </a:lnTo>
                      <a:lnTo>
                        <a:pt x="67" y="6"/>
                      </a:lnTo>
                      <a:lnTo>
                        <a:pt x="68" y="9"/>
                      </a:lnTo>
                      <a:lnTo>
                        <a:pt x="70" y="15"/>
                      </a:lnTo>
                      <a:lnTo>
                        <a:pt x="70" y="15"/>
                      </a:lnTo>
                      <a:lnTo>
                        <a:pt x="72" y="19"/>
                      </a:lnTo>
                      <a:lnTo>
                        <a:pt x="68" y="22"/>
                      </a:lnTo>
                      <a:lnTo>
                        <a:pt x="65" y="26"/>
                      </a:lnTo>
                      <a:lnTo>
                        <a:pt x="61" y="28"/>
                      </a:lnTo>
                      <a:lnTo>
                        <a:pt x="57" y="30"/>
                      </a:lnTo>
                      <a:lnTo>
                        <a:pt x="54" y="33"/>
                      </a:lnTo>
                      <a:lnTo>
                        <a:pt x="50" y="35"/>
                      </a:lnTo>
                      <a:lnTo>
                        <a:pt x="46" y="37"/>
                      </a:lnTo>
                      <a:lnTo>
                        <a:pt x="41" y="37"/>
                      </a:lnTo>
                      <a:lnTo>
                        <a:pt x="33" y="39"/>
                      </a:lnTo>
                      <a:lnTo>
                        <a:pt x="24" y="41"/>
                      </a:lnTo>
                      <a:lnTo>
                        <a:pt x="15" y="43"/>
                      </a:lnTo>
                      <a:lnTo>
                        <a:pt x="6" y="45"/>
                      </a:lnTo>
                      <a:lnTo>
                        <a:pt x="4" y="35"/>
                      </a:lnTo>
                      <a:lnTo>
                        <a:pt x="2" y="35"/>
                      </a:lnTo>
                      <a:lnTo>
                        <a:pt x="4" y="35"/>
                      </a:lnTo>
                      <a:lnTo>
                        <a:pt x="2" y="26"/>
                      </a:lnTo>
                      <a:lnTo>
                        <a:pt x="0" y="17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8" name="Freeform 3132"/>
                <p:cNvSpPr>
                  <a:spLocks/>
                </p:cNvSpPr>
                <p:nvPr/>
              </p:nvSpPr>
              <p:spPr bwMode="auto">
                <a:xfrm>
                  <a:off x="4047" y="963"/>
                  <a:ext cx="76" cy="48"/>
                </a:xfrm>
                <a:custGeom>
                  <a:avLst/>
                  <a:gdLst>
                    <a:gd name="T0" fmla="*/ 41 w 76"/>
                    <a:gd name="T1" fmla="*/ 0 h 48"/>
                    <a:gd name="T2" fmla="*/ 41 w 76"/>
                    <a:gd name="T3" fmla="*/ 0 h 48"/>
                    <a:gd name="T4" fmla="*/ 34 w 76"/>
                    <a:gd name="T5" fmla="*/ 0 h 48"/>
                    <a:gd name="T6" fmla="*/ 32 w 76"/>
                    <a:gd name="T7" fmla="*/ 0 h 48"/>
                    <a:gd name="T8" fmla="*/ 28 w 76"/>
                    <a:gd name="T9" fmla="*/ 0 h 48"/>
                    <a:gd name="T10" fmla="*/ 24 w 76"/>
                    <a:gd name="T11" fmla="*/ 2 h 48"/>
                    <a:gd name="T12" fmla="*/ 21 w 76"/>
                    <a:gd name="T13" fmla="*/ 2 h 48"/>
                    <a:gd name="T14" fmla="*/ 17 w 76"/>
                    <a:gd name="T15" fmla="*/ 2 h 48"/>
                    <a:gd name="T16" fmla="*/ 13 w 76"/>
                    <a:gd name="T17" fmla="*/ 4 h 48"/>
                    <a:gd name="T18" fmla="*/ 10 w 76"/>
                    <a:gd name="T19" fmla="*/ 6 h 48"/>
                    <a:gd name="T20" fmla="*/ 4 w 76"/>
                    <a:gd name="T21" fmla="*/ 6 h 48"/>
                    <a:gd name="T22" fmla="*/ 4 w 76"/>
                    <a:gd name="T23" fmla="*/ 6 h 48"/>
                    <a:gd name="T24" fmla="*/ 0 w 76"/>
                    <a:gd name="T25" fmla="*/ 8 h 48"/>
                    <a:gd name="T26" fmla="*/ 0 w 76"/>
                    <a:gd name="T27" fmla="*/ 10 h 48"/>
                    <a:gd name="T28" fmla="*/ 0 w 76"/>
                    <a:gd name="T29" fmla="*/ 19 h 48"/>
                    <a:gd name="T30" fmla="*/ 2 w 76"/>
                    <a:gd name="T31" fmla="*/ 28 h 48"/>
                    <a:gd name="T32" fmla="*/ 4 w 76"/>
                    <a:gd name="T33" fmla="*/ 37 h 48"/>
                    <a:gd name="T34" fmla="*/ 6 w 76"/>
                    <a:gd name="T35" fmla="*/ 48 h 48"/>
                    <a:gd name="T36" fmla="*/ 6 w 76"/>
                    <a:gd name="T37" fmla="*/ 48 h 48"/>
                    <a:gd name="T38" fmla="*/ 17 w 76"/>
                    <a:gd name="T39" fmla="*/ 47 h 48"/>
                    <a:gd name="T40" fmla="*/ 26 w 76"/>
                    <a:gd name="T41" fmla="*/ 45 h 48"/>
                    <a:gd name="T42" fmla="*/ 35 w 76"/>
                    <a:gd name="T43" fmla="*/ 43 h 48"/>
                    <a:gd name="T44" fmla="*/ 45 w 76"/>
                    <a:gd name="T45" fmla="*/ 41 h 48"/>
                    <a:gd name="T46" fmla="*/ 48 w 76"/>
                    <a:gd name="T47" fmla="*/ 39 h 48"/>
                    <a:gd name="T48" fmla="*/ 48 w 76"/>
                    <a:gd name="T49" fmla="*/ 39 h 48"/>
                    <a:gd name="T50" fmla="*/ 52 w 76"/>
                    <a:gd name="T51" fmla="*/ 37 h 48"/>
                    <a:gd name="T52" fmla="*/ 52 w 76"/>
                    <a:gd name="T53" fmla="*/ 37 h 48"/>
                    <a:gd name="T54" fmla="*/ 56 w 76"/>
                    <a:gd name="T55" fmla="*/ 35 h 48"/>
                    <a:gd name="T56" fmla="*/ 56 w 76"/>
                    <a:gd name="T57" fmla="*/ 35 h 48"/>
                    <a:gd name="T58" fmla="*/ 59 w 76"/>
                    <a:gd name="T59" fmla="*/ 34 h 48"/>
                    <a:gd name="T60" fmla="*/ 63 w 76"/>
                    <a:gd name="T61" fmla="*/ 32 h 48"/>
                    <a:gd name="T62" fmla="*/ 69 w 76"/>
                    <a:gd name="T63" fmla="*/ 28 h 48"/>
                    <a:gd name="T64" fmla="*/ 69 w 76"/>
                    <a:gd name="T65" fmla="*/ 28 h 48"/>
                    <a:gd name="T66" fmla="*/ 72 w 76"/>
                    <a:gd name="T67" fmla="*/ 24 h 48"/>
                    <a:gd name="T68" fmla="*/ 76 w 76"/>
                    <a:gd name="T69" fmla="*/ 23 h 48"/>
                    <a:gd name="T70" fmla="*/ 76 w 76"/>
                    <a:gd name="T71" fmla="*/ 21 h 48"/>
                    <a:gd name="T72" fmla="*/ 74 w 76"/>
                    <a:gd name="T73" fmla="*/ 17 h 48"/>
                    <a:gd name="T74" fmla="*/ 72 w 76"/>
                    <a:gd name="T75" fmla="*/ 11 h 48"/>
                    <a:gd name="T76" fmla="*/ 70 w 76"/>
                    <a:gd name="T77" fmla="*/ 8 h 48"/>
                    <a:gd name="T78" fmla="*/ 67 w 76"/>
                    <a:gd name="T79" fmla="*/ 2 h 48"/>
                    <a:gd name="T80" fmla="*/ 67 w 76"/>
                    <a:gd name="T81" fmla="*/ 2 h 48"/>
                    <a:gd name="T82" fmla="*/ 58 w 76"/>
                    <a:gd name="T83" fmla="*/ 2 h 48"/>
                    <a:gd name="T84" fmla="*/ 48 w 76"/>
                    <a:gd name="T85" fmla="*/ 2 h 48"/>
                    <a:gd name="T86" fmla="*/ 41 w 76"/>
                    <a:gd name="T8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6" h="48">
                      <a:moveTo>
                        <a:pt x="41" y="0"/>
                      </a:moveTo>
                      <a:lnTo>
                        <a:pt x="41" y="0"/>
                      </a:lnTo>
                      <a:lnTo>
                        <a:pt x="34" y="0"/>
                      </a:lnTo>
                      <a:lnTo>
                        <a:pt x="32" y="0"/>
                      </a:lnTo>
                      <a:lnTo>
                        <a:pt x="28" y="0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7" y="2"/>
                      </a:lnTo>
                      <a:lnTo>
                        <a:pt x="13" y="4"/>
                      </a:lnTo>
                      <a:lnTo>
                        <a:pt x="1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0" y="19"/>
                      </a:lnTo>
                      <a:lnTo>
                        <a:pt x="2" y="28"/>
                      </a:lnTo>
                      <a:lnTo>
                        <a:pt x="4" y="37"/>
                      </a:lnTo>
                      <a:lnTo>
                        <a:pt x="6" y="48"/>
                      </a:lnTo>
                      <a:lnTo>
                        <a:pt x="6" y="48"/>
                      </a:lnTo>
                      <a:lnTo>
                        <a:pt x="17" y="47"/>
                      </a:lnTo>
                      <a:lnTo>
                        <a:pt x="26" y="45"/>
                      </a:lnTo>
                      <a:lnTo>
                        <a:pt x="35" y="43"/>
                      </a:lnTo>
                      <a:lnTo>
                        <a:pt x="45" y="41"/>
                      </a:lnTo>
                      <a:lnTo>
                        <a:pt x="48" y="39"/>
                      </a:lnTo>
                      <a:lnTo>
                        <a:pt x="48" y="39"/>
                      </a:lnTo>
                      <a:lnTo>
                        <a:pt x="52" y="37"/>
                      </a:lnTo>
                      <a:lnTo>
                        <a:pt x="52" y="37"/>
                      </a:lnTo>
                      <a:lnTo>
                        <a:pt x="56" y="35"/>
                      </a:lnTo>
                      <a:lnTo>
                        <a:pt x="56" y="35"/>
                      </a:lnTo>
                      <a:lnTo>
                        <a:pt x="59" y="34"/>
                      </a:lnTo>
                      <a:lnTo>
                        <a:pt x="63" y="32"/>
                      </a:lnTo>
                      <a:lnTo>
                        <a:pt x="69" y="28"/>
                      </a:lnTo>
                      <a:lnTo>
                        <a:pt x="69" y="28"/>
                      </a:lnTo>
                      <a:lnTo>
                        <a:pt x="72" y="24"/>
                      </a:lnTo>
                      <a:lnTo>
                        <a:pt x="76" y="23"/>
                      </a:lnTo>
                      <a:lnTo>
                        <a:pt x="76" y="21"/>
                      </a:lnTo>
                      <a:lnTo>
                        <a:pt x="74" y="17"/>
                      </a:lnTo>
                      <a:lnTo>
                        <a:pt x="72" y="11"/>
                      </a:lnTo>
                      <a:lnTo>
                        <a:pt x="70" y="8"/>
                      </a:lnTo>
                      <a:lnTo>
                        <a:pt x="67" y="2"/>
                      </a:lnTo>
                      <a:lnTo>
                        <a:pt x="67" y="2"/>
                      </a:lnTo>
                      <a:lnTo>
                        <a:pt x="58" y="2"/>
                      </a:lnTo>
                      <a:lnTo>
                        <a:pt x="48" y="2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19" name="Rectangle 3133"/>
                <p:cNvSpPr>
                  <a:spLocks noChangeArrowheads="1"/>
                </p:cNvSpPr>
                <p:nvPr/>
              </p:nvSpPr>
              <p:spPr bwMode="auto">
                <a:xfrm>
                  <a:off x="4081" y="1146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20" name="Rectangle 3134"/>
                <p:cNvSpPr>
                  <a:spLocks noChangeArrowheads="1"/>
                </p:cNvSpPr>
                <p:nvPr/>
              </p:nvSpPr>
              <p:spPr bwMode="auto">
                <a:xfrm>
                  <a:off x="4081" y="1146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21" name="Freeform 3135"/>
                <p:cNvSpPr>
                  <a:spLocks noEditPoints="1"/>
                </p:cNvSpPr>
                <p:nvPr/>
              </p:nvSpPr>
              <p:spPr bwMode="auto">
                <a:xfrm>
                  <a:off x="4081" y="1141"/>
                  <a:ext cx="7" cy="7"/>
                </a:xfrm>
                <a:custGeom>
                  <a:avLst/>
                  <a:gdLst>
                    <a:gd name="T0" fmla="*/ 1 w 7"/>
                    <a:gd name="T1" fmla="*/ 1 h 7"/>
                    <a:gd name="T2" fmla="*/ 1 w 7"/>
                    <a:gd name="T3" fmla="*/ 1 h 7"/>
                    <a:gd name="T4" fmla="*/ 3 w 7"/>
                    <a:gd name="T5" fmla="*/ 1 h 7"/>
                    <a:gd name="T6" fmla="*/ 5 w 7"/>
                    <a:gd name="T7" fmla="*/ 1 h 7"/>
                    <a:gd name="T8" fmla="*/ 5 w 7"/>
                    <a:gd name="T9" fmla="*/ 3 h 7"/>
                    <a:gd name="T10" fmla="*/ 5 w 7"/>
                    <a:gd name="T11" fmla="*/ 5 h 7"/>
                    <a:gd name="T12" fmla="*/ 3 w 7"/>
                    <a:gd name="T13" fmla="*/ 5 h 7"/>
                    <a:gd name="T14" fmla="*/ 1 w 7"/>
                    <a:gd name="T15" fmla="*/ 5 h 7"/>
                    <a:gd name="T16" fmla="*/ 1 w 7"/>
                    <a:gd name="T17" fmla="*/ 3 h 7"/>
                    <a:gd name="T18" fmla="*/ 1 w 7"/>
                    <a:gd name="T19" fmla="*/ 1 h 7"/>
                    <a:gd name="T20" fmla="*/ 7 w 7"/>
                    <a:gd name="T21" fmla="*/ 0 h 7"/>
                    <a:gd name="T22" fmla="*/ 3 w 7"/>
                    <a:gd name="T23" fmla="*/ 0 h 7"/>
                    <a:gd name="T24" fmla="*/ 0 w 7"/>
                    <a:gd name="T25" fmla="*/ 0 h 7"/>
                    <a:gd name="T26" fmla="*/ 0 w 7"/>
                    <a:gd name="T27" fmla="*/ 0 h 7"/>
                    <a:gd name="T28" fmla="*/ 0 w 7"/>
                    <a:gd name="T29" fmla="*/ 3 h 7"/>
                    <a:gd name="T30" fmla="*/ 0 w 7"/>
                    <a:gd name="T31" fmla="*/ 5 h 7"/>
                    <a:gd name="T32" fmla="*/ 0 w 7"/>
                    <a:gd name="T33" fmla="*/ 5 h 7"/>
                    <a:gd name="T34" fmla="*/ 0 w 7"/>
                    <a:gd name="T35" fmla="*/ 7 h 7"/>
                    <a:gd name="T36" fmla="*/ 3 w 7"/>
                    <a:gd name="T37" fmla="*/ 7 h 7"/>
                    <a:gd name="T38" fmla="*/ 7 w 7"/>
                    <a:gd name="T39" fmla="*/ 7 h 7"/>
                    <a:gd name="T40" fmla="*/ 7 w 7"/>
                    <a:gd name="T41" fmla="*/ 7 h 7"/>
                    <a:gd name="T42" fmla="*/ 7 w 7"/>
                    <a:gd name="T43" fmla="*/ 3 h 7"/>
                    <a:gd name="T44" fmla="*/ 7 w 7"/>
                    <a:gd name="T45" fmla="*/ 0 h 7"/>
                    <a:gd name="T46" fmla="*/ 7 w 7"/>
                    <a:gd name="T4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7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1"/>
                      </a:lnTo>
                      <a:close/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22" name="Freeform 3136"/>
                <p:cNvSpPr>
                  <a:spLocks/>
                </p:cNvSpPr>
                <p:nvPr/>
              </p:nvSpPr>
              <p:spPr bwMode="auto">
                <a:xfrm>
                  <a:off x="4082" y="1142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" name="Group 3137"/>
              <p:cNvGrpSpPr>
                <a:grpSpLocks/>
              </p:cNvGrpSpPr>
              <p:nvPr/>
            </p:nvGrpSpPr>
            <p:grpSpPr bwMode="auto">
              <a:xfrm>
                <a:off x="5404566" y="908050"/>
                <a:ext cx="3471147" cy="3925712"/>
                <a:chOff x="3413" y="192"/>
                <a:chExt cx="2347" cy="2596"/>
              </a:xfrm>
              <a:grpFill/>
            </p:grpSpPr>
            <p:sp>
              <p:nvSpPr>
                <p:cNvPr id="923" name="Freeform 3138"/>
                <p:cNvSpPr>
                  <a:spLocks/>
                </p:cNvSpPr>
                <p:nvPr/>
              </p:nvSpPr>
              <p:spPr bwMode="auto">
                <a:xfrm>
                  <a:off x="4081" y="1141"/>
                  <a:ext cx="7" cy="7"/>
                </a:xfrm>
                <a:custGeom>
                  <a:avLst/>
                  <a:gdLst>
                    <a:gd name="T0" fmla="*/ 7 w 7"/>
                    <a:gd name="T1" fmla="*/ 0 h 7"/>
                    <a:gd name="T2" fmla="*/ 3 w 7"/>
                    <a:gd name="T3" fmla="*/ 0 h 7"/>
                    <a:gd name="T4" fmla="*/ 0 w 7"/>
                    <a:gd name="T5" fmla="*/ 0 h 7"/>
                    <a:gd name="T6" fmla="*/ 0 w 7"/>
                    <a:gd name="T7" fmla="*/ 0 h 7"/>
                    <a:gd name="T8" fmla="*/ 0 w 7"/>
                    <a:gd name="T9" fmla="*/ 3 h 7"/>
                    <a:gd name="T10" fmla="*/ 0 w 7"/>
                    <a:gd name="T11" fmla="*/ 5 h 7"/>
                    <a:gd name="T12" fmla="*/ 0 w 7"/>
                    <a:gd name="T13" fmla="*/ 5 h 7"/>
                    <a:gd name="T14" fmla="*/ 0 w 7"/>
                    <a:gd name="T15" fmla="*/ 7 h 7"/>
                    <a:gd name="T16" fmla="*/ 3 w 7"/>
                    <a:gd name="T17" fmla="*/ 7 h 7"/>
                    <a:gd name="T18" fmla="*/ 7 w 7"/>
                    <a:gd name="T19" fmla="*/ 7 h 7"/>
                    <a:gd name="T20" fmla="*/ 7 w 7"/>
                    <a:gd name="T21" fmla="*/ 7 h 7"/>
                    <a:gd name="T22" fmla="*/ 7 w 7"/>
                    <a:gd name="T23" fmla="*/ 3 h 7"/>
                    <a:gd name="T24" fmla="*/ 7 w 7"/>
                    <a:gd name="T25" fmla="*/ 0 h 7"/>
                    <a:gd name="T26" fmla="*/ 7 w 7"/>
                    <a:gd name="T2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7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4" name="Rectangle 3139"/>
                <p:cNvSpPr>
                  <a:spLocks noChangeArrowheads="1"/>
                </p:cNvSpPr>
                <p:nvPr/>
              </p:nvSpPr>
              <p:spPr bwMode="auto">
                <a:xfrm>
                  <a:off x="3702" y="1159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5" name="Rectangle 3140"/>
                <p:cNvSpPr>
                  <a:spLocks noChangeArrowheads="1"/>
                </p:cNvSpPr>
                <p:nvPr/>
              </p:nvSpPr>
              <p:spPr bwMode="auto">
                <a:xfrm>
                  <a:off x="3702" y="1159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6" name="Freeform 3141"/>
                <p:cNvSpPr>
                  <a:spLocks noEditPoints="1"/>
                </p:cNvSpPr>
                <p:nvPr/>
              </p:nvSpPr>
              <p:spPr bwMode="auto">
                <a:xfrm>
                  <a:off x="3702" y="1152"/>
                  <a:ext cx="8" cy="9"/>
                </a:xfrm>
                <a:custGeom>
                  <a:avLst/>
                  <a:gdLst>
                    <a:gd name="T0" fmla="*/ 2 w 8"/>
                    <a:gd name="T1" fmla="*/ 1 h 9"/>
                    <a:gd name="T2" fmla="*/ 2 w 8"/>
                    <a:gd name="T3" fmla="*/ 1 h 9"/>
                    <a:gd name="T4" fmla="*/ 4 w 8"/>
                    <a:gd name="T5" fmla="*/ 1 h 9"/>
                    <a:gd name="T6" fmla="*/ 6 w 8"/>
                    <a:gd name="T7" fmla="*/ 1 h 9"/>
                    <a:gd name="T8" fmla="*/ 6 w 8"/>
                    <a:gd name="T9" fmla="*/ 3 h 9"/>
                    <a:gd name="T10" fmla="*/ 6 w 8"/>
                    <a:gd name="T11" fmla="*/ 7 h 9"/>
                    <a:gd name="T12" fmla="*/ 4 w 8"/>
                    <a:gd name="T13" fmla="*/ 7 h 9"/>
                    <a:gd name="T14" fmla="*/ 2 w 8"/>
                    <a:gd name="T15" fmla="*/ 7 h 9"/>
                    <a:gd name="T16" fmla="*/ 2 w 8"/>
                    <a:gd name="T17" fmla="*/ 5 h 9"/>
                    <a:gd name="T18" fmla="*/ 2 w 8"/>
                    <a:gd name="T19" fmla="*/ 1 h 9"/>
                    <a:gd name="T20" fmla="*/ 8 w 8"/>
                    <a:gd name="T21" fmla="*/ 0 h 9"/>
                    <a:gd name="T22" fmla="*/ 4 w 8"/>
                    <a:gd name="T23" fmla="*/ 0 h 9"/>
                    <a:gd name="T24" fmla="*/ 0 w 8"/>
                    <a:gd name="T25" fmla="*/ 0 h 9"/>
                    <a:gd name="T26" fmla="*/ 0 w 8"/>
                    <a:gd name="T27" fmla="*/ 0 h 9"/>
                    <a:gd name="T28" fmla="*/ 0 w 8"/>
                    <a:gd name="T29" fmla="*/ 5 h 9"/>
                    <a:gd name="T30" fmla="*/ 0 w 8"/>
                    <a:gd name="T31" fmla="*/ 7 h 9"/>
                    <a:gd name="T32" fmla="*/ 0 w 8"/>
                    <a:gd name="T33" fmla="*/ 7 h 9"/>
                    <a:gd name="T34" fmla="*/ 0 w 8"/>
                    <a:gd name="T35" fmla="*/ 9 h 9"/>
                    <a:gd name="T36" fmla="*/ 4 w 8"/>
                    <a:gd name="T37" fmla="*/ 9 h 9"/>
                    <a:gd name="T38" fmla="*/ 6 w 8"/>
                    <a:gd name="T39" fmla="*/ 9 h 9"/>
                    <a:gd name="T40" fmla="*/ 8 w 8"/>
                    <a:gd name="T41" fmla="*/ 9 h 9"/>
                    <a:gd name="T42" fmla="*/ 8 w 8"/>
                    <a:gd name="T43" fmla="*/ 3 h 9"/>
                    <a:gd name="T44" fmla="*/ 8 w 8"/>
                    <a:gd name="T45" fmla="*/ 1 h 9"/>
                    <a:gd name="T46" fmla="*/ 8 w 8"/>
                    <a:gd name="T4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" h="9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2" y="5"/>
                      </a:lnTo>
                      <a:lnTo>
                        <a:pt x="2" y="1"/>
                      </a:lnTo>
                      <a:close/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4" y="9"/>
                      </a:lnTo>
                      <a:lnTo>
                        <a:pt x="6" y="9"/>
                      </a:lnTo>
                      <a:lnTo>
                        <a:pt x="8" y="9"/>
                      </a:lnTo>
                      <a:lnTo>
                        <a:pt x="8" y="3"/>
                      </a:lnTo>
                      <a:lnTo>
                        <a:pt x="8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7" name="Freeform 3142"/>
                <p:cNvSpPr>
                  <a:spLocks/>
                </p:cNvSpPr>
                <p:nvPr/>
              </p:nvSpPr>
              <p:spPr bwMode="auto">
                <a:xfrm>
                  <a:off x="3704" y="1153"/>
                  <a:ext cx="4" cy="6"/>
                </a:xfrm>
                <a:custGeom>
                  <a:avLst/>
                  <a:gdLst>
                    <a:gd name="T0" fmla="*/ 0 w 4"/>
                    <a:gd name="T1" fmla="*/ 0 h 6"/>
                    <a:gd name="T2" fmla="*/ 0 w 4"/>
                    <a:gd name="T3" fmla="*/ 0 h 6"/>
                    <a:gd name="T4" fmla="*/ 2 w 4"/>
                    <a:gd name="T5" fmla="*/ 0 h 6"/>
                    <a:gd name="T6" fmla="*/ 4 w 4"/>
                    <a:gd name="T7" fmla="*/ 0 h 6"/>
                    <a:gd name="T8" fmla="*/ 4 w 4"/>
                    <a:gd name="T9" fmla="*/ 2 h 6"/>
                    <a:gd name="T10" fmla="*/ 4 w 4"/>
                    <a:gd name="T11" fmla="*/ 6 h 6"/>
                    <a:gd name="T12" fmla="*/ 2 w 4"/>
                    <a:gd name="T13" fmla="*/ 6 h 6"/>
                    <a:gd name="T14" fmla="*/ 0 w 4"/>
                    <a:gd name="T15" fmla="*/ 6 h 6"/>
                    <a:gd name="T16" fmla="*/ 0 w 4"/>
                    <a:gd name="T17" fmla="*/ 4 h 6"/>
                    <a:gd name="T18" fmla="*/ 0 w 4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8" name="Freeform 3143"/>
                <p:cNvSpPr>
                  <a:spLocks/>
                </p:cNvSpPr>
                <p:nvPr/>
              </p:nvSpPr>
              <p:spPr bwMode="auto">
                <a:xfrm>
                  <a:off x="3702" y="1152"/>
                  <a:ext cx="8" cy="9"/>
                </a:xfrm>
                <a:custGeom>
                  <a:avLst/>
                  <a:gdLst>
                    <a:gd name="T0" fmla="*/ 8 w 8"/>
                    <a:gd name="T1" fmla="*/ 0 h 9"/>
                    <a:gd name="T2" fmla="*/ 4 w 8"/>
                    <a:gd name="T3" fmla="*/ 0 h 9"/>
                    <a:gd name="T4" fmla="*/ 0 w 8"/>
                    <a:gd name="T5" fmla="*/ 0 h 9"/>
                    <a:gd name="T6" fmla="*/ 0 w 8"/>
                    <a:gd name="T7" fmla="*/ 0 h 9"/>
                    <a:gd name="T8" fmla="*/ 0 w 8"/>
                    <a:gd name="T9" fmla="*/ 5 h 9"/>
                    <a:gd name="T10" fmla="*/ 0 w 8"/>
                    <a:gd name="T11" fmla="*/ 7 h 9"/>
                    <a:gd name="T12" fmla="*/ 0 w 8"/>
                    <a:gd name="T13" fmla="*/ 7 h 9"/>
                    <a:gd name="T14" fmla="*/ 0 w 8"/>
                    <a:gd name="T15" fmla="*/ 9 h 9"/>
                    <a:gd name="T16" fmla="*/ 4 w 8"/>
                    <a:gd name="T17" fmla="*/ 9 h 9"/>
                    <a:gd name="T18" fmla="*/ 6 w 8"/>
                    <a:gd name="T19" fmla="*/ 9 h 9"/>
                    <a:gd name="T20" fmla="*/ 8 w 8"/>
                    <a:gd name="T21" fmla="*/ 9 h 9"/>
                    <a:gd name="T22" fmla="*/ 8 w 8"/>
                    <a:gd name="T23" fmla="*/ 3 h 9"/>
                    <a:gd name="T24" fmla="*/ 8 w 8"/>
                    <a:gd name="T25" fmla="*/ 1 h 9"/>
                    <a:gd name="T26" fmla="*/ 8 w 8"/>
                    <a:gd name="T2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9"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4" y="9"/>
                      </a:lnTo>
                      <a:lnTo>
                        <a:pt x="6" y="9"/>
                      </a:lnTo>
                      <a:lnTo>
                        <a:pt x="8" y="9"/>
                      </a:lnTo>
                      <a:lnTo>
                        <a:pt x="8" y="3"/>
                      </a:lnTo>
                      <a:lnTo>
                        <a:pt x="8" y="1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29" name="Freeform 3144"/>
                <p:cNvSpPr>
                  <a:spLocks/>
                </p:cNvSpPr>
                <p:nvPr/>
              </p:nvSpPr>
              <p:spPr bwMode="auto">
                <a:xfrm>
                  <a:off x="3424" y="1214"/>
                  <a:ext cx="1" cy="2"/>
                </a:xfrm>
                <a:custGeom>
                  <a:avLst/>
                  <a:gdLst>
                    <a:gd name="T0" fmla="*/ 0 h 2"/>
                    <a:gd name="T1" fmla="*/ 2 h 2"/>
                    <a:gd name="T2" fmla="*/ 2 h 2"/>
                    <a:gd name="T3" fmla="*/ 2 h 2"/>
                    <a:gd name="T4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0" name="Freeform 3145"/>
                <p:cNvSpPr>
                  <a:spLocks/>
                </p:cNvSpPr>
                <p:nvPr/>
              </p:nvSpPr>
              <p:spPr bwMode="auto">
                <a:xfrm>
                  <a:off x="3424" y="1214"/>
                  <a:ext cx="1" cy="2"/>
                </a:xfrm>
                <a:custGeom>
                  <a:avLst/>
                  <a:gdLst>
                    <a:gd name="T0" fmla="*/ 0 h 2"/>
                    <a:gd name="T1" fmla="*/ 2 h 2"/>
                    <a:gd name="T2" fmla="*/ 2 h 2"/>
                    <a:gd name="T3" fmla="*/ 2 h 2"/>
                    <a:gd name="T4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1" name="Freeform 3146"/>
                <p:cNvSpPr>
                  <a:spLocks noEditPoints="1"/>
                </p:cNvSpPr>
                <p:nvPr/>
              </p:nvSpPr>
              <p:spPr bwMode="auto">
                <a:xfrm>
                  <a:off x="3413" y="1181"/>
                  <a:ext cx="46" cy="35"/>
                </a:xfrm>
                <a:custGeom>
                  <a:avLst/>
                  <a:gdLst>
                    <a:gd name="T0" fmla="*/ 7 w 46"/>
                    <a:gd name="T1" fmla="*/ 6 h 35"/>
                    <a:gd name="T2" fmla="*/ 7 w 46"/>
                    <a:gd name="T3" fmla="*/ 6 h 35"/>
                    <a:gd name="T4" fmla="*/ 16 w 46"/>
                    <a:gd name="T5" fmla="*/ 6 h 35"/>
                    <a:gd name="T6" fmla="*/ 25 w 46"/>
                    <a:gd name="T7" fmla="*/ 4 h 35"/>
                    <a:gd name="T8" fmla="*/ 35 w 46"/>
                    <a:gd name="T9" fmla="*/ 2 h 35"/>
                    <a:gd name="T10" fmla="*/ 42 w 46"/>
                    <a:gd name="T11" fmla="*/ 2 h 35"/>
                    <a:gd name="T12" fmla="*/ 40 w 46"/>
                    <a:gd name="T13" fmla="*/ 9 h 35"/>
                    <a:gd name="T14" fmla="*/ 36 w 46"/>
                    <a:gd name="T15" fmla="*/ 17 h 35"/>
                    <a:gd name="T16" fmla="*/ 35 w 46"/>
                    <a:gd name="T17" fmla="*/ 26 h 35"/>
                    <a:gd name="T18" fmla="*/ 33 w 46"/>
                    <a:gd name="T19" fmla="*/ 33 h 35"/>
                    <a:gd name="T20" fmla="*/ 27 w 46"/>
                    <a:gd name="T21" fmla="*/ 33 h 35"/>
                    <a:gd name="T22" fmla="*/ 22 w 46"/>
                    <a:gd name="T23" fmla="*/ 33 h 35"/>
                    <a:gd name="T24" fmla="*/ 16 w 46"/>
                    <a:gd name="T25" fmla="*/ 33 h 35"/>
                    <a:gd name="T26" fmla="*/ 11 w 46"/>
                    <a:gd name="T27" fmla="*/ 33 h 35"/>
                    <a:gd name="T28" fmla="*/ 9 w 46"/>
                    <a:gd name="T29" fmla="*/ 30 h 35"/>
                    <a:gd name="T30" fmla="*/ 5 w 46"/>
                    <a:gd name="T31" fmla="*/ 28 h 35"/>
                    <a:gd name="T32" fmla="*/ 3 w 46"/>
                    <a:gd name="T33" fmla="*/ 24 h 35"/>
                    <a:gd name="T34" fmla="*/ 1 w 46"/>
                    <a:gd name="T35" fmla="*/ 22 h 35"/>
                    <a:gd name="T36" fmla="*/ 5 w 46"/>
                    <a:gd name="T37" fmla="*/ 20 h 35"/>
                    <a:gd name="T38" fmla="*/ 11 w 46"/>
                    <a:gd name="T39" fmla="*/ 19 h 35"/>
                    <a:gd name="T40" fmla="*/ 12 w 46"/>
                    <a:gd name="T41" fmla="*/ 19 h 35"/>
                    <a:gd name="T42" fmla="*/ 11 w 46"/>
                    <a:gd name="T43" fmla="*/ 15 h 35"/>
                    <a:gd name="T44" fmla="*/ 9 w 46"/>
                    <a:gd name="T45" fmla="*/ 11 h 35"/>
                    <a:gd name="T46" fmla="*/ 9 w 46"/>
                    <a:gd name="T47" fmla="*/ 8 h 35"/>
                    <a:gd name="T48" fmla="*/ 7 w 46"/>
                    <a:gd name="T49" fmla="*/ 6 h 35"/>
                    <a:gd name="T50" fmla="*/ 46 w 46"/>
                    <a:gd name="T51" fmla="*/ 0 h 35"/>
                    <a:gd name="T52" fmla="*/ 35 w 46"/>
                    <a:gd name="T53" fmla="*/ 2 h 35"/>
                    <a:gd name="T54" fmla="*/ 25 w 46"/>
                    <a:gd name="T55" fmla="*/ 2 h 35"/>
                    <a:gd name="T56" fmla="*/ 16 w 46"/>
                    <a:gd name="T57" fmla="*/ 4 h 35"/>
                    <a:gd name="T58" fmla="*/ 5 w 46"/>
                    <a:gd name="T59" fmla="*/ 4 h 35"/>
                    <a:gd name="T60" fmla="*/ 7 w 46"/>
                    <a:gd name="T61" fmla="*/ 9 h 35"/>
                    <a:gd name="T62" fmla="*/ 7 w 46"/>
                    <a:gd name="T63" fmla="*/ 11 h 35"/>
                    <a:gd name="T64" fmla="*/ 9 w 46"/>
                    <a:gd name="T65" fmla="*/ 15 h 35"/>
                    <a:gd name="T66" fmla="*/ 11 w 46"/>
                    <a:gd name="T67" fmla="*/ 17 h 35"/>
                    <a:gd name="T68" fmla="*/ 5 w 46"/>
                    <a:gd name="T69" fmla="*/ 19 h 35"/>
                    <a:gd name="T70" fmla="*/ 5 w 46"/>
                    <a:gd name="T71" fmla="*/ 19 h 35"/>
                    <a:gd name="T72" fmla="*/ 0 w 46"/>
                    <a:gd name="T73" fmla="*/ 20 h 35"/>
                    <a:gd name="T74" fmla="*/ 0 w 46"/>
                    <a:gd name="T75" fmla="*/ 20 h 35"/>
                    <a:gd name="T76" fmla="*/ 3 w 46"/>
                    <a:gd name="T77" fmla="*/ 24 h 35"/>
                    <a:gd name="T78" fmla="*/ 5 w 46"/>
                    <a:gd name="T79" fmla="*/ 28 h 35"/>
                    <a:gd name="T80" fmla="*/ 7 w 46"/>
                    <a:gd name="T81" fmla="*/ 32 h 35"/>
                    <a:gd name="T82" fmla="*/ 7 w 46"/>
                    <a:gd name="T83" fmla="*/ 32 h 35"/>
                    <a:gd name="T84" fmla="*/ 11 w 46"/>
                    <a:gd name="T85" fmla="*/ 35 h 35"/>
                    <a:gd name="T86" fmla="*/ 11 w 46"/>
                    <a:gd name="T87" fmla="*/ 33 h 35"/>
                    <a:gd name="T88" fmla="*/ 11 w 46"/>
                    <a:gd name="T89" fmla="*/ 35 h 35"/>
                    <a:gd name="T90" fmla="*/ 16 w 46"/>
                    <a:gd name="T91" fmla="*/ 35 h 35"/>
                    <a:gd name="T92" fmla="*/ 22 w 46"/>
                    <a:gd name="T93" fmla="*/ 35 h 35"/>
                    <a:gd name="T94" fmla="*/ 27 w 46"/>
                    <a:gd name="T95" fmla="*/ 35 h 35"/>
                    <a:gd name="T96" fmla="*/ 33 w 46"/>
                    <a:gd name="T97" fmla="*/ 35 h 35"/>
                    <a:gd name="T98" fmla="*/ 33 w 46"/>
                    <a:gd name="T99" fmla="*/ 35 h 35"/>
                    <a:gd name="T100" fmla="*/ 36 w 46"/>
                    <a:gd name="T101" fmla="*/ 26 h 35"/>
                    <a:gd name="T102" fmla="*/ 38 w 46"/>
                    <a:gd name="T103" fmla="*/ 17 h 35"/>
                    <a:gd name="T104" fmla="*/ 42 w 46"/>
                    <a:gd name="T105" fmla="*/ 9 h 35"/>
                    <a:gd name="T106" fmla="*/ 46 w 46"/>
                    <a:gd name="T10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6" h="35">
                      <a:moveTo>
                        <a:pt x="7" y="6"/>
                      </a:moveTo>
                      <a:lnTo>
                        <a:pt x="7" y="6"/>
                      </a:lnTo>
                      <a:lnTo>
                        <a:pt x="16" y="6"/>
                      </a:lnTo>
                      <a:lnTo>
                        <a:pt x="25" y="4"/>
                      </a:lnTo>
                      <a:lnTo>
                        <a:pt x="35" y="2"/>
                      </a:lnTo>
                      <a:lnTo>
                        <a:pt x="42" y="2"/>
                      </a:lnTo>
                      <a:lnTo>
                        <a:pt x="40" y="9"/>
                      </a:lnTo>
                      <a:lnTo>
                        <a:pt x="36" y="17"/>
                      </a:lnTo>
                      <a:lnTo>
                        <a:pt x="35" y="26"/>
                      </a:lnTo>
                      <a:lnTo>
                        <a:pt x="33" y="33"/>
                      </a:lnTo>
                      <a:lnTo>
                        <a:pt x="27" y="33"/>
                      </a:lnTo>
                      <a:lnTo>
                        <a:pt x="22" y="33"/>
                      </a:lnTo>
                      <a:lnTo>
                        <a:pt x="16" y="33"/>
                      </a:lnTo>
                      <a:lnTo>
                        <a:pt x="11" y="33"/>
                      </a:lnTo>
                      <a:lnTo>
                        <a:pt x="9" y="30"/>
                      </a:lnTo>
                      <a:lnTo>
                        <a:pt x="5" y="28"/>
                      </a:lnTo>
                      <a:lnTo>
                        <a:pt x="3" y="24"/>
                      </a:lnTo>
                      <a:lnTo>
                        <a:pt x="1" y="22"/>
                      </a:lnTo>
                      <a:lnTo>
                        <a:pt x="5" y="20"/>
                      </a:lnTo>
                      <a:lnTo>
                        <a:pt x="11" y="19"/>
                      </a:lnTo>
                      <a:lnTo>
                        <a:pt x="12" y="19"/>
                      </a:lnTo>
                      <a:lnTo>
                        <a:pt x="11" y="15"/>
                      </a:lnTo>
                      <a:lnTo>
                        <a:pt x="9" y="11"/>
                      </a:lnTo>
                      <a:lnTo>
                        <a:pt x="9" y="8"/>
                      </a:lnTo>
                      <a:lnTo>
                        <a:pt x="7" y="6"/>
                      </a:lnTo>
                      <a:close/>
                      <a:moveTo>
                        <a:pt x="46" y="0"/>
                      </a:moveTo>
                      <a:lnTo>
                        <a:pt x="35" y="2"/>
                      </a:lnTo>
                      <a:lnTo>
                        <a:pt x="25" y="2"/>
                      </a:lnTo>
                      <a:lnTo>
                        <a:pt x="16" y="4"/>
                      </a:lnTo>
                      <a:lnTo>
                        <a:pt x="5" y="4"/>
                      </a:lnTo>
                      <a:lnTo>
                        <a:pt x="7" y="9"/>
                      </a:lnTo>
                      <a:lnTo>
                        <a:pt x="7" y="11"/>
                      </a:lnTo>
                      <a:lnTo>
                        <a:pt x="9" y="15"/>
                      </a:lnTo>
                      <a:lnTo>
                        <a:pt x="11" y="17"/>
                      </a:lnTo>
                      <a:lnTo>
                        <a:pt x="5" y="19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3" y="24"/>
                      </a:lnTo>
                      <a:lnTo>
                        <a:pt x="5" y="28"/>
                      </a:ln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11" y="35"/>
                      </a:lnTo>
                      <a:lnTo>
                        <a:pt x="11" y="33"/>
                      </a:lnTo>
                      <a:lnTo>
                        <a:pt x="11" y="35"/>
                      </a:lnTo>
                      <a:lnTo>
                        <a:pt x="16" y="35"/>
                      </a:lnTo>
                      <a:lnTo>
                        <a:pt x="22" y="35"/>
                      </a:lnTo>
                      <a:lnTo>
                        <a:pt x="27" y="35"/>
                      </a:lnTo>
                      <a:lnTo>
                        <a:pt x="33" y="35"/>
                      </a:lnTo>
                      <a:lnTo>
                        <a:pt x="33" y="35"/>
                      </a:lnTo>
                      <a:lnTo>
                        <a:pt x="36" y="26"/>
                      </a:lnTo>
                      <a:lnTo>
                        <a:pt x="38" y="17"/>
                      </a:lnTo>
                      <a:lnTo>
                        <a:pt x="42" y="9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2" name="Freeform 3147"/>
                <p:cNvSpPr>
                  <a:spLocks/>
                </p:cNvSpPr>
                <p:nvPr/>
              </p:nvSpPr>
              <p:spPr bwMode="auto">
                <a:xfrm>
                  <a:off x="3414" y="1183"/>
                  <a:ext cx="41" cy="31"/>
                </a:xfrm>
                <a:custGeom>
                  <a:avLst/>
                  <a:gdLst>
                    <a:gd name="T0" fmla="*/ 6 w 41"/>
                    <a:gd name="T1" fmla="*/ 4 h 31"/>
                    <a:gd name="T2" fmla="*/ 6 w 41"/>
                    <a:gd name="T3" fmla="*/ 4 h 31"/>
                    <a:gd name="T4" fmla="*/ 15 w 41"/>
                    <a:gd name="T5" fmla="*/ 4 h 31"/>
                    <a:gd name="T6" fmla="*/ 24 w 41"/>
                    <a:gd name="T7" fmla="*/ 2 h 31"/>
                    <a:gd name="T8" fmla="*/ 34 w 41"/>
                    <a:gd name="T9" fmla="*/ 0 h 31"/>
                    <a:gd name="T10" fmla="*/ 41 w 41"/>
                    <a:gd name="T11" fmla="*/ 0 h 31"/>
                    <a:gd name="T12" fmla="*/ 39 w 41"/>
                    <a:gd name="T13" fmla="*/ 7 h 31"/>
                    <a:gd name="T14" fmla="*/ 35 w 41"/>
                    <a:gd name="T15" fmla="*/ 15 h 31"/>
                    <a:gd name="T16" fmla="*/ 34 w 41"/>
                    <a:gd name="T17" fmla="*/ 24 h 31"/>
                    <a:gd name="T18" fmla="*/ 32 w 41"/>
                    <a:gd name="T19" fmla="*/ 31 h 31"/>
                    <a:gd name="T20" fmla="*/ 26 w 41"/>
                    <a:gd name="T21" fmla="*/ 31 h 31"/>
                    <a:gd name="T22" fmla="*/ 21 w 41"/>
                    <a:gd name="T23" fmla="*/ 31 h 31"/>
                    <a:gd name="T24" fmla="*/ 15 w 41"/>
                    <a:gd name="T25" fmla="*/ 31 h 31"/>
                    <a:gd name="T26" fmla="*/ 10 w 41"/>
                    <a:gd name="T27" fmla="*/ 31 h 31"/>
                    <a:gd name="T28" fmla="*/ 8 w 41"/>
                    <a:gd name="T29" fmla="*/ 28 h 31"/>
                    <a:gd name="T30" fmla="*/ 4 w 41"/>
                    <a:gd name="T31" fmla="*/ 26 h 31"/>
                    <a:gd name="T32" fmla="*/ 2 w 41"/>
                    <a:gd name="T33" fmla="*/ 22 h 31"/>
                    <a:gd name="T34" fmla="*/ 0 w 41"/>
                    <a:gd name="T35" fmla="*/ 20 h 31"/>
                    <a:gd name="T36" fmla="*/ 4 w 41"/>
                    <a:gd name="T37" fmla="*/ 18 h 31"/>
                    <a:gd name="T38" fmla="*/ 10 w 41"/>
                    <a:gd name="T39" fmla="*/ 17 h 31"/>
                    <a:gd name="T40" fmla="*/ 11 w 41"/>
                    <a:gd name="T41" fmla="*/ 17 h 31"/>
                    <a:gd name="T42" fmla="*/ 10 w 41"/>
                    <a:gd name="T43" fmla="*/ 13 h 31"/>
                    <a:gd name="T44" fmla="*/ 8 w 41"/>
                    <a:gd name="T45" fmla="*/ 9 h 31"/>
                    <a:gd name="T46" fmla="*/ 8 w 41"/>
                    <a:gd name="T47" fmla="*/ 6 h 31"/>
                    <a:gd name="T48" fmla="*/ 6 w 41"/>
                    <a:gd name="T49" fmla="*/ 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1" h="31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15" y="4"/>
                      </a:lnTo>
                      <a:lnTo>
                        <a:pt x="24" y="2"/>
                      </a:lnTo>
                      <a:lnTo>
                        <a:pt x="34" y="0"/>
                      </a:lnTo>
                      <a:lnTo>
                        <a:pt x="41" y="0"/>
                      </a:lnTo>
                      <a:lnTo>
                        <a:pt x="39" y="7"/>
                      </a:lnTo>
                      <a:lnTo>
                        <a:pt x="35" y="15"/>
                      </a:lnTo>
                      <a:lnTo>
                        <a:pt x="34" y="24"/>
                      </a:lnTo>
                      <a:lnTo>
                        <a:pt x="32" y="31"/>
                      </a:lnTo>
                      <a:lnTo>
                        <a:pt x="26" y="31"/>
                      </a:lnTo>
                      <a:lnTo>
                        <a:pt x="21" y="31"/>
                      </a:lnTo>
                      <a:lnTo>
                        <a:pt x="15" y="31"/>
                      </a:lnTo>
                      <a:lnTo>
                        <a:pt x="10" y="31"/>
                      </a:lnTo>
                      <a:lnTo>
                        <a:pt x="8" y="28"/>
                      </a:lnTo>
                      <a:lnTo>
                        <a:pt x="4" y="26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4" y="18"/>
                      </a:lnTo>
                      <a:lnTo>
                        <a:pt x="10" y="17"/>
                      </a:lnTo>
                      <a:lnTo>
                        <a:pt x="11" y="17"/>
                      </a:lnTo>
                      <a:lnTo>
                        <a:pt x="10" y="13"/>
                      </a:lnTo>
                      <a:lnTo>
                        <a:pt x="8" y="9"/>
                      </a:lnTo>
                      <a:lnTo>
                        <a:pt x="8" y="6"/>
                      </a:lnTo>
                      <a:lnTo>
                        <a:pt x="6" y="4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3" name="Freeform 3148"/>
                <p:cNvSpPr>
                  <a:spLocks/>
                </p:cNvSpPr>
                <p:nvPr/>
              </p:nvSpPr>
              <p:spPr bwMode="auto">
                <a:xfrm>
                  <a:off x="3413" y="1181"/>
                  <a:ext cx="46" cy="35"/>
                </a:xfrm>
                <a:custGeom>
                  <a:avLst/>
                  <a:gdLst>
                    <a:gd name="T0" fmla="*/ 46 w 46"/>
                    <a:gd name="T1" fmla="*/ 0 h 35"/>
                    <a:gd name="T2" fmla="*/ 35 w 46"/>
                    <a:gd name="T3" fmla="*/ 2 h 35"/>
                    <a:gd name="T4" fmla="*/ 25 w 46"/>
                    <a:gd name="T5" fmla="*/ 2 h 35"/>
                    <a:gd name="T6" fmla="*/ 16 w 46"/>
                    <a:gd name="T7" fmla="*/ 4 h 35"/>
                    <a:gd name="T8" fmla="*/ 5 w 46"/>
                    <a:gd name="T9" fmla="*/ 4 h 35"/>
                    <a:gd name="T10" fmla="*/ 7 w 46"/>
                    <a:gd name="T11" fmla="*/ 9 h 35"/>
                    <a:gd name="T12" fmla="*/ 7 w 46"/>
                    <a:gd name="T13" fmla="*/ 11 h 35"/>
                    <a:gd name="T14" fmla="*/ 9 w 46"/>
                    <a:gd name="T15" fmla="*/ 15 h 35"/>
                    <a:gd name="T16" fmla="*/ 11 w 46"/>
                    <a:gd name="T17" fmla="*/ 17 h 35"/>
                    <a:gd name="T18" fmla="*/ 5 w 46"/>
                    <a:gd name="T19" fmla="*/ 19 h 35"/>
                    <a:gd name="T20" fmla="*/ 5 w 46"/>
                    <a:gd name="T21" fmla="*/ 19 h 35"/>
                    <a:gd name="T22" fmla="*/ 0 w 46"/>
                    <a:gd name="T23" fmla="*/ 20 h 35"/>
                    <a:gd name="T24" fmla="*/ 0 w 46"/>
                    <a:gd name="T25" fmla="*/ 20 h 35"/>
                    <a:gd name="T26" fmla="*/ 3 w 46"/>
                    <a:gd name="T27" fmla="*/ 24 h 35"/>
                    <a:gd name="T28" fmla="*/ 5 w 46"/>
                    <a:gd name="T29" fmla="*/ 28 h 35"/>
                    <a:gd name="T30" fmla="*/ 7 w 46"/>
                    <a:gd name="T31" fmla="*/ 32 h 35"/>
                    <a:gd name="T32" fmla="*/ 7 w 46"/>
                    <a:gd name="T33" fmla="*/ 32 h 35"/>
                    <a:gd name="T34" fmla="*/ 11 w 46"/>
                    <a:gd name="T35" fmla="*/ 35 h 35"/>
                    <a:gd name="T36" fmla="*/ 11 w 46"/>
                    <a:gd name="T37" fmla="*/ 33 h 35"/>
                    <a:gd name="T38" fmla="*/ 11 w 46"/>
                    <a:gd name="T39" fmla="*/ 35 h 35"/>
                    <a:gd name="T40" fmla="*/ 16 w 46"/>
                    <a:gd name="T41" fmla="*/ 35 h 35"/>
                    <a:gd name="T42" fmla="*/ 22 w 46"/>
                    <a:gd name="T43" fmla="*/ 35 h 35"/>
                    <a:gd name="T44" fmla="*/ 27 w 46"/>
                    <a:gd name="T45" fmla="*/ 35 h 35"/>
                    <a:gd name="T46" fmla="*/ 33 w 46"/>
                    <a:gd name="T47" fmla="*/ 35 h 35"/>
                    <a:gd name="T48" fmla="*/ 33 w 46"/>
                    <a:gd name="T49" fmla="*/ 35 h 35"/>
                    <a:gd name="T50" fmla="*/ 36 w 46"/>
                    <a:gd name="T51" fmla="*/ 26 h 35"/>
                    <a:gd name="T52" fmla="*/ 38 w 46"/>
                    <a:gd name="T53" fmla="*/ 17 h 35"/>
                    <a:gd name="T54" fmla="*/ 42 w 46"/>
                    <a:gd name="T55" fmla="*/ 9 h 35"/>
                    <a:gd name="T56" fmla="*/ 46 w 46"/>
                    <a:gd name="T5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6" h="35">
                      <a:moveTo>
                        <a:pt x="46" y="0"/>
                      </a:moveTo>
                      <a:lnTo>
                        <a:pt x="35" y="2"/>
                      </a:lnTo>
                      <a:lnTo>
                        <a:pt x="25" y="2"/>
                      </a:lnTo>
                      <a:lnTo>
                        <a:pt x="16" y="4"/>
                      </a:lnTo>
                      <a:lnTo>
                        <a:pt x="5" y="4"/>
                      </a:lnTo>
                      <a:lnTo>
                        <a:pt x="7" y="9"/>
                      </a:lnTo>
                      <a:lnTo>
                        <a:pt x="7" y="11"/>
                      </a:lnTo>
                      <a:lnTo>
                        <a:pt x="9" y="15"/>
                      </a:lnTo>
                      <a:lnTo>
                        <a:pt x="11" y="17"/>
                      </a:lnTo>
                      <a:lnTo>
                        <a:pt x="5" y="19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3" y="24"/>
                      </a:lnTo>
                      <a:lnTo>
                        <a:pt x="5" y="28"/>
                      </a:ln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11" y="35"/>
                      </a:lnTo>
                      <a:lnTo>
                        <a:pt x="11" y="33"/>
                      </a:lnTo>
                      <a:lnTo>
                        <a:pt x="11" y="35"/>
                      </a:lnTo>
                      <a:lnTo>
                        <a:pt x="16" y="35"/>
                      </a:lnTo>
                      <a:lnTo>
                        <a:pt x="22" y="35"/>
                      </a:lnTo>
                      <a:lnTo>
                        <a:pt x="27" y="35"/>
                      </a:lnTo>
                      <a:lnTo>
                        <a:pt x="33" y="35"/>
                      </a:lnTo>
                      <a:lnTo>
                        <a:pt x="33" y="35"/>
                      </a:lnTo>
                      <a:lnTo>
                        <a:pt x="36" y="26"/>
                      </a:lnTo>
                      <a:lnTo>
                        <a:pt x="38" y="17"/>
                      </a:lnTo>
                      <a:lnTo>
                        <a:pt x="42" y="9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4" name="Rectangle 3149"/>
                <p:cNvSpPr>
                  <a:spLocks noChangeArrowheads="1"/>
                </p:cNvSpPr>
                <p:nvPr/>
              </p:nvSpPr>
              <p:spPr bwMode="auto">
                <a:xfrm>
                  <a:off x="3675" y="1240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5" name="Rectangle 3150"/>
                <p:cNvSpPr>
                  <a:spLocks noChangeArrowheads="1"/>
                </p:cNvSpPr>
                <p:nvPr/>
              </p:nvSpPr>
              <p:spPr bwMode="auto">
                <a:xfrm>
                  <a:off x="3675" y="1240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6" name="Freeform 3151"/>
                <p:cNvSpPr>
                  <a:spLocks noEditPoints="1"/>
                </p:cNvSpPr>
                <p:nvPr/>
              </p:nvSpPr>
              <p:spPr bwMode="auto">
                <a:xfrm>
                  <a:off x="3675" y="1235"/>
                  <a:ext cx="7" cy="7"/>
                </a:xfrm>
                <a:custGeom>
                  <a:avLst/>
                  <a:gdLst>
                    <a:gd name="T0" fmla="*/ 1 w 7"/>
                    <a:gd name="T1" fmla="*/ 1 h 7"/>
                    <a:gd name="T2" fmla="*/ 1 w 7"/>
                    <a:gd name="T3" fmla="*/ 1 h 7"/>
                    <a:gd name="T4" fmla="*/ 3 w 7"/>
                    <a:gd name="T5" fmla="*/ 1 h 7"/>
                    <a:gd name="T6" fmla="*/ 5 w 7"/>
                    <a:gd name="T7" fmla="*/ 1 h 7"/>
                    <a:gd name="T8" fmla="*/ 5 w 7"/>
                    <a:gd name="T9" fmla="*/ 3 h 7"/>
                    <a:gd name="T10" fmla="*/ 5 w 7"/>
                    <a:gd name="T11" fmla="*/ 5 h 7"/>
                    <a:gd name="T12" fmla="*/ 3 w 7"/>
                    <a:gd name="T13" fmla="*/ 5 h 7"/>
                    <a:gd name="T14" fmla="*/ 1 w 7"/>
                    <a:gd name="T15" fmla="*/ 5 h 7"/>
                    <a:gd name="T16" fmla="*/ 1 w 7"/>
                    <a:gd name="T17" fmla="*/ 3 h 7"/>
                    <a:gd name="T18" fmla="*/ 1 w 7"/>
                    <a:gd name="T19" fmla="*/ 1 h 7"/>
                    <a:gd name="T20" fmla="*/ 7 w 7"/>
                    <a:gd name="T21" fmla="*/ 0 h 7"/>
                    <a:gd name="T22" fmla="*/ 3 w 7"/>
                    <a:gd name="T23" fmla="*/ 0 h 7"/>
                    <a:gd name="T24" fmla="*/ 1 w 7"/>
                    <a:gd name="T25" fmla="*/ 0 h 7"/>
                    <a:gd name="T26" fmla="*/ 0 w 7"/>
                    <a:gd name="T27" fmla="*/ 0 h 7"/>
                    <a:gd name="T28" fmla="*/ 0 w 7"/>
                    <a:gd name="T29" fmla="*/ 3 h 7"/>
                    <a:gd name="T30" fmla="*/ 0 w 7"/>
                    <a:gd name="T31" fmla="*/ 5 h 7"/>
                    <a:gd name="T32" fmla="*/ 1 w 7"/>
                    <a:gd name="T33" fmla="*/ 5 h 7"/>
                    <a:gd name="T34" fmla="*/ 1 w 7"/>
                    <a:gd name="T35" fmla="*/ 7 h 7"/>
                    <a:gd name="T36" fmla="*/ 3 w 7"/>
                    <a:gd name="T37" fmla="*/ 7 h 7"/>
                    <a:gd name="T38" fmla="*/ 7 w 7"/>
                    <a:gd name="T39" fmla="*/ 7 h 7"/>
                    <a:gd name="T40" fmla="*/ 7 w 7"/>
                    <a:gd name="T41" fmla="*/ 7 h 7"/>
                    <a:gd name="T42" fmla="*/ 7 w 7"/>
                    <a:gd name="T43" fmla="*/ 3 h 7"/>
                    <a:gd name="T44" fmla="*/ 7 w 7"/>
                    <a:gd name="T45" fmla="*/ 0 h 7"/>
                    <a:gd name="T46" fmla="*/ 7 w 7"/>
                    <a:gd name="T4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7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1"/>
                      </a:lnTo>
                      <a:close/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7" name="Freeform 3152"/>
                <p:cNvSpPr>
                  <a:spLocks/>
                </p:cNvSpPr>
                <p:nvPr/>
              </p:nvSpPr>
              <p:spPr bwMode="auto">
                <a:xfrm>
                  <a:off x="3676" y="1236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8" name="Freeform 3153"/>
                <p:cNvSpPr>
                  <a:spLocks/>
                </p:cNvSpPr>
                <p:nvPr/>
              </p:nvSpPr>
              <p:spPr bwMode="auto">
                <a:xfrm>
                  <a:off x="3675" y="1235"/>
                  <a:ext cx="7" cy="7"/>
                </a:xfrm>
                <a:custGeom>
                  <a:avLst/>
                  <a:gdLst>
                    <a:gd name="T0" fmla="*/ 7 w 7"/>
                    <a:gd name="T1" fmla="*/ 0 h 7"/>
                    <a:gd name="T2" fmla="*/ 3 w 7"/>
                    <a:gd name="T3" fmla="*/ 0 h 7"/>
                    <a:gd name="T4" fmla="*/ 1 w 7"/>
                    <a:gd name="T5" fmla="*/ 0 h 7"/>
                    <a:gd name="T6" fmla="*/ 0 w 7"/>
                    <a:gd name="T7" fmla="*/ 0 h 7"/>
                    <a:gd name="T8" fmla="*/ 0 w 7"/>
                    <a:gd name="T9" fmla="*/ 3 h 7"/>
                    <a:gd name="T10" fmla="*/ 0 w 7"/>
                    <a:gd name="T11" fmla="*/ 5 h 7"/>
                    <a:gd name="T12" fmla="*/ 1 w 7"/>
                    <a:gd name="T13" fmla="*/ 5 h 7"/>
                    <a:gd name="T14" fmla="*/ 1 w 7"/>
                    <a:gd name="T15" fmla="*/ 7 h 7"/>
                    <a:gd name="T16" fmla="*/ 3 w 7"/>
                    <a:gd name="T17" fmla="*/ 7 h 7"/>
                    <a:gd name="T18" fmla="*/ 7 w 7"/>
                    <a:gd name="T19" fmla="*/ 7 h 7"/>
                    <a:gd name="T20" fmla="*/ 7 w 7"/>
                    <a:gd name="T21" fmla="*/ 7 h 7"/>
                    <a:gd name="T22" fmla="*/ 7 w 7"/>
                    <a:gd name="T23" fmla="*/ 3 h 7"/>
                    <a:gd name="T24" fmla="*/ 7 w 7"/>
                    <a:gd name="T25" fmla="*/ 0 h 7"/>
                    <a:gd name="T26" fmla="*/ 7 w 7"/>
                    <a:gd name="T2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7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39" name="Freeform 3154"/>
                <p:cNvSpPr>
                  <a:spLocks/>
                </p:cNvSpPr>
                <p:nvPr/>
              </p:nvSpPr>
              <p:spPr bwMode="auto">
                <a:xfrm>
                  <a:off x="3619" y="1240"/>
                  <a:ext cx="19" cy="13"/>
                </a:xfrm>
                <a:custGeom>
                  <a:avLst/>
                  <a:gdLst>
                    <a:gd name="T0" fmla="*/ 11 w 19"/>
                    <a:gd name="T1" fmla="*/ 0 h 13"/>
                    <a:gd name="T2" fmla="*/ 6 w 19"/>
                    <a:gd name="T3" fmla="*/ 6 h 13"/>
                    <a:gd name="T4" fmla="*/ 2 w 19"/>
                    <a:gd name="T5" fmla="*/ 11 h 13"/>
                    <a:gd name="T6" fmla="*/ 0 w 19"/>
                    <a:gd name="T7" fmla="*/ 13 h 13"/>
                    <a:gd name="T8" fmla="*/ 2 w 19"/>
                    <a:gd name="T9" fmla="*/ 13 h 13"/>
                    <a:gd name="T10" fmla="*/ 2 w 19"/>
                    <a:gd name="T11" fmla="*/ 13 h 13"/>
                    <a:gd name="T12" fmla="*/ 2 w 19"/>
                    <a:gd name="T13" fmla="*/ 11 h 13"/>
                    <a:gd name="T14" fmla="*/ 6 w 19"/>
                    <a:gd name="T15" fmla="*/ 6 h 13"/>
                    <a:gd name="T16" fmla="*/ 11 w 19"/>
                    <a:gd name="T17" fmla="*/ 0 h 13"/>
                    <a:gd name="T18" fmla="*/ 11 w 19"/>
                    <a:gd name="T19" fmla="*/ 0 h 13"/>
                    <a:gd name="T20" fmla="*/ 15 w 19"/>
                    <a:gd name="T21" fmla="*/ 4 h 13"/>
                    <a:gd name="T22" fmla="*/ 15 w 19"/>
                    <a:gd name="T23" fmla="*/ 4 h 13"/>
                    <a:gd name="T24" fmla="*/ 19 w 19"/>
                    <a:gd name="T25" fmla="*/ 8 h 13"/>
                    <a:gd name="T26" fmla="*/ 15 w 19"/>
                    <a:gd name="T27" fmla="*/ 4 h 13"/>
                    <a:gd name="T28" fmla="*/ 15 w 19"/>
                    <a:gd name="T29" fmla="*/ 4 h 13"/>
                    <a:gd name="T30" fmla="*/ 11 w 19"/>
                    <a:gd name="T31" fmla="*/ 0 h 13"/>
                    <a:gd name="T32" fmla="*/ 11 w 19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13">
                      <a:moveTo>
                        <a:pt x="11" y="0"/>
                      </a:moveTo>
                      <a:lnTo>
                        <a:pt x="6" y="6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6" y="6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9" y="8"/>
                      </a:ln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1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0" name="Freeform 3155"/>
                <p:cNvSpPr>
                  <a:spLocks/>
                </p:cNvSpPr>
                <p:nvPr/>
              </p:nvSpPr>
              <p:spPr bwMode="auto">
                <a:xfrm>
                  <a:off x="3619" y="1240"/>
                  <a:ext cx="19" cy="13"/>
                </a:xfrm>
                <a:custGeom>
                  <a:avLst/>
                  <a:gdLst>
                    <a:gd name="T0" fmla="*/ 11 w 19"/>
                    <a:gd name="T1" fmla="*/ 0 h 13"/>
                    <a:gd name="T2" fmla="*/ 6 w 19"/>
                    <a:gd name="T3" fmla="*/ 6 h 13"/>
                    <a:gd name="T4" fmla="*/ 2 w 19"/>
                    <a:gd name="T5" fmla="*/ 11 h 13"/>
                    <a:gd name="T6" fmla="*/ 0 w 19"/>
                    <a:gd name="T7" fmla="*/ 13 h 13"/>
                    <a:gd name="T8" fmla="*/ 2 w 19"/>
                    <a:gd name="T9" fmla="*/ 13 h 13"/>
                    <a:gd name="T10" fmla="*/ 2 w 19"/>
                    <a:gd name="T11" fmla="*/ 13 h 13"/>
                    <a:gd name="T12" fmla="*/ 2 w 19"/>
                    <a:gd name="T13" fmla="*/ 11 h 13"/>
                    <a:gd name="T14" fmla="*/ 6 w 19"/>
                    <a:gd name="T15" fmla="*/ 6 h 13"/>
                    <a:gd name="T16" fmla="*/ 11 w 19"/>
                    <a:gd name="T17" fmla="*/ 0 h 13"/>
                    <a:gd name="T18" fmla="*/ 11 w 19"/>
                    <a:gd name="T19" fmla="*/ 0 h 13"/>
                    <a:gd name="T20" fmla="*/ 15 w 19"/>
                    <a:gd name="T21" fmla="*/ 4 h 13"/>
                    <a:gd name="T22" fmla="*/ 15 w 19"/>
                    <a:gd name="T23" fmla="*/ 4 h 13"/>
                    <a:gd name="T24" fmla="*/ 19 w 19"/>
                    <a:gd name="T25" fmla="*/ 8 h 13"/>
                    <a:gd name="T26" fmla="*/ 15 w 19"/>
                    <a:gd name="T27" fmla="*/ 4 h 13"/>
                    <a:gd name="T28" fmla="*/ 15 w 19"/>
                    <a:gd name="T29" fmla="*/ 4 h 13"/>
                    <a:gd name="T30" fmla="*/ 11 w 19"/>
                    <a:gd name="T31" fmla="*/ 0 h 13"/>
                    <a:gd name="T32" fmla="*/ 11 w 19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13">
                      <a:moveTo>
                        <a:pt x="11" y="0"/>
                      </a:moveTo>
                      <a:lnTo>
                        <a:pt x="6" y="6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6" y="6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9" y="8"/>
                      </a:ln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1" y="0"/>
                      </a:lnTo>
                      <a:lnTo>
                        <a:pt x="1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1" name="Freeform 3156"/>
                <p:cNvSpPr>
                  <a:spLocks noEditPoints="1"/>
                </p:cNvSpPr>
                <p:nvPr/>
              </p:nvSpPr>
              <p:spPr bwMode="auto">
                <a:xfrm>
                  <a:off x="3621" y="1240"/>
                  <a:ext cx="17" cy="13"/>
                </a:xfrm>
                <a:custGeom>
                  <a:avLst/>
                  <a:gdLst>
                    <a:gd name="T0" fmla="*/ 2 w 17"/>
                    <a:gd name="T1" fmla="*/ 11 h 13"/>
                    <a:gd name="T2" fmla="*/ 6 w 17"/>
                    <a:gd name="T3" fmla="*/ 8 h 13"/>
                    <a:gd name="T4" fmla="*/ 9 w 17"/>
                    <a:gd name="T5" fmla="*/ 2 h 13"/>
                    <a:gd name="T6" fmla="*/ 11 w 17"/>
                    <a:gd name="T7" fmla="*/ 4 h 13"/>
                    <a:gd name="T8" fmla="*/ 13 w 17"/>
                    <a:gd name="T9" fmla="*/ 8 h 13"/>
                    <a:gd name="T10" fmla="*/ 11 w 17"/>
                    <a:gd name="T11" fmla="*/ 8 h 13"/>
                    <a:gd name="T12" fmla="*/ 11 w 17"/>
                    <a:gd name="T13" fmla="*/ 8 h 13"/>
                    <a:gd name="T14" fmla="*/ 7 w 17"/>
                    <a:gd name="T15" fmla="*/ 9 h 13"/>
                    <a:gd name="T16" fmla="*/ 4 w 17"/>
                    <a:gd name="T17" fmla="*/ 11 h 13"/>
                    <a:gd name="T18" fmla="*/ 2 w 17"/>
                    <a:gd name="T19" fmla="*/ 11 h 13"/>
                    <a:gd name="T20" fmla="*/ 9 w 17"/>
                    <a:gd name="T21" fmla="*/ 0 h 13"/>
                    <a:gd name="T22" fmla="*/ 4 w 17"/>
                    <a:gd name="T23" fmla="*/ 6 h 13"/>
                    <a:gd name="T24" fmla="*/ 0 w 17"/>
                    <a:gd name="T25" fmla="*/ 11 h 13"/>
                    <a:gd name="T26" fmla="*/ 0 w 17"/>
                    <a:gd name="T27" fmla="*/ 13 h 13"/>
                    <a:gd name="T28" fmla="*/ 0 w 17"/>
                    <a:gd name="T29" fmla="*/ 13 h 13"/>
                    <a:gd name="T30" fmla="*/ 4 w 17"/>
                    <a:gd name="T31" fmla="*/ 11 h 13"/>
                    <a:gd name="T32" fmla="*/ 7 w 17"/>
                    <a:gd name="T33" fmla="*/ 11 h 13"/>
                    <a:gd name="T34" fmla="*/ 11 w 17"/>
                    <a:gd name="T35" fmla="*/ 9 h 13"/>
                    <a:gd name="T36" fmla="*/ 15 w 17"/>
                    <a:gd name="T37" fmla="*/ 9 h 13"/>
                    <a:gd name="T38" fmla="*/ 17 w 17"/>
                    <a:gd name="T39" fmla="*/ 8 h 13"/>
                    <a:gd name="T40" fmla="*/ 13 w 17"/>
                    <a:gd name="T41" fmla="*/ 4 h 13"/>
                    <a:gd name="T42" fmla="*/ 13 w 17"/>
                    <a:gd name="T43" fmla="*/ 4 h 13"/>
                    <a:gd name="T44" fmla="*/ 9 w 17"/>
                    <a:gd name="T45" fmla="*/ 0 h 13"/>
                    <a:gd name="T46" fmla="*/ 9 w 17"/>
                    <a:gd name="T4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7" h="13">
                      <a:moveTo>
                        <a:pt x="2" y="11"/>
                      </a:moveTo>
                      <a:lnTo>
                        <a:pt x="6" y="8"/>
                      </a:lnTo>
                      <a:lnTo>
                        <a:pt x="9" y="2"/>
                      </a:lnTo>
                      <a:lnTo>
                        <a:pt x="11" y="4"/>
                      </a:lnTo>
                      <a:lnTo>
                        <a:pt x="13" y="8"/>
                      </a:lnTo>
                      <a:lnTo>
                        <a:pt x="11" y="8"/>
                      </a:lnTo>
                      <a:lnTo>
                        <a:pt x="11" y="8"/>
                      </a:lnTo>
                      <a:lnTo>
                        <a:pt x="7" y="9"/>
                      </a:lnTo>
                      <a:lnTo>
                        <a:pt x="4" y="11"/>
                      </a:lnTo>
                      <a:lnTo>
                        <a:pt x="2" y="11"/>
                      </a:lnTo>
                      <a:close/>
                      <a:moveTo>
                        <a:pt x="9" y="0"/>
                      </a:moveTo>
                      <a:lnTo>
                        <a:pt x="4" y="6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4" y="11"/>
                      </a:lnTo>
                      <a:lnTo>
                        <a:pt x="7" y="11"/>
                      </a:lnTo>
                      <a:lnTo>
                        <a:pt x="11" y="9"/>
                      </a:lnTo>
                      <a:lnTo>
                        <a:pt x="15" y="9"/>
                      </a:lnTo>
                      <a:lnTo>
                        <a:pt x="17" y="8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9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2" name="Freeform 3157"/>
                <p:cNvSpPr>
                  <a:spLocks/>
                </p:cNvSpPr>
                <p:nvPr/>
              </p:nvSpPr>
              <p:spPr bwMode="auto">
                <a:xfrm>
                  <a:off x="3623" y="1242"/>
                  <a:ext cx="11" cy="9"/>
                </a:xfrm>
                <a:custGeom>
                  <a:avLst/>
                  <a:gdLst>
                    <a:gd name="T0" fmla="*/ 0 w 11"/>
                    <a:gd name="T1" fmla="*/ 9 h 9"/>
                    <a:gd name="T2" fmla="*/ 4 w 11"/>
                    <a:gd name="T3" fmla="*/ 6 h 9"/>
                    <a:gd name="T4" fmla="*/ 7 w 11"/>
                    <a:gd name="T5" fmla="*/ 0 h 9"/>
                    <a:gd name="T6" fmla="*/ 9 w 11"/>
                    <a:gd name="T7" fmla="*/ 2 h 9"/>
                    <a:gd name="T8" fmla="*/ 11 w 11"/>
                    <a:gd name="T9" fmla="*/ 6 h 9"/>
                    <a:gd name="T10" fmla="*/ 9 w 11"/>
                    <a:gd name="T11" fmla="*/ 6 h 9"/>
                    <a:gd name="T12" fmla="*/ 9 w 11"/>
                    <a:gd name="T13" fmla="*/ 6 h 9"/>
                    <a:gd name="T14" fmla="*/ 5 w 11"/>
                    <a:gd name="T15" fmla="*/ 7 h 9"/>
                    <a:gd name="T16" fmla="*/ 2 w 11"/>
                    <a:gd name="T17" fmla="*/ 9 h 9"/>
                    <a:gd name="T18" fmla="*/ 0 w 11"/>
                    <a:gd name="T1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9">
                      <a:moveTo>
                        <a:pt x="0" y="9"/>
                      </a:moveTo>
                      <a:lnTo>
                        <a:pt x="4" y="6"/>
                      </a:lnTo>
                      <a:lnTo>
                        <a:pt x="7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9" y="6"/>
                      </a:lnTo>
                      <a:lnTo>
                        <a:pt x="9" y="6"/>
                      </a:lnTo>
                      <a:lnTo>
                        <a:pt x="5" y="7"/>
                      </a:lnTo>
                      <a:lnTo>
                        <a:pt x="2" y="9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3" name="Freeform 3158"/>
                <p:cNvSpPr>
                  <a:spLocks/>
                </p:cNvSpPr>
                <p:nvPr/>
              </p:nvSpPr>
              <p:spPr bwMode="auto">
                <a:xfrm>
                  <a:off x="3621" y="1240"/>
                  <a:ext cx="17" cy="13"/>
                </a:xfrm>
                <a:custGeom>
                  <a:avLst/>
                  <a:gdLst>
                    <a:gd name="T0" fmla="*/ 9 w 17"/>
                    <a:gd name="T1" fmla="*/ 0 h 13"/>
                    <a:gd name="T2" fmla="*/ 4 w 17"/>
                    <a:gd name="T3" fmla="*/ 6 h 13"/>
                    <a:gd name="T4" fmla="*/ 0 w 17"/>
                    <a:gd name="T5" fmla="*/ 11 h 13"/>
                    <a:gd name="T6" fmla="*/ 0 w 17"/>
                    <a:gd name="T7" fmla="*/ 13 h 13"/>
                    <a:gd name="T8" fmla="*/ 0 w 17"/>
                    <a:gd name="T9" fmla="*/ 13 h 13"/>
                    <a:gd name="T10" fmla="*/ 4 w 17"/>
                    <a:gd name="T11" fmla="*/ 11 h 13"/>
                    <a:gd name="T12" fmla="*/ 7 w 17"/>
                    <a:gd name="T13" fmla="*/ 11 h 13"/>
                    <a:gd name="T14" fmla="*/ 11 w 17"/>
                    <a:gd name="T15" fmla="*/ 9 h 13"/>
                    <a:gd name="T16" fmla="*/ 15 w 17"/>
                    <a:gd name="T17" fmla="*/ 9 h 13"/>
                    <a:gd name="T18" fmla="*/ 17 w 17"/>
                    <a:gd name="T19" fmla="*/ 8 h 13"/>
                    <a:gd name="T20" fmla="*/ 13 w 17"/>
                    <a:gd name="T21" fmla="*/ 4 h 13"/>
                    <a:gd name="T22" fmla="*/ 13 w 17"/>
                    <a:gd name="T23" fmla="*/ 4 h 13"/>
                    <a:gd name="T24" fmla="*/ 9 w 17"/>
                    <a:gd name="T25" fmla="*/ 0 h 13"/>
                    <a:gd name="T26" fmla="*/ 9 w 17"/>
                    <a:gd name="T2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" h="13">
                      <a:moveTo>
                        <a:pt x="9" y="0"/>
                      </a:moveTo>
                      <a:lnTo>
                        <a:pt x="4" y="6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4" y="11"/>
                      </a:lnTo>
                      <a:lnTo>
                        <a:pt x="7" y="11"/>
                      </a:lnTo>
                      <a:lnTo>
                        <a:pt x="11" y="9"/>
                      </a:lnTo>
                      <a:lnTo>
                        <a:pt x="15" y="9"/>
                      </a:lnTo>
                      <a:lnTo>
                        <a:pt x="17" y="8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9" y="0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4" name="Freeform 3159"/>
                <p:cNvSpPr>
                  <a:spLocks/>
                </p:cNvSpPr>
                <p:nvPr/>
              </p:nvSpPr>
              <p:spPr bwMode="auto">
                <a:xfrm>
                  <a:off x="4667" y="194"/>
                  <a:ext cx="772" cy="915"/>
                </a:xfrm>
                <a:custGeom>
                  <a:avLst/>
                  <a:gdLst>
                    <a:gd name="T0" fmla="*/ 584 w 772"/>
                    <a:gd name="T1" fmla="*/ 24 h 915"/>
                    <a:gd name="T2" fmla="*/ 517 w 772"/>
                    <a:gd name="T3" fmla="*/ 70 h 915"/>
                    <a:gd name="T4" fmla="*/ 514 w 772"/>
                    <a:gd name="T5" fmla="*/ 83 h 915"/>
                    <a:gd name="T6" fmla="*/ 517 w 772"/>
                    <a:gd name="T7" fmla="*/ 92 h 915"/>
                    <a:gd name="T8" fmla="*/ 512 w 772"/>
                    <a:gd name="T9" fmla="*/ 122 h 915"/>
                    <a:gd name="T10" fmla="*/ 549 w 772"/>
                    <a:gd name="T11" fmla="*/ 125 h 915"/>
                    <a:gd name="T12" fmla="*/ 521 w 772"/>
                    <a:gd name="T13" fmla="*/ 149 h 915"/>
                    <a:gd name="T14" fmla="*/ 456 w 772"/>
                    <a:gd name="T15" fmla="*/ 144 h 915"/>
                    <a:gd name="T16" fmla="*/ 438 w 772"/>
                    <a:gd name="T17" fmla="*/ 155 h 915"/>
                    <a:gd name="T18" fmla="*/ 377 w 772"/>
                    <a:gd name="T19" fmla="*/ 177 h 915"/>
                    <a:gd name="T20" fmla="*/ 340 w 772"/>
                    <a:gd name="T21" fmla="*/ 208 h 915"/>
                    <a:gd name="T22" fmla="*/ 288 w 772"/>
                    <a:gd name="T23" fmla="*/ 238 h 915"/>
                    <a:gd name="T24" fmla="*/ 198 w 772"/>
                    <a:gd name="T25" fmla="*/ 299 h 915"/>
                    <a:gd name="T26" fmla="*/ 143 w 772"/>
                    <a:gd name="T27" fmla="*/ 371 h 915"/>
                    <a:gd name="T28" fmla="*/ 126 w 772"/>
                    <a:gd name="T29" fmla="*/ 391 h 915"/>
                    <a:gd name="T30" fmla="*/ 115 w 772"/>
                    <a:gd name="T31" fmla="*/ 463 h 915"/>
                    <a:gd name="T32" fmla="*/ 192 w 772"/>
                    <a:gd name="T33" fmla="*/ 487 h 915"/>
                    <a:gd name="T34" fmla="*/ 148 w 772"/>
                    <a:gd name="T35" fmla="*/ 515 h 915"/>
                    <a:gd name="T36" fmla="*/ 113 w 772"/>
                    <a:gd name="T37" fmla="*/ 491 h 915"/>
                    <a:gd name="T38" fmla="*/ 65 w 772"/>
                    <a:gd name="T39" fmla="*/ 493 h 915"/>
                    <a:gd name="T40" fmla="*/ 72 w 772"/>
                    <a:gd name="T41" fmla="*/ 557 h 915"/>
                    <a:gd name="T42" fmla="*/ 23 w 772"/>
                    <a:gd name="T43" fmla="*/ 613 h 915"/>
                    <a:gd name="T44" fmla="*/ 43 w 772"/>
                    <a:gd name="T45" fmla="*/ 672 h 915"/>
                    <a:gd name="T46" fmla="*/ 80 w 772"/>
                    <a:gd name="T47" fmla="*/ 705 h 915"/>
                    <a:gd name="T48" fmla="*/ 47 w 772"/>
                    <a:gd name="T49" fmla="*/ 766 h 915"/>
                    <a:gd name="T50" fmla="*/ 39 w 772"/>
                    <a:gd name="T51" fmla="*/ 841 h 915"/>
                    <a:gd name="T52" fmla="*/ 119 w 772"/>
                    <a:gd name="T53" fmla="*/ 880 h 915"/>
                    <a:gd name="T54" fmla="*/ 209 w 772"/>
                    <a:gd name="T55" fmla="*/ 910 h 915"/>
                    <a:gd name="T56" fmla="*/ 327 w 772"/>
                    <a:gd name="T57" fmla="*/ 860 h 915"/>
                    <a:gd name="T58" fmla="*/ 351 w 772"/>
                    <a:gd name="T59" fmla="*/ 812 h 915"/>
                    <a:gd name="T60" fmla="*/ 395 w 772"/>
                    <a:gd name="T61" fmla="*/ 790 h 915"/>
                    <a:gd name="T62" fmla="*/ 436 w 772"/>
                    <a:gd name="T63" fmla="*/ 747 h 915"/>
                    <a:gd name="T64" fmla="*/ 504 w 772"/>
                    <a:gd name="T65" fmla="*/ 718 h 915"/>
                    <a:gd name="T66" fmla="*/ 598 w 772"/>
                    <a:gd name="T67" fmla="*/ 758 h 915"/>
                    <a:gd name="T68" fmla="*/ 654 w 772"/>
                    <a:gd name="T69" fmla="*/ 701 h 915"/>
                    <a:gd name="T70" fmla="*/ 713 w 772"/>
                    <a:gd name="T71" fmla="*/ 635 h 915"/>
                    <a:gd name="T72" fmla="*/ 720 w 772"/>
                    <a:gd name="T73" fmla="*/ 515 h 915"/>
                    <a:gd name="T74" fmla="*/ 735 w 772"/>
                    <a:gd name="T75" fmla="*/ 505 h 915"/>
                    <a:gd name="T76" fmla="*/ 763 w 772"/>
                    <a:gd name="T77" fmla="*/ 450 h 915"/>
                    <a:gd name="T78" fmla="*/ 724 w 772"/>
                    <a:gd name="T79" fmla="*/ 446 h 915"/>
                    <a:gd name="T80" fmla="*/ 687 w 772"/>
                    <a:gd name="T81" fmla="*/ 430 h 915"/>
                    <a:gd name="T82" fmla="*/ 683 w 772"/>
                    <a:gd name="T83" fmla="*/ 441 h 915"/>
                    <a:gd name="T84" fmla="*/ 646 w 772"/>
                    <a:gd name="T85" fmla="*/ 428 h 915"/>
                    <a:gd name="T86" fmla="*/ 561 w 772"/>
                    <a:gd name="T87" fmla="*/ 441 h 915"/>
                    <a:gd name="T88" fmla="*/ 595 w 772"/>
                    <a:gd name="T89" fmla="*/ 386 h 915"/>
                    <a:gd name="T90" fmla="*/ 563 w 772"/>
                    <a:gd name="T91" fmla="*/ 343 h 915"/>
                    <a:gd name="T92" fmla="*/ 538 w 772"/>
                    <a:gd name="T93" fmla="*/ 317 h 915"/>
                    <a:gd name="T94" fmla="*/ 502 w 772"/>
                    <a:gd name="T95" fmla="*/ 271 h 915"/>
                    <a:gd name="T96" fmla="*/ 582 w 772"/>
                    <a:gd name="T97" fmla="*/ 251 h 915"/>
                    <a:gd name="T98" fmla="*/ 645 w 772"/>
                    <a:gd name="T99" fmla="*/ 210 h 915"/>
                    <a:gd name="T100" fmla="*/ 709 w 772"/>
                    <a:gd name="T101" fmla="*/ 159 h 915"/>
                    <a:gd name="T102" fmla="*/ 711 w 772"/>
                    <a:gd name="T103" fmla="*/ 153 h 915"/>
                    <a:gd name="T104" fmla="*/ 705 w 772"/>
                    <a:gd name="T105" fmla="*/ 131 h 915"/>
                    <a:gd name="T106" fmla="*/ 698 w 772"/>
                    <a:gd name="T107" fmla="*/ 123 h 915"/>
                    <a:gd name="T108" fmla="*/ 676 w 772"/>
                    <a:gd name="T109" fmla="*/ 135 h 915"/>
                    <a:gd name="T110" fmla="*/ 617 w 772"/>
                    <a:gd name="T111" fmla="*/ 101 h 915"/>
                    <a:gd name="T112" fmla="*/ 617 w 772"/>
                    <a:gd name="T113" fmla="*/ 94 h 915"/>
                    <a:gd name="T114" fmla="*/ 633 w 772"/>
                    <a:gd name="T115" fmla="*/ 52 h 915"/>
                    <a:gd name="T116" fmla="*/ 611 w 772"/>
                    <a:gd name="T117" fmla="*/ 53 h 915"/>
                    <a:gd name="T118" fmla="*/ 632 w 772"/>
                    <a:gd name="T119" fmla="*/ 31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72" h="915">
                      <a:moveTo>
                        <a:pt x="609" y="0"/>
                      </a:moveTo>
                      <a:lnTo>
                        <a:pt x="606" y="0"/>
                      </a:lnTo>
                      <a:lnTo>
                        <a:pt x="600" y="0"/>
                      </a:lnTo>
                      <a:lnTo>
                        <a:pt x="600" y="4"/>
                      </a:lnTo>
                      <a:lnTo>
                        <a:pt x="600" y="7"/>
                      </a:lnTo>
                      <a:lnTo>
                        <a:pt x="600" y="11"/>
                      </a:lnTo>
                      <a:lnTo>
                        <a:pt x="600" y="16"/>
                      </a:lnTo>
                      <a:lnTo>
                        <a:pt x="600" y="16"/>
                      </a:lnTo>
                      <a:lnTo>
                        <a:pt x="597" y="16"/>
                      </a:lnTo>
                      <a:lnTo>
                        <a:pt x="591" y="16"/>
                      </a:lnTo>
                      <a:lnTo>
                        <a:pt x="587" y="18"/>
                      </a:lnTo>
                      <a:lnTo>
                        <a:pt x="585" y="18"/>
                      </a:lnTo>
                      <a:lnTo>
                        <a:pt x="585" y="18"/>
                      </a:lnTo>
                      <a:lnTo>
                        <a:pt x="587" y="20"/>
                      </a:lnTo>
                      <a:lnTo>
                        <a:pt x="587" y="20"/>
                      </a:lnTo>
                      <a:lnTo>
                        <a:pt x="585" y="22"/>
                      </a:lnTo>
                      <a:lnTo>
                        <a:pt x="584" y="24"/>
                      </a:lnTo>
                      <a:lnTo>
                        <a:pt x="584" y="24"/>
                      </a:lnTo>
                      <a:lnTo>
                        <a:pt x="582" y="22"/>
                      </a:lnTo>
                      <a:lnTo>
                        <a:pt x="580" y="22"/>
                      </a:lnTo>
                      <a:lnTo>
                        <a:pt x="576" y="24"/>
                      </a:lnTo>
                      <a:lnTo>
                        <a:pt x="571" y="28"/>
                      </a:lnTo>
                      <a:lnTo>
                        <a:pt x="567" y="29"/>
                      </a:lnTo>
                      <a:lnTo>
                        <a:pt x="567" y="29"/>
                      </a:lnTo>
                      <a:lnTo>
                        <a:pt x="561" y="31"/>
                      </a:lnTo>
                      <a:lnTo>
                        <a:pt x="554" y="35"/>
                      </a:lnTo>
                      <a:lnTo>
                        <a:pt x="545" y="37"/>
                      </a:lnTo>
                      <a:lnTo>
                        <a:pt x="534" y="39"/>
                      </a:lnTo>
                      <a:lnTo>
                        <a:pt x="519" y="44"/>
                      </a:lnTo>
                      <a:lnTo>
                        <a:pt x="519" y="50"/>
                      </a:lnTo>
                      <a:lnTo>
                        <a:pt x="519" y="55"/>
                      </a:lnTo>
                      <a:lnTo>
                        <a:pt x="519" y="63"/>
                      </a:lnTo>
                      <a:lnTo>
                        <a:pt x="519" y="70"/>
                      </a:lnTo>
                      <a:lnTo>
                        <a:pt x="517" y="70"/>
                      </a:lnTo>
                      <a:lnTo>
                        <a:pt x="512" y="70"/>
                      </a:lnTo>
                      <a:lnTo>
                        <a:pt x="508" y="70"/>
                      </a:lnTo>
                      <a:lnTo>
                        <a:pt x="508" y="72"/>
                      </a:lnTo>
                      <a:lnTo>
                        <a:pt x="508" y="72"/>
                      </a:lnTo>
                      <a:lnTo>
                        <a:pt x="508" y="74"/>
                      </a:lnTo>
                      <a:lnTo>
                        <a:pt x="508" y="74"/>
                      </a:lnTo>
                      <a:lnTo>
                        <a:pt x="512" y="74"/>
                      </a:lnTo>
                      <a:lnTo>
                        <a:pt x="519" y="74"/>
                      </a:lnTo>
                      <a:lnTo>
                        <a:pt x="519" y="76"/>
                      </a:lnTo>
                      <a:lnTo>
                        <a:pt x="519" y="77"/>
                      </a:lnTo>
                      <a:lnTo>
                        <a:pt x="519" y="79"/>
                      </a:lnTo>
                      <a:lnTo>
                        <a:pt x="519" y="79"/>
                      </a:lnTo>
                      <a:lnTo>
                        <a:pt x="519" y="81"/>
                      </a:lnTo>
                      <a:lnTo>
                        <a:pt x="517" y="81"/>
                      </a:lnTo>
                      <a:lnTo>
                        <a:pt x="517" y="81"/>
                      </a:lnTo>
                      <a:lnTo>
                        <a:pt x="517" y="81"/>
                      </a:lnTo>
                      <a:lnTo>
                        <a:pt x="514" y="83"/>
                      </a:lnTo>
                      <a:lnTo>
                        <a:pt x="514" y="83"/>
                      </a:lnTo>
                      <a:lnTo>
                        <a:pt x="508" y="85"/>
                      </a:lnTo>
                      <a:lnTo>
                        <a:pt x="508" y="85"/>
                      </a:lnTo>
                      <a:lnTo>
                        <a:pt x="510" y="85"/>
                      </a:lnTo>
                      <a:lnTo>
                        <a:pt x="512" y="85"/>
                      </a:lnTo>
                      <a:lnTo>
                        <a:pt x="515" y="85"/>
                      </a:lnTo>
                      <a:lnTo>
                        <a:pt x="515" y="85"/>
                      </a:lnTo>
                      <a:lnTo>
                        <a:pt x="517" y="85"/>
                      </a:lnTo>
                      <a:lnTo>
                        <a:pt x="517" y="87"/>
                      </a:lnTo>
                      <a:lnTo>
                        <a:pt x="517" y="87"/>
                      </a:lnTo>
                      <a:lnTo>
                        <a:pt x="519" y="87"/>
                      </a:lnTo>
                      <a:lnTo>
                        <a:pt x="519" y="87"/>
                      </a:lnTo>
                      <a:lnTo>
                        <a:pt x="519" y="88"/>
                      </a:lnTo>
                      <a:lnTo>
                        <a:pt x="519" y="88"/>
                      </a:lnTo>
                      <a:lnTo>
                        <a:pt x="519" y="90"/>
                      </a:lnTo>
                      <a:lnTo>
                        <a:pt x="519" y="92"/>
                      </a:lnTo>
                      <a:lnTo>
                        <a:pt x="517" y="92"/>
                      </a:lnTo>
                      <a:lnTo>
                        <a:pt x="512" y="90"/>
                      </a:lnTo>
                      <a:lnTo>
                        <a:pt x="506" y="88"/>
                      </a:lnTo>
                      <a:lnTo>
                        <a:pt x="506" y="88"/>
                      </a:lnTo>
                      <a:lnTo>
                        <a:pt x="504" y="88"/>
                      </a:lnTo>
                      <a:lnTo>
                        <a:pt x="504" y="87"/>
                      </a:lnTo>
                      <a:lnTo>
                        <a:pt x="501" y="87"/>
                      </a:lnTo>
                      <a:lnTo>
                        <a:pt x="497" y="87"/>
                      </a:lnTo>
                      <a:lnTo>
                        <a:pt x="497" y="94"/>
                      </a:lnTo>
                      <a:lnTo>
                        <a:pt x="495" y="99"/>
                      </a:lnTo>
                      <a:lnTo>
                        <a:pt x="493" y="107"/>
                      </a:lnTo>
                      <a:lnTo>
                        <a:pt x="493" y="114"/>
                      </a:lnTo>
                      <a:lnTo>
                        <a:pt x="495" y="116"/>
                      </a:lnTo>
                      <a:lnTo>
                        <a:pt x="497" y="118"/>
                      </a:lnTo>
                      <a:lnTo>
                        <a:pt x="499" y="118"/>
                      </a:lnTo>
                      <a:lnTo>
                        <a:pt x="502" y="120"/>
                      </a:lnTo>
                      <a:lnTo>
                        <a:pt x="506" y="122"/>
                      </a:lnTo>
                      <a:lnTo>
                        <a:pt x="512" y="122"/>
                      </a:lnTo>
                      <a:lnTo>
                        <a:pt x="517" y="122"/>
                      </a:lnTo>
                      <a:lnTo>
                        <a:pt x="523" y="123"/>
                      </a:lnTo>
                      <a:lnTo>
                        <a:pt x="523" y="123"/>
                      </a:lnTo>
                      <a:lnTo>
                        <a:pt x="525" y="123"/>
                      </a:lnTo>
                      <a:lnTo>
                        <a:pt x="526" y="125"/>
                      </a:lnTo>
                      <a:lnTo>
                        <a:pt x="528" y="125"/>
                      </a:lnTo>
                      <a:lnTo>
                        <a:pt x="530" y="127"/>
                      </a:lnTo>
                      <a:lnTo>
                        <a:pt x="532" y="129"/>
                      </a:lnTo>
                      <a:lnTo>
                        <a:pt x="532" y="123"/>
                      </a:lnTo>
                      <a:lnTo>
                        <a:pt x="534" y="118"/>
                      </a:lnTo>
                      <a:lnTo>
                        <a:pt x="536" y="118"/>
                      </a:lnTo>
                      <a:lnTo>
                        <a:pt x="539" y="120"/>
                      </a:lnTo>
                      <a:lnTo>
                        <a:pt x="545" y="120"/>
                      </a:lnTo>
                      <a:lnTo>
                        <a:pt x="549" y="122"/>
                      </a:lnTo>
                      <a:lnTo>
                        <a:pt x="558" y="123"/>
                      </a:lnTo>
                      <a:lnTo>
                        <a:pt x="554" y="125"/>
                      </a:lnTo>
                      <a:lnTo>
                        <a:pt x="549" y="125"/>
                      </a:lnTo>
                      <a:lnTo>
                        <a:pt x="545" y="125"/>
                      </a:lnTo>
                      <a:lnTo>
                        <a:pt x="545" y="129"/>
                      </a:lnTo>
                      <a:lnTo>
                        <a:pt x="545" y="131"/>
                      </a:lnTo>
                      <a:lnTo>
                        <a:pt x="545" y="135"/>
                      </a:lnTo>
                      <a:lnTo>
                        <a:pt x="545" y="136"/>
                      </a:lnTo>
                      <a:lnTo>
                        <a:pt x="547" y="136"/>
                      </a:lnTo>
                      <a:lnTo>
                        <a:pt x="547" y="138"/>
                      </a:lnTo>
                      <a:lnTo>
                        <a:pt x="549" y="140"/>
                      </a:lnTo>
                      <a:lnTo>
                        <a:pt x="552" y="144"/>
                      </a:lnTo>
                      <a:lnTo>
                        <a:pt x="550" y="144"/>
                      </a:lnTo>
                      <a:lnTo>
                        <a:pt x="543" y="144"/>
                      </a:lnTo>
                      <a:lnTo>
                        <a:pt x="539" y="144"/>
                      </a:lnTo>
                      <a:lnTo>
                        <a:pt x="534" y="144"/>
                      </a:lnTo>
                      <a:lnTo>
                        <a:pt x="530" y="144"/>
                      </a:lnTo>
                      <a:lnTo>
                        <a:pt x="528" y="146"/>
                      </a:lnTo>
                      <a:lnTo>
                        <a:pt x="525" y="146"/>
                      </a:lnTo>
                      <a:lnTo>
                        <a:pt x="521" y="149"/>
                      </a:lnTo>
                      <a:lnTo>
                        <a:pt x="517" y="151"/>
                      </a:lnTo>
                      <a:lnTo>
                        <a:pt x="515" y="149"/>
                      </a:lnTo>
                      <a:lnTo>
                        <a:pt x="514" y="146"/>
                      </a:lnTo>
                      <a:lnTo>
                        <a:pt x="512" y="142"/>
                      </a:lnTo>
                      <a:lnTo>
                        <a:pt x="502" y="140"/>
                      </a:lnTo>
                      <a:lnTo>
                        <a:pt x="491" y="138"/>
                      </a:lnTo>
                      <a:lnTo>
                        <a:pt x="491" y="138"/>
                      </a:lnTo>
                      <a:lnTo>
                        <a:pt x="484" y="138"/>
                      </a:lnTo>
                      <a:lnTo>
                        <a:pt x="477" y="136"/>
                      </a:lnTo>
                      <a:lnTo>
                        <a:pt x="471" y="136"/>
                      </a:lnTo>
                      <a:lnTo>
                        <a:pt x="467" y="135"/>
                      </a:lnTo>
                      <a:lnTo>
                        <a:pt x="464" y="135"/>
                      </a:lnTo>
                      <a:lnTo>
                        <a:pt x="460" y="135"/>
                      </a:lnTo>
                      <a:lnTo>
                        <a:pt x="460" y="140"/>
                      </a:lnTo>
                      <a:lnTo>
                        <a:pt x="460" y="147"/>
                      </a:lnTo>
                      <a:lnTo>
                        <a:pt x="458" y="146"/>
                      </a:lnTo>
                      <a:lnTo>
                        <a:pt x="456" y="144"/>
                      </a:lnTo>
                      <a:lnTo>
                        <a:pt x="454" y="142"/>
                      </a:lnTo>
                      <a:lnTo>
                        <a:pt x="453" y="142"/>
                      </a:lnTo>
                      <a:lnTo>
                        <a:pt x="451" y="140"/>
                      </a:lnTo>
                      <a:lnTo>
                        <a:pt x="447" y="140"/>
                      </a:lnTo>
                      <a:lnTo>
                        <a:pt x="443" y="140"/>
                      </a:lnTo>
                      <a:lnTo>
                        <a:pt x="436" y="140"/>
                      </a:lnTo>
                      <a:lnTo>
                        <a:pt x="425" y="142"/>
                      </a:lnTo>
                      <a:lnTo>
                        <a:pt x="425" y="146"/>
                      </a:lnTo>
                      <a:lnTo>
                        <a:pt x="427" y="151"/>
                      </a:lnTo>
                      <a:lnTo>
                        <a:pt x="430" y="151"/>
                      </a:lnTo>
                      <a:lnTo>
                        <a:pt x="436" y="149"/>
                      </a:lnTo>
                      <a:lnTo>
                        <a:pt x="442" y="149"/>
                      </a:lnTo>
                      <a:lnTo>
                        <a:pt x="442" y="149"/>
                      </a:lnTo>
                      <a:lnTo>
                        <a:pt x="451" y="147"/>
                      </a:lnTo>
                      <a:lnTo>
                        <a:pt x="447" y="149"/>
                      </a:lnTo>
                      <a:lnTo>
                        <a:pt x="442" y="153"/>
                      </a:lnTo>
                      <a:lnTo>
                        <a:pt x="438" y="155"/>
                      </a:lnTo>
                      <a:lnTo>
                        <a:pt x="432" y="159"/>
                      </a:lnTo>
                      <a:lnTo>
                        <a:pt x="429" y="160"/>
                      </a:lnTo>
                      <a:lnTo>
                        <a:pt x="427" y="160"/>
                      </a:lnTo>
                      <a:lnTo>
                        <a:pt x="423" y="159"/>
                      </a:lnTo>
                      <a:lnTo>
                        <a:pt x="419" y="157"/>
                      </a:lnTo>
                      <a:lnTo>
                        <a:pt x="416" y="155"/>
                      </a:lnTo>
                      <a:lnTo>
                        <a:pt x="412" y="153"/>
                      </a:lnTo>
                      <a:lnTo>
                        <a:pt x="412" y="157"/>
                      </a:lnTo>
                      <a:lnTo>
                        <a:pt x="410" y="160"/>
                      </a:lnTo>
                      <a:lnTo>
                        <a:pt x="408" y="166"/>
                      </a:lnTo>
                      <a:lnTo>
                        <a:pt x="406" y="166"/>
                      </a:lnTo>
                      <a:lnTo>
                        <a:pt x="405" y="170"/>
                      </a:lnTo>
                      <a:lnTo>
                        <a:pt x="405" y="170"/>
                      </a:lnTo>
                      <a:lnTo>
                        <a:pt x="397" y="171"/>
                      </a:lnTo>
                      <a:lnTo>
                        <a:pt x="390" y="173"/>
                      </a:lnTo>
                      <a:lnTo>
                        <a:pt x="382" y="175"/>
                      </a:lnTo>
                      <a:lnTo>
                        <a:pt x="377" y="177"/>
                      </a:lnTo>
                      <a:lnTo>
                        <a:pt x="375" y="181"/>
                      </a:lnTo>
                      <a:lnTo>
                        <a:pt x="373" y="184"/>
                      </a:lnTo>
                      <a:lnTo>
                        <a:pt x="371" y="186"/>
                      </a:lnTo>
                      <a:lnTo>
                        <a:pt x="368" y="192"/>
                      </a:lnTo>
                      <a:lnTo>
                        <a:pt x="368" y="190"/>
                      </a:lnTo>
                      <a:lnTo>
                        <a:pt x="364" y="188"/>
                      </a:lnTo>
                      <a:lnTo>
                        <a:pt x="362" y="186"/>
                      </a:lnTo>
                      <a:lnTo>
                        <a:pt x="360" y="192"/>
                      </a:lnTo>
                      <a:lnTo>
                        <a:pt x="357" y="197"/>
                      </a:lnTo>
                      <a:lnTo>
                        <a:pt x="357" y="197"/>
                      </a:lnTo>
                      <a:lnTo>
                        <a:pt x="353" y="194"/>
                      </a:lnTo>
                      <a:lnTo>
                        <a:pt x="351" y="192"/>
                      </a:lnTo>
                      <a:lnTo>
                        <a:pt x="351" y="195"/>
                      </a:lnTo>
                      <a:lnTo>
                        <a:pt x="351" y="199"/>
                      </a:lnTo>
                      <a:lnTo>
                        <a:pt x="349" y="203"/>
                      </a:lnTo>
                      <a:lnTo>
                        <a:pt x="349" y="207"/>
                      </a:lnTo>
                      <a:lnTo>
                        <a:pt x="340" y="208"/>
                      </a:lnTo>
                      <a:lnTo>
                        <a:pt x="331" y="210"/>
                      </a:lnTo>
                      <a:lnTo>
                        <a:pt x="325" y="212"/>
                      </a:lnTo>
                      <a:lnTo>
                        <a:pt x="320" y="212"/>
                      </a:lnTo>
                      <a:lnTo>
                        <a:pt x="316" y="214"/>
                      </a:lnTo>
                      <a:lnTo>
                        <a:pt x="311" y="216"/>
                      </a:lnTo>
                      <a:lnTo>
                        <a:pt x="305" y="218"/>
                      </a:lnTo>
                      <a:lnTo>
                        <a:pt x="301" y="219"/>
                      </a:lnTo>
                      <a:lnTo>
                        <a:pt x="301" y="223"/>
                      </a:lnTo>
                      <a:lnTo>
                        <a:pt x="301" y="229"/>
                      </a:lnTo>
                      <a:lnTo>
                        <a:pt x="299" y="229"/>
                      </a:lnTo>
                      <a:lnTo>
                        <a:pt x="296" y="231"/>
                      </a:lnTo>
                      <a:lnTo>
                        <a:pt x="290" y="231"/>
                      </a:lnTo>
                      <a:lnTo>
                        <a:pt x="287" y="231"/>
                      </a:lnTo>
                      <a:lnTo>
                        <a:pt x="285" y="232"/>
                      </a:lnTo>
                      <a:lnTo>
                        <a:pt x="287" y="234"/>
                      </a:lnTo>
                      <a:lnTo>
                        <a:pt x="290" y="238"/>
                      </a:lnTo>
                      <a:lnTo>
                        <a:pt x="288" y="238"/>
                      </a:lnTo>
                      <a:lnTo>
                        <a:pt x="281" y="238"/>
                      </a:lnTo>
                      <a:lnTo>
                        <a:pt x="275" y="240"/>
                      </a:lnTo>
                      <a:lnTo>
                        <a:pt x="268" y="240"/>
                      </a:lnTo>
                      <a:lnTo>
                        <a:pt x="263" y="240"/>
                      </a:lnTo>
                      <a:lnTo>
                        <a:pt x="261" y="243"/>
                      </a:lnTo>
                      <a:lnTo>
                        <a:pt x="261" y="243"/>
                      </a:lnTo>
                      <a:lnTo>
                        <a:pt x="257" y="249"/>
                      </a:lnTo>
                      <a:lnTo>
                        <a:pt x="253" y="253"/>
                      </a:lnTo>
                      <a:lnTo>
                        <a:pt x="250" y="258"/>
                      </a:lnTo>
                      <a:lnTo>
                        <a:pt x="244" y="264"/>
                      </a:lnTo>
                      <a:lnTo>
                        <a:pt x="239" y="269"/>
                      </a:lnTo>
                      <a:lnTo>
                        <a:pt x="231" y="275"/>
                      </a:lnTo>
                      <a:lnTo>
                        <a:pt x="226" y="280"/>
                      </a:lnTo>
                      <a:lnTo>
                        <a:pt x="218" y="286"/>
                      </a:lnTo>
                      <a:lnTo>
                        <a:pt x="211" y="290"/>
                      </a:lnTo>
                      <a:lnTo>
                        <a:pt x="205" y="295"/>
                      </a:lnTo>
                      <a:lnTo>
                        <a:pt x="198" y="299"/>
                      </a:lnTo>
                      <a:lnTo>
                        <a:pt x="198" y="299"/>
                      </a:lnTo>
                      <a:lnTo>
                        <a:pt x="192" y="302"/>
                      </a:lnTo>
                      <a:lnTo>
                        <a:pt x="187" y="306"/>
                      </a:lnTo>
                      <a:lnTo>
                        <a:pt x="187" y="306"/>
                      </a:lnTo>
                      <a:lnTo>
                        <a:pt x="181" y="308"/>
                      </a:lnTo>
                      <a:lnTo>
                        <a:pt x="181" y="308"/>
                      </a:lnTo>
                      <a:lnTo>
                        <a:pt x="178" y="310"/>
                      </a:lnTo>
                      <a:lnTo>
                        <a:pt x="174" y="323"/>
                      </a:lnTo>
                      <a:lnTo>
                        <a:pt x="168" y="338"/>
                      </a:lnTo>
                      <a:lnTo>
                        <a:pt x="163" y="352"/>
                      </a:lnTo>
                      <a:lnTo>
                        <a:pt x="157" y="367"/>
                      </a:lnTo>
                      <a:lnTo>
                        <a:pt x="157" y="367"/>
                      </a:lnTo>
                      <a:lnTo>
                        <a:pt x="154" y="367"/>
                      </a:lnTo>
                      <a:lnTo>
                        <a:pt x="150" y="367"/>
                      </a:lnTo>
                      <a:lnTo>
                        <a:pt x="144" y="367"/>
                      </a:lnTo>
                      <a:lnTo>
                        <a:pt x="143" y="367"/>
                      </a:lnTo>
                      <a:lnTo>
                        <a:pt x="143" y="371"/>
                      </a:lnTo>
                      <a:lnTo>
                        <a:pt x="144" y="374"/>
                      </a:lnTo>
                      <a:lnTo>
                        <a:pt x="144" y="374"/>
                      </a:lnTo>
                      <a:lnTo>
                        <a:pt x="144" y="374"/>
                      </a:lnTo>
                      <a:lnTo>
                        <a:pt x="146" y="373"/>
                      </a:lnTo>
                      <a:lnTo>
                        <a:pt x="146" y="373"/>
                      </a:lnTo>
                      <a:lnTo>
                        <a:pt x="148" y="374"/>
                      </a:lnTo>
                      <a:lnTo>
                        <a:pt x="150" y="376"/>
                      </a:lnTo>
                      <a:lnTo>
                        <a:pt x="150" y="376"/>
                      </a:lnTo>
                      <a:lnTo>
                        <a:pt x="148" y="378"/>
                      </a:lnTo>
                      <a:lnTo>
                        <a:pt x="146" y="380"/>
                      </a:lnTo>
                      <a:lnTo>
                        <a:pt x="146" y="380"/>
                      </a:lnTo>
                      <a:lnTo>
                        <a:pt x="143" y="380"/>
                      </a:lnTo>
                      <a:lnTo>
                        <a:pt x="139" y="382"/>
                      </a:lnTo>
                      <a:lnTo>
                        <a:pt x="135" y="382"/>
                      </a:lnTo>
                      <a:lnTo>
                        <a:pt x="131" y="384"/>
                      </a:lnTo>
                      <a:lnTo>
                        <a:pt x="130" y="387"/>
                      </a:lnTo>
                      <a:lnTo>
                        <a:pt x="126" y="391"/>
                      </a:lnTo>
                      <a:lnTo>
                        <a:pt x="124" y="395"/>
                      </a:lnTo>
                      <a:lnTo>
                        <a:pt x="122" y="398"/>
                      </a:lnTo>
                      <a:lnTo>
                        <a:pt x="119" y="406"/>
                      </a:lnTo>
                      <a:lnTo>
                        <a:pt x="113" y="411"/>
                      </a:lnTo>
                      <a:lnTo>
                        <a:pt x="107" y="417"/>
                      </a:lnTo>
                      <a:lnTo>
                        <a:pt x="100" y="422"/>
                      </a:lnTo>
                      <a:lnTo>
                        <a:pt x="95" y="428"/>
                      </a:lnTo>
                      <a:lnTo>
                        <a:pt x="87" y="434"/>
                      </a:lnTo>
                      <a:lnTo>
                        <a:pt x="93" y="437"/>
                      </a:lnTo>
                      <a:lnTo>
                        <a:pt x="100" y="441"/>
                      </a:lnTo>
                      <a:lnTo>
                        <a:pt x="107" y="445"/>
                      </a:lnTo>
                      <a:lnTo>
                        <a:pt x="115" y="448"/>
                      </a:lnTo>
                      <a:lnTo>
                        <a:pt x="115" y="448"/>
                      </a:lnTo>
                      <a:lnTo>
                        <a:pt x="115" y="452"/>
                      </a:lnTo>
                      <a:lnTo>
                        <a:pt x="115" y="456"/>
                      </a:lnTo>
                      <a:lnTo>
                        <a:pt x="115" y="459"/>
                      </a:lnTo>
                      <a:lnTo>
                        <a:pt x="115" y="463"/>
                      </a:lnTo>
                      <a:lnTo>
                        <a:pt x="119" y="463"/>
                      </a:lnTo>
                      <a:lnTo>
                        <a:pt x="124" y="463"/>
                      </a:lnTo>
                      <a:lnTo>
                        <a:pt x="124" y="459"/>
                      </a:lnTo>
                      <a:lnTo>
                        <a:pt x="124" y="452"/>
                      </a:lnTo>
                      <a:lnTo>
                        <a:pt x="137" y="456"/>
                      </a:lnTo>
                      <a:lnTo>
                        <a:pt x="148" y="458"/>
                      </a:lnTo>
                      <a:lnTo>
                        <a:pt x="159" y="459"/>
                      </a:lnTo>
                      <a:lnTo>
                        <a:pt x="170" y="461"/>
                      </a:lnTo>
                      <a:lnTo>
                        <a:pt x="170" y="461"/>
                      </a:lnTo>
                      <a:lnTo>
                        <a:pt x="174" y="469"/>
                      </a:lnTo>
                      <a:lnTo>
                        <a:pt x="176" y="474"/>
                      </a:lnTo>
                      <a:lnTo>
                        <a:pt x="178" y="480"/>
                      </a:lnTo>
                      <a:lnTo>
                        <a:pt x="179" y="485"/>
                      </a:lnTo>
                      <a:lnTo>
                        <a:pt x="185" y="485"/>
                      </a:lnTo>
                      <a:lnTo>
                        <a:pt x="192" y="485"/>
                      </a:lnTo>
                      <a:lnTo>
                        <a:pt x="192" y="485"/>
                      </a:lnTo>
                      <a:lnTo>
                        <a:pt x="192" y="487"/>
                      </a:lnTo>
                      <a:lnTo>
                        <a:pt x="192" y="487"/>
                      </a:lnTo>
                      <a:lnTo>
                        <a:pt x="191" y="489"/>
                      </a:lnTo>
                      <a:lnTo>
                        <a:pt x="191" y="491"/>
                      </a:lnTo>
                      <a:lnTo>
                        <a:pt x="191" y="491"/>
                      </a:lnTo>
                      <a:lnTo>
                        <a:pt x="189" y="493"/>
                      </a:lnTo>
                      <a:lnTo>
                        <a:pt x="189" y="493"/>
                      </a:lnTo>
                      <a:lnTo>
                        <a:pt x="185" y="494"/>
                      </a:lnTo>
                      <a:lnTo>
                        <a:pt x="178" y="496"/>
                      </a:lnTo>
                      <a:lnTo>
                        <a:pt x="179" y="500"/>
                      </a:lnTo>
                      <a:lnTo>
                        <a:pt x="181" y="505"/>
                      </a:lnTo>
                      <a:lnTo>
                        <a:pt x="179" y="505"/>
                      </a:lnTo>
                      <a:lnTo>
                        <a:pt x="172" y="505"/>
                      </a:lnTo>
                      <a:lnTo>
                        <a:pt x="163" y="504"/>
                      </a:lnTo>
                      <a:lnTo>
                        <a:pt x="155" y="504"/>
                      </a:lnTo>
                      <a:lnTo>
                        <a:pt x="148" y="504"/>
                      </a:lnTo>
                      <a:lnTo>
                        <a:pt x="148" y="507"/>
                      </a:lnTo>
                      <a:lnTo>
                        <a:pt x="148" y="515"/>
                      </a:lnTo>
                      <a:lnTo>
                        <a:pt x="135" y="515"/>
                      </a:lnTo>
                      <a:lnTo>
                        <a:pt x="122" y="515"/>
                      </a:lnTo>
                      <a:lnTo>
                        <a:pt x="109" y="515"/>
                      </a:lnTo>
                      <a:lnTo>
                        <a:pt x="96" y="515"/>
                      </a:lnTo>
                      <a:lnTo>
                        <a:pt x="96" y="513"/>
                      </a:lnTo>
                      <a:lnTo>
                        <a:pt x="98" y="511"/>
                      </a:lnTo>
                      <a:lnTo>
                        <a:pt x="98" y="511"/>
                      </a:lnTo>
                      <a:lnTo>
                        <a:pt x="98" y="507"/>
                      </a:lnTo>
                      <a:lnTo>
                        <a:pt x="100" y="504"/>
                      </a:lnTo>
                      <a:lnTo>
                        <a:pt x="102" y="500"/>
                      </a:lnTo>
                      <a:lnTo>
                        <a:pt x="102" y="500"/>
                      </a:lnTo>
                      <a:lnTo>
                        <a:pt x="104" y="498"/>
                      </a:lnTo>
                      <a:lnTo>
                        <a:pt x="107" y="498"/>
                      </a:lnTo>
                      <a:lnTo>
                        <a:pt x="111" y="496"/>
                      </a:lnTo>
                      <a:lnTo>
                        <a:pt x="111" y="496"/>
                      </a:lnTo>
                      <a:lnTo>
                        <a:pt x="113" y="496"/>
                      </a:lnTo>
                      <a:lnTo>
                        <a:pt x="113" y="491"/>
                      </a:lnTo>
                      <a:lnTo>
                        <a:pt x="113" y="487"/>
                      </a:lnTo>
                      <a:lnTo>
                        <a:pt x="109" y="487"/>
                      </a:lnTo>
                      <a:lnTo>
                        <a:pt x="104" y="487"/>
                      </a:lnTo>
                      <a:lnTo>
                        <a:pt x="102" y="487"/>
                      </a:lnTo>
                      <a:lnTo>
                        <a:pt x="100" y="483"/>
                      </a:lnTo>
                      <a:lnTo>
                        <a:pt x="98" y="480"/>
                      </a:lnTo>
                      <a:lnTo>
                        <a:pt x="96" y="476"/>
                      </a:lnTo>
                      <a:lnTo>
                        <a:pt x="95" y="472"/>
                      </a:lnTo>
                      <a:lnTo>
                        <a:pt x="89" y="476"/>
                      </a:lnTo>
                      <a:lnTo>
                        <a:pt x="84" y="478"/>
                      </a:lnTo>
                      <a:lnTo>
                        <a:pt x="76" y="481"/>
                      </a:lnTo>
                      <a:lnTo>
                        <a:pt x="71" y="483"/>
                      </a:lnTo>
                      <a:lnTo>
                        <a:pt x="72" y="485"/>
                      </a:lnTo>
                      <a:lnTo>
                        <a:pt x="78" y="489"/>
                      </a:lnTo>
                      <a:lnTo>
                        <a:pt x="76" y="489"/>
                      </a:lnTo>
                      <a:lnTo>
                        <a:pt x="71" y="491"/>
                      </a:lnTo>
                      <a:lnTo>
                        <a:pt x="65" y="493"/>
                      </a:lnTo>
                      <a:lnTo>
                        <a:pt x="65" y="496"/>
                      </a:lnTo>
                      <a:lnTo>
                        <a:pt x="65" y="500"/>
                      </a:lnTo>
                      <a:lnTo>
                        <a:pt x="65" y="504"/>
                      </a:lnTo>
                      <a:lnTo>
                        <a:pt x="65" y="507"/>
                      </a:lnTo>
                      <a:lnTo>
                        <a:pt x="71" y="509"/>
                      </a:lnTo>
                      <a:lnTo>
                        <a:pt x="71" y="509"/>
                      </a:lnTo>
                      <a:lnTo>
                        <a:pt x="74" y="511"/>
                      </a:lnTo>
                      <a:lnTo>
                        <a:pt x="74" y="511"/>
                      </a:lnTo>
                      <a:lnTo>
                        <a:pt x="76" y="520"/>
                      </a:lnTo>
                      <a:lnTo>
                        <a:pt x="76" y="520"/>
                      </a:lnTo>
                      <a:lnTo>
                        <a:pt x="76" y="528"/>
                      </a:lnTo>
                      <a:lnTo>
                        <a:pt x="76" y="535"/>
                      </a:lnTo>
                      <a:lnTo>
                        <a:pt x="76" y="542"/>
                      </a:lnTo>
                      <a:lnTo>
                        <a:pt x="76" y="542"/>
                      </a:lnTo>
                      <a:lnTo>
                        <a:pt x="74" y="550"/>
                      </a:lnTo>
                      <a:lnTo>
                        <a:pt x="72" y="557"/>
                      </a:lnTo>
                      <a:lnTo>
                        <a:pt x="72" y="557"/>
                      </a:lnTo>
                      <a:lnTo>
                        <a:pt x="71" y="563"/>
                      </a:lnTo>
                      <a:lnTo>
                        <a:pt x="71" y="563"/>
                      </a:lnTo>
                      <a:lnTo>
                        <a:pt x="67" y="568"/>
                      </a:lnTo>
                      <a:lnTo>
                        <a:pt x="63" y="574"/>
                      </a:lnTo>
                      <a:lnTo>
                        <a:pt x="63" y="574"/>
                      </a:lnTo>
                      <a:lnTo>
                        <a:pt x="60" y="579"/>
                      </a:lnTo>
                      <a:lnTo>
                        <a:pt x="60" y="579"/>
                      </a:lnTo>
                      <a:lnTo>
                        <a:pt x="54" y="583"/>
                      </a:lnTo>
                      <a:lnTo>
                        <a:pt x="54" y="583"/>
                      </a:lnTo>
                      <a:lnTo>
                        <a:pt x="48" y="587"/>
                      </a:lnTo>
                      <a:lnTo>
                        <a:pt x="43" y="590"/>
                      </a:lnTo>
                      <a:lnTo>
                        <a:pt x="36" y="594"/>
                      </a:lnTo>
                      <a:lnTo>
                        <a:pt x="28" y="598"/>
                      </a:lnTo>
                      <a:lnTo>
                        <a:pt x="21" y="600"/>
                      </a:lnTo>
                      <a:lnTo>
                        <a:pt x="21" y="603"/>
                      </a:lnTo>
                      <a:lnTo>
                        <a:pt x="21" y="607"/>
                      </a:lnTo>
                      <a:lnTo>
                        <a:pt x="23" y="613"/>
                      </a:lnTo>
                      <a:lnTo>
                        <a:pt x="23" y="618"/>
                      </a:lnTo>
                      <a:lnTo>
                        <a:pt x="21" y="618"/>
                      </a:lnTo>
                      <a:lnTo>
                        <a:pt x="15" y="618"/>
                      </a:lnTo>
                      <a:lnTo>
                        <a:pt x="12" y="618"/>
                      </a:lnTo>
                      <a:lnTo>
                        <a:pt x="8" y="625"/>
                      </a:lnTo>
                      <a:lnTo>
                        <a:pt x="6" y="635"/>
                      </a:lnTo>
                      <a:lnTo>
                        <a:pt x="4" y="642"/>
                      </a:lnTo>
                      <a:lnTo>
                        <a:pt x="0" y="649"/>
                      </a:lnTo>
                      <a:lnTo>
                        <a:pt x="8" y="651"/>
                      </a:lnTo>
                      <a:lnTo>
                        <a:pt x="17" y="651"/>
                      </a:lnTo>
                      <a:lnTo>
                        <a:pt x="24" y="653"/>
                      </a:lnTo>
                      <a:lnTo>
                        <a:pt x="34" y="655"/>
                      </a:lnTo>
                      <a:lnTo>
                        <a:pt x="34" y="655"/>
                      </a:lnTo>
                      <a:lnTo>
                        <a:pt x="36" y="660"/>
                      </a:lnTo>
                      <a:lnTo>
                        <a:pt x="37" y="664"/>
                      </a:lnTo>
                      <a:lnTo>
                        <a:pt x="39" y="668"/>
                      </a:lnTo>
                      <a:lnTo>
                        <a:pt x="43" y="672"/>
                      </a:lnTo>
                      <a:lnTo>
                        <a:pt x="47" y="673"/>
                      </a:lnTo>
                      <a:lnTo>
                        <a:pt x="50" y="677"/>
                      </a:lnTo>
                      <a:lnTo>
                        <a:pt x="54" y="679"/>
                      </a:lnTo>
                      <a:lnTo>
                        <a:pt x="58" y="681"/>
                      </a:lnTo>
                      <a:lnTo>
                        <a:pt x="58" y="681"/>
                      </a:lnTo>
                      <a:lnTo>
                        <a:pt x="61" y="684"/>
                      </a:lnTo>
                      <a:lnTo>
                        <a:pt x="65" y="686"/>
                      </a:lnTo>
                      <a:lnTo>
                        <a:pt x="69" y="690"/>
                      </a:lnTo>
                      <a:lnTo>
                        <a:pt x="69" y="690"/>
                      </a:lnTo>
                      <a:lnTo>
                        <a:pt x="72" y="694"/>
                      </a:lnTo>
                      <a:lnTo>
                        <a:pt x="76" y="696"/>
                      </a:lnTo>
                      <a:lnTo>
                        <a:pt x="76" y="696"/>
                      </a:lnTo>
                      <a:lnTo>
                        <a:pt x="78" y="701"/>
                      </a:lnTo>
                      <a:lnTo>
                        <a:pt x="78" y="701"/>
                      </a:lnTo>
                      <a:lnTo>
                        <a:pt x="78" y="703"/>
                      </a:lnTo>
                      <a:lnTo>
                        <a:pt x="80" y="705"/>
                      </a:lnTo>
                      <a:lnTo>
                        <a:pt x="80" y="705"/>
                      </a:lnTo>
                      <a:lnTo>
                        <a:pt x="80" y="707"/>
                      </a:lnTo>
                      <a:lnTo>
                        <a:pt x="80" y="710"/>
                      </a:lnTo>
                      <a:lnTo>
                        <a:pt x="80" y="710"/>
                      </a:lnTo>
                      <a:lnTo>
                        <a:pt x="74" y="714"/>
                      </a:lnTo>
                      <a:lnTo>
                        <a:pt x="69" y="718"/>
                      </a:lnTo>
                      <a:lnTo>
                        <a:pt x="63" y="721"/>
                      </a:lnTo>
                      <a:lnTo>
                        <a:pt x="58" y="727"/>
                      </a:lnTo>
                      <a:lnTo>
                        <a:pt x="58" y="731"/>
                      </a:lnTo>
                      <a:lnTo>
                        <a:pt x="58" y="731"/>
                      </a:lnTo>
                      <a:lnTo>
                        <a:pt x="58" y="734"/>
                      </a:lnTo>
                      <a:lnTo>
                        <a:pt x="58" y="738"/>
                      </a:lnTo>
                      <a:lnTo>
                        <a:pt x="58" y="738"/>
                      </a:lnTo>
                      <a:lnTo>
                        <a:pt x="58" y="742"/>
                      </a:lnTo>
                      <a:lnTo>
                        <a:pt x="56" y="747"/>
                      </a:lnTo>
                      <a:lnTo>
                        <a:pt x="52" y="755"/>
                      </a:lnTo>
                      <a:lnTo>
                        <a:pt x="50" y="760"/>
                      </a:lnTo>
                      <a:lnTo>
                        <a:pt x="47" y="766"/>
                      </a:lnTo>
                      <a:lnTo>
                        <a:pt x="45" y="773"/>
                      </a:lnTo>
                      <a:lnTo>
                        <a:pt x="41" y="779"/>
                      </a:lnTo>
                      <a:lnTo>
                        <a:pt x="37" y="784"/>
                      </a:lnTo>
                      <a:lnTo>
                        <a:pt x="36" y="790"/>
                      </a:lnTo>
                      <a:lnTo>
                        <a:pt x="34" y="795"/>
                      </a:lnTo>
                      <a:lnTo>
                        <a:pt x="30" y="803"/>
                      </a:lnTo>
                      <a:lnTo>
                        <a:pt x="30" y="808"/>
                      </a:lnTo>
                      <a:lnTo>
                        <a:pt x="28" y="816"/>
                      </a:lnTo>
                      <a:lnTo>
                        <a:pt x="28" y="819"/>
                      </a:lnTo>
                      <a:lnTo>
                        <a:pt x="28" y="821"/>
                      </a:lnTo>
                      <a:lnTo>
                        <a:pt x="28" y="827"/>
                      </a:lnTo>
                      <a:lnTo>
                        <a:pt x="28" y="828"/>
                      </a:lnTo>
                      <a:lnTo>
                        <a:pt x="34" y="828"/>
                      </a:lnTo>
                      <a:lnTo>
                        <a:pt x="39" y="828"/>
                      </a:lnTo>
                      <a:lnTo>
                        <a:pt x="39" y="830"/>
                      </a:lnTo>
                      <a:lnTo>
                        <a:pt x="39" y="836"/>
                      </a:lnTo>
                      <a:lnTo>
                        <a:pt x="39" y="841"/>
                      </a:lnTo>
                      <a:lnTo>
                        <a:pt x="39" y="847"/>
                      </a:lnTo>
                      <a:lnTo>
                        <a:pt x="39" y="852"/>
                      </a:lnTo>
                      <a:lnTo>
                        <a:pt x="48" y="856"/>
                      </a:lnTo>
                      <a:lnTo>
                        <a:pt x="56" y="860"/>
                      </a:lnTo>
                      <a:lnTo>
                        <a:pt x="65" y="862"/>
                      </a:lnTo>
                      <a:lnTo>
                        <a:pt x="74" y="863"/>
                      </a:lnTo>
                      <a:lnTo>
                        <a:pt x="82" y="863"/>
                      </a:lnTo>
                      <a:lnTo>
                        <a:pt x="91" y="865"/>
                      </a:lnTo>
                      <a:lnTo>
                        <a:pt x="100" y="865"/>
                      </a:lnTo>
                      <a:lnTo>
                        <a:pt x="111" y="865"/>
                      </a:lnTo>
                      <a:lnTo>
                        <a:pt x="111" y="865"/>
                      </a:lnTo>
                      <a:lnTo>
                        <a:pt x="115" y="869"/>
                      </a:lnTo>
                      <a:lnTo>
                        <a:pt x="117" y="873"/>
                      </a:lnTo>
                      <a:lnTo>
                        <a:pt x="117" y="873"/>
                      </a:lnTo>
                      <a:lnTo>
                        <a:pt x="117" y="876"/>
                      </a:lnTo>
                      <a:lnTo>
                        <a:pt x="119" y="880"/>
                      </a:lnTo>
                      <a:lnTo>
                        <a:pt x="119" y="880"/>
                      </a:lnTo>
                      <a:lnTo>
                        <a:pt x="120" y="887"/>
                      </a:lnTo>
                      <a:lnTo>
                        <a:pt x="122" y="899"/>
                      </a:lnTo>
                      <a:lnTo>
                        <a:pt x="126" y="899"/>
                      </a:lnTo>
                      <a:lnTo>
                        <a:pt x="130" y="899"/>
                      </a:lnTo>
                      <a:lnTo>
                        <a:pt x="133" y="899"/>
                      </a:lnTo>
                      <a:lnTo>
                        <a:pt x="139" y="899"/>
                      </a:lnTo>
                      <a:lnTo>
                        <a:pt x="144" y="897"/>
                      </a:lnTo>
                      <a:lnTo>
                        <a:pt x="152" y="893"/>
                      </a:lnTo>
                      <a:lnTo>
                        <a:pt x="157" y="891"/>
                      </a:lnTo>
                      <a:lnTo>
                        <a:pt x="167" y="887"/>
                      </a:lnTo>
                      <a:lnTo>
                        <a:pt x="167" y="889"/>
                      </a:lnTo>
                      <a:lnTo>
                        <a:pt x="167" y="895"/>
                      </a:lnTo>
                      <a:lnTo>
                        <a:pt x="168" y="902"/>
                      </a:lnTo>
                      <a:lnTo>
                        <a:pt x="170" y="910"/>
                      </a:lnTo>
                      <a:lnTo>
                        <a:pt x="172" y="915"/>
                      </a:lnTo>
                      <a:lnTo>
                        <a:pt x="189" y="913"/>
                      </a:lnTo>
                      <a:lnTo>
                        <a:pt x="209" y="910"/>
                      </a:lnTo>
                      <a:lnTo>
                        <a:pt x="222" y="908"/>
                      </a:lnTo>
                      <a:lnTo>
                        <a:pt x="233" y="904"/>
                      </a:lnTo>
                      <a:lnTo>
                        <a:pt x="246" y="902"/>
                      </a:lnTo>
                      <a:lnTo>
                        <a:pt x="259" y="899"/>
                      </a:lnTo>
                      <a:lnTo>
                        <a:pt x="270" y="895"/>
                      </a:lnTo>
                      <a:lnTo>
                        <a:pt x="283" y="891"/>
                      </a:lnTo>
                      <a:lnTo>
                        <a:pt x="288" y="889"/>
                      </a:lnTo>
                      <a:lnTo>
                        <a:pt x="294" y="887"/>
                      </a:lnTo>
                      <a:lnTo>
                        <a:pt x="298" y="884"/>
                      </a:lnTo>
                      <a:lnTo>
                        <a:pt x="303" y="882"/>
                      </a:lnTo>
                      <a:lnTo>
                        <a:pt x="307" y="878"/>
                      </a:lnTo>
                      <a:lnTo>
                        <a:pt x="312" y="876"/>
                      </a:lnTo>
                      <a:lnTo>
                        <a:pt x="316" y="873"/>
                      </a:lnTo>
                      <a:lnTo>
                        <a:pt x="320" y="869"/>
                      </a:lnTo>
                      <a:lnTo>
                        <a:pt x="322" y="867"/>
                      </a:lnTo>
                      <a:lnTo>
                        <a:pt x="325" y="863"/>
                      </a:lnTo>
                      <a:lnTo>
                        <a:pt x="327" y="860"/>
                      </a:lnTo>
                      <a:lnTo>
                        <a:pt x="329" y="856"/>
                      </a:lnTo>
                      <a:lnTo>
                        <a:pt x="327" y="856"/>
                      </a:lnTo>
                      <a:lnTo>
                        <a:pt x="323" y="856"/>
                      </a:lnTo>
                      <a:lnTo>
                        <a:pt x="323" y="856"/>
                      </a:lnTo>
                      <a:lnTo>
                        <a:pt x="323" y="851"/>
                      </a:lnTo>
                      <a:lnTo>
                        <a:pt x="323" y="845"/>
                      </a:lnTo>
                      <a:lnTo>
                        <a:pt x="323" y="839"/>
                      </a:lnTo>
                      <a:lnTo>
                        <a:pt x="323" y="832"/>
                      </a:lnTo>
                      <a:lnTo>
                        <a:pt x="323" y="832"/>
                      </a:lnTo>
                      <a:lnTo>
                        <a:pt x="329" y="832"/>
                      </a:lnTo>
                      <a:lnTo>
                        <a:pt x="334" y="832"/>
                      </a:lnTo>
                      <a:lnTo>
                        <a:pt x="334" y="830"/>
                      </a:lnTo>
                      <a:lnTo>
                        <a:pt x="334" y="825"/>
                      </a:lnTo>
                      <a:lnTo>
                        <a:pt x="334" y="821"/>
                      </a:lnTo>
                      <a:lnTo>
                        <a:pt x="334" y="817"/>
                      </a:lnTo>
                      <a:lnTo>
                        <a:pt x="342" y="814"/>
                      </a:lnTo>
                      <a:lnTo>
                        <a:pt x="351" y="812"/>
                      </a:lnTo>
                      <a:lnTo>
                        <a:pt x="358" y="810"/>
                      </a:lnTo>
                      <a:lnTo>
                        <a:pt x="366" y="806"/>
                      </a:lnTo>
                      <a:lnTo>
                        <a:pt x="364" y="804"/>
                      </a:lnTo>
                      <a:lnTo>
                        <a:pt x="364" y="801"/>
                      </a:lnTo>
                      <a:lnTo>
                        <a:pt x="362" y="799"/>
                      </a:lnTo>
                      <a:lnTo>
                        <a:pt x="362" y="799"/>
                      </a:lnTo>
                      <a:lnTo>
                        <a:pt x="362" y="795"/>
                      </a:lnTo>
                      <a:lnTo>
                        <a:pt x="362" y="795"/>
                      </a:lnTo>
                      <a:lnTo>
                        <a:pt x="368" y="795"/>
                      </a:lnTo>
                      <a:lnTo>
                        <a:pt x="373" y="795"/>
                      </a:lnTo>
                      <a:lnTo>
                        <a:pt x="373" y="790"/>
                      </a:lnTo>
                      <a:lnTo>
                        <a:pt x="373" y="784"/>
                      </a:lnTo>
                      <a:lnTo>
                        <a:pt x="373" y="784"/>
                      </a:lnTo>
                      <a:lnTo>
                        <a:pt x="379" y="786"/>
                      </a:lnTo>
                      <a:lnTo>
                        <a:pt x="384" y="786"/>
                      </a:lnTo>
                      <a:lnTo>
                        <a:pt x="390" y="788"/>
                      </a:lnTo>
                      <a:lnTo>
                        <a:pt x="395" y="790"/>
                      </a:lnTo>
                      <a:lnTo>
                        <a:pt x="395" y="784"/>
                      </a:lnTo>
                      <a:lnTo>
                        <a:pt x="395" y="779"/>
                      </a:lnTo>
                      <a:lnTo>
                        <a:pt x="395" y="779"/>
                      </a:lnTo>
                      <a:lnTo>
                        <a:pt x="397" y="777"/>
                      </a:lnTo>
                      <a:lnTo>
                        <a:pt x="401" y="777"/>
                      </a:lnTo>
                      <a:lnTo>
                        <a:pt x="403" y="775"/>
                      </a:lnTo>
                      <a:lnTo>
                        <a:pt x="405" y="775"/>
                      </a:lnTo>
                      <a:lnTo>
                        <a:pt x="406" y="773"/>
                      </a:lnTo>
                      <a:lnTo>
                        <a:pt x="408" y="771"/>
                      </a:lnTo>
                      <a:lnTo>
                        <a:pt x="410" y="769"/>
                      </a:lnTo>
                      <a:lnTo>
                        <a:pt x="410" y="769"/>
                      </a:lnTo>
                      <a:lnTo>
                        <a:pt x="412" y="766"/>
                      </a:lnTo>
                      <a:lnTo>
                        <a:pt x="414" y="760"/>
                      </a:lnTo>
                      <a:lnTo>
                        <a:pt x="414" y="755"/>
                      </a:lnTo>
                      <a:lnTo>
                        <a:pt x="414" y="749"/>
                      </a:lnTo>
                      <a:lnTo>
                        <a:pt x="425" y="749"/>
                      </a:lnTo>
                      <a:lnTo>
                        <a:pt x="436" y="747"/>
                      </a:lnTo>
                      <a:lnTo>
                        <a:pt x="445" y="747"/>
                      </a:lnTo>
                      <a:lnTo>
                        <a:pt x="454" y="745"/>
                      </a:lnTo>
                      <a:lnTo>
                        <a:pt x="454" y="742"/>
                      </a:lnTo>
                      <a:lnTo>
                        <a:pt x="454" y="738"/>
                      </a:lnTo>
                      <a:lnTo>
                        <a:pt x="454" y="734"/>
                      </a:lnTo>
                      <a:lnTo>
                        <a:pt x="454" y="729"/>
                      </a:lnTo>
                      <a:lnTo>
                        <a:pt x="454" y="729"/>
                      </a:lnTo>
                      <a:lnTo>
                        <a:pt x="464" y="729"/>
                      </a:lnTo>
                      <a:lnTo>
                        <a:pt x="469" y="729"/>
                      </a:lnTo>
                      <a:lnTo>
                        <a:pt x="477" y="727"/>
                      </a:lnTo>
                      <a:lnTo>
                        <a:pt x="482" y="727"/>
                      </a:lnTo>
                      <a:lnTo>
                        <a:pt x="490" y="725"/>
                      </a:lnTo>
                      <a:lnTo>
                        <a:pt x="495" y="723"/>
                      </a:lnTo>
                      <a:lnTo>
                        <a:pt x="497" y="721"/>
                      </a:lnTo>
                      <a:lnTo>
                        <a:pt x="501" y="720"/>
                      </a:lnTo>
                      <a:lnTo>
                        <a:pt x="501" y="720"/>
                      </a:lnTo>
                      <a:lnTo>
                        <a:pt x="504" y="718"/>
                      </a:lnTo>
                      <a:lnTo>
                        <a:pt x="506" y="716"/>
                      </a:lnTo>
                      <a:lnTo>
                        <a:pt x="508" y="716"/>
                      </a:lnTo>
                      <a:lnTo>
                        <a:pt x="512" y="716"/>
                      </a:lnTo>
                      <a:lnTo>
                        <a:pt x="515" y="718"/>
                      </a:lnTo>
                      <a:lnTo>
                        <a:pt x="519" y="720"/>
                      </a:lnTo>
                      <a:lnTo>
                        <a:pt x="523" y="721"/>
                      </a:lnTo>
                      <a:lnTo>
                        <a:pt x="526" y="736"/>
                      </a:lnTo>
                      <a:lnTo>
                        <a:pt x="530" y="749"/>
                      </a:lnTo>
                      <a:lnTo>
                        <a:pt x="536" y="764"/>
                      </a:lnTo>
                      <a:lnTo>
                        <a:pt x="539" y="777"/>
                      </a:lnTo>
                      <a:lnTo>
                        <a:pt x="545" y="777"/>
                      </a:lnTo>
                      <a:lnTo>
                        <a:pt x="550" y="775"/>
                      </a:lnTo>
                      <a:lnTo>
                        <a:pt x="556" y="773"/>
                      </a:lnTo>
                      <a:lnTo>
                        <a:pt x="563" y="771"/>
                      </a:lnTo>
                      <a:lnTo>
                        <a:pt x="574" y="768"/>
                      </a:lnTo>
                      <a:lnTo>
                        <a:pt x="587" y="764"/>
                      </a:lnTo>
                      <a:lnTo>
                        <a:pt x="598" y="758"/>
                      </a:lnTo>
                      <a:lnTo>
                        <a:pt x="611" y="755"/>
                      </a:lnTo>
                      <a:lnTo>
                        <a:pt x="617" y="753"/>
                      </a:lnTo>
                      <a:lnTo>
                        <a:pt x="624" y="751"/>
                      </a:lnTo>
                      <a:lnTo>
                        <a:pt x="632" y="751"/>
                      </a:lnTo>
                      <a:lnTo>
                        <a:pt x="632" y="751"/>
                      </a:lnTo>
                      <a:lnTo>
                        <a:pt x="639" y="751"/>
                      </a:lnTo>
                      <a:lnTo>
                        <a:pt x="641" y="738"/>
                      </a:lnTo>
                      <a:lnTo>
                        <a:pt x="643" y="731"/>
                      </a:lnTo>
                      <a:lnTo>
                        <a:pt x="643" y="727"/>
                      </a:lnTo>
                      <a:lnTo>
                        <a:pt x="643" y="725"/>
                      </a:lnTo>
                      <a:lnTo>
                        <a:pt x="641" y="721"/>
                      </a:lnTo>
                      <a:lnTo>
                        <a:pt x="641" y="718"/>
                      </a:lnTo>
                      <a:lnTo>
                        <a:pt x="641" y="718"/>
                      </a:lnTo>
                      <a:lnTo>
                        <a:pt x="646" y="718"/>
                      </a:lnTo>
                      <a:lnTo>
                        <a:pt x="652" y="718"/>
                      </a:lnTo>
                      <a:lnTo>
                        <a:pt x="652" y="708"/>
                      </a:lnTo>
                      <a:lnTo>
                        <a:pt x="654" y="701"/>
                      </a:lnTo>
                      <a:lnTo>
                        <a:pt x="654" y="694"/>
                      </a:lnTo>
                      <a:lnTo>
                        <a:pt x="656" y="686"/>
                      </a:lnTo>
                      <a:lnTo>
                        <a:pt x="659" y="677"/>
                      </a:lnTo>
                      <a:lnTo>
                        <a:pt x="661" y="664"/>
                      </a:lnTo>
                      <a:lnTo>
                        <a:pt x="667" y="649"/>
                      </a:lnTo>
                      <a:lnTo>
                        <a:pt x="672" y="629"/>
                      </a:lnTo>
                      <a:lnTo>
                        <a:pt x="672" y="629"/>
                      </a:lnTo>
                      <a:lnTo>
                        <a:pt x="676" y="627"/>
                      </a:lnTo>
                      <a:lnTo>
                        <a:pt x="681" y="625"/>
                      </a:lnTo>
                      <a:lnTo>
                        <a:pt x="681" y="625"/>
                      </a:lnTo>
                      <a:lnTo>
                        <a:pt x="685" y="625"/>
                      </a:lnTo>
                      <a:lnTo>
                        <a:pt x="691" y="624"/>
                      </a:lnTo>
                      <a:lnTo>
                        <a:pt x="691" y="625"/>
                      </a:lnTo>
                      <a:lnTo>
                        <a:pt x="691" y="631"/>
                      </a:lnTo>
                      <a:lnTo>
                        <a:pt x="691" y="635"/>
                      </a:lnTo>
                      <a:lnTo>
                        <a:pt x="702" y="635"/>
                      </a:lnTo>
                      <a:lnTo>
                        <a:pt x="713" y="635"/>
                      </a:lnTo>
                      <a:lnTo>
                        <a:pt x="724" y="635"/>
                      </a:lnTo>
                      <a:lnTo>
                        <a:pt x="735" y="635"/>
                      </a:lnTo>
                      <a:lnTo>
                        <a:pt x="735" y="633"/>
                      </a:lnTo>
                      <a:lnTo>
                        <a:pt x="735" y="625"/>
                      </a:lnTo>
                      <a:lnTo>
                        <a:pt x="733" y="618"/>
                      </a:lnTo>
                      <a:lnTo>
                        <a:pt x="733" y="611"/>
                      </a:lnTo>
                      <a:lnTo>
                        <a:pt x="731" y="594"/>
                      </a:lnTo>
                      <a:lnTo>
                        <a:pt x="729" y="577"/>
                      </a:lnTo>
                      <a:lnTo>
                        <a:pt x="728" y="563"/>
                      </a:lnTo>
                      <a:lnTo>
                        <a:pt x="726" y="546"/>
                      </a:lnTo>
                      <a:lnTo>
                        <a:pt x="726" y="539"/>
                      </a:lnTo>
                      <a:lnTo>
                        <a:pt x="726" y="531"/>
                      </a:lnTo>
                      <a:lnTo>
                        <a:pt x="726" y="531"/>
                      </a:lnTo>
                      <a:lnTo>
                        <a:pt x="728" y="524"/>
                      </a:lnTo>
                      <a:lnTo>
                        <a:pt x="728" y="517"/>
                      </a:lnTo>
                      <a:lnTo>
                        <a:pt x="724" y="517"/>
                      </a:lnTo>
                      <a:lnTo>
                        <a:pt x="720" y="515"/>
                      </a:lnTo>
                      <a:lnTo>
                        <a:pt x="717" y="515"/>
                      </a:lnTo>
                      <a:lnTo>
                        <a:pt x="711" y="515"/>
                      </a:lnTo>
                      <a:lnTo>
                        <a:pt x="711" y="513"/>
                      </a:lnTo>
                      <a:lnTo>
                        <a:pt x="715" y="511"/>
                      </a:lnTo>
                      <a:lnTo>
                        <a:pt x="717" y="509"/>
                      </a:lnTo>
                      <a:lnTo>
                        <a:pt x="717" y="509"/>
                      </a:lnTo>
                      <a:lnTo>
                        <a:pt x="718" y="509"/>
                      </a:lnTo>
                      <a:lnTo>
                        <a:pt x="718" y="509"/>
                      </a:lnTo>
                      <a:lnTo>
                        <a:pt x="720" y="507"/>
                      </a:lnTo>
                      <a:lnTo>
                        <a:pt x="720" y="507"/>
                      </a:lnTo>
                      <a:lnTo>
                        <a:pt x="724" y="507"/>
                      </a:lnTo>
                      <a:lnTo>
                        <a:pt x="726" y="507"/>
                      </a:lnTo>
                      <a:lnTo>
                        <a:pt x="726" y="507"/>
                      </a:lnTo>
                      <a:lnTo>
                        <a:pt x="729" y="509"/>
                      </a:lnTo>
                      <a:lnTo>
                        <a:pt x="733" y="509"/>
                      </a:lnTo>
                      <a:lnTo>
                        <a:pt x="735" y="505"/>
                      </a:lnTo>
                      <a:lnTo>
                        <a:pt x="735" y="505"/>
                      </a:lnTo>
                      <a:lnTo>
                        <a:pt x="737" y="502"/>
                      </a:lnTo>
                      <a:lnTo>
                        <a:pt x="741" y="496"/>
                      </a:lnTo>
                      <a:lnTo>
                        <a:pt x="742" y="493"/>
                      </a:lnTo>
                      <a:lnTo>
                        <a:pt x="746" y="487"/>
                      </a:lnTo>
                      <a:lnTo>
                        <a:pt x="752" y="481"/>
                      </a:lnTo>
                      <a:lnTo>
                        <a:pt x="757" y="476"/>
                      </a:lnTo>
                      <a:lnTo>
                        <a:pt x="763" y="470"/>
                      </a:lnTo>
                      <a:lnTo>
                        <a:pt x="764" y="467"/>
                      </a:lnTo>
                      <a:lnTo>
                        <a:pt x="766" y="463"/>
                      </a:lnTo>
                      <a:lnTo>
                        <a:pt x="766" y="463"/>
                      </a:lnTo>
                      <a:lnTo>
                        <a:pt x="768" y="459"/>
                      </a:lnTo>
                      <a:lnTo>
                        <a:pt x="772" y="456"/>
                      </a:lnTo>
                      <a:lnTo>
                        <a:pt x="768" y="454"/>
                      </a:lnTo>
                      <a:lnTo>
                        <a:pt x="766" y="454"/>
                      </a:lnTo>
                      <a:lnTo>
                        <a:pt x="764" y="452"/>
                      </a:lnTo>
                      <a:lnTo>
                        <a:pt x="763" y="450"/>
                      </a:lnTo>
                      <a:lnTo>
                        <a:pt x="763" y="450"/>
                      </a:lnTo>
                      <a:lnTo>
                        <a:pt x="761" y="446"/>
                      </a:lnTo>
                      <a:lnTo>
                        <a:pt x="761" y="446"/>
                      </a:lnTo>
                      <a:lnTo>
                        <a:pt x="759" y="445"/>
                      </a:lnTo>
                      <a:lnTo>
                        <a:pt x="757" y="441"/>
                      </a:lnTo>
                      <a:lnTo>
                        <a:pt x="757" y="437"/>
                      </a:lnTo>
                      <a:lnTo>
                        <a:pt x="755" y="434"/>
                      </a:lnTo>
                      <a:lnTo>
                        <a:pt x="750" y="434"/>
                      </a:lnTo>
                      <a:lnTo>
                        <a:pt x="744" y="434"/>
                      </a:lnTo>
                      <a:lnTo>
                        <a:pt x="737" y="434"/>
                      </a:lnTo>
                      <a:lnTo>
                        <a:pt x="731" y="435"/>
                      </a:lnTo>
                      <a:lnTo>
                        <a:pt x="729" y="435"/>
                      </a:lnTo>
                      <a:lnTo>
                        <a:pt x="729" y="437"/>
                      </a:lnTo>
                      <a:lnTo>
                        <a:pt x="729" y="441"/>
                      </a:lnTo>
                      <a:lnTo>
                        <a:pt x="729" y="446"/>
                      </a:lnTo>
                      <a:lnTo>
                        <a:pt x="728" y="446"/>
                      </a:lnTo>
                      <a:lnTo>
                        <a:pt x="726" y="446"/>
                      </a:lnTo>
                      <a:lnTo>
                        <a:pt x="724" y="446"/>
                      </a:lnTo>
                      <a:lnTo>
                        <a:pt x="724" y="446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1"/>
                      </a:lnTo>
                      <a:lnTo>
                        <a:pt x="724" y="441"/>
                      </a:lnTo>
                      <a:lnTo>
                        <a:pt x="724" y="434"/>
                      </a:lnTo>
                      <a:lnTo>
                        <a:pt x="724" y="434"/>
                      </a:lnTo>
                      <a:lnTo>
                        <a:pt x="726" y="432"/>
                      </a:lnTo>
                      <a:lnTo>
                        <a:pt x="726" y="432"/>
                      </a:lnTo>
                      <a:lnTo>
                        <a:pt x="728" y="432"/>
                      </a:lnTo>
                      <a:lnTo>
                        <a:pt x="728" y="428"/>
                      </a:lnTo>
                      <a:lnTo>
                        <a:pt x="728" y="424"/>
                      </a:lnTo>
                      <a:lnTo>
                        <a:pt x="715" y="426"/>
                      </a:lnTo>
                      <a:lnTo>
                        <a:pt x="700" y="428"/>
                      </a:lnTo>
                      <a:lnTo>
                        <a:pt x="687" y="430"/>
                      </a:lnTo>
                      <a:lnTo>
                        <a:pt x="674" y="432"/>
                      </a:lnTo>
                      <a:lnTo>
                        <a:pt x="676" y="432"/>
                      </a:lnTo>
                      <a:lnTo>
                        <a:pt x="676" y="432"/>
                      </a:lnTo>
                      <a:lnTo>
                        <a:pt x="676" y="434"/>
                      </a:lnTo>
                      <a:lnTo>
                        <a:pt x="680" y="434"/>
                      </a:lnTo>
                      <a:lnTo>
                        <a:pt x="683" y="434"/>
                      </a:lnTo>
                      <a:lnTo>
                        <a:pt x="687" y="434"/>
                      </a:lnTo>
                      <a:lnTo>
                        <a:pt x="691" y="434"/>
                      </a:lnTo>
                      <a:lnTo>
                        <a:pt x="691" y="434"/>
                      </a:lnTo>
                      <a:lnTo>
                        <a:pt x="691" y="437"/>
                      </a:lnTo>
                      <a:lnTo>
                        <a:pt x="691" y="437"/>
                      </a:lnTo>
                      <a:lnTo>
                        <a:pt x="691" y="437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3" y="441"/>
                      </a:lnTo>
                      <a:lnTo>
                        <a:pt x="683" y="441"/>
                      </a:lnTo>
                      <a:lnTo>
                        <a:pt x="676" y="441"/>
                      </a:lnTo>
                      <a:lnTo>
                        <a:pt x="676" y="441"/>
                      </a:lnTo>
                      <a:lnTo>
                        <a:pt x="674" y="445"/>
                      </a:lnTo>
                      <a:lnTo>
                        <a:pt x="672" y="443"/>
                      </a:lnTo>
                      <a:lnTo>
                        <a:pt x="672" y="441"/>
                      </a:lnTo>
                      <a:lnTo>
                        <a:pt x="670" y="439"/>
                      </a:lnTo>
                      <a:lnTo>
                        <a:pt x="670" y="439"/>
                      </a:lnTo>
                      <a:lnTo>
                        <a:pt x="672" y="437"/>
                      </a:lnTo>
                      <a:lnTo>
                        <a:pt x="672" y="437"/>
                      </a:lnTo>
                      <a:lnTo>
                        <a:pt x="672" y="437"/>
                      </a:lnTo>
                      <a:lnTo>
                        <a:pt x="672" y="435"/>
                      </a:lnTo>
                      <a:lnTo>
                        <a:pt x="670" y="435"/>
                      </a:lnTo>
                      <a:lnTo>
                        <a:pt x="663" y="432"/>
                      </a:lnTo>
                      <a:lnTo>
                        <a:pt x="657" y="430"/>
                      </a:lnTo>
                      <a:lnTo>
                        <a:pt x="652" y="430"/>
                      </a:lnTo>
                      <a:lnTo>
                        <a:pt x="646" y="428"/>
                      </a:lnTo>
                      <a:lnTo>
                        <a:pt x="641" y="428"/>
                      </a:lnTo>
                      <a:lnTo>
                        <a:pt x="633" y="428"/>
                      </a:lnTo>
                      <a:lnTo>
                        <a:pt x="624" y="426"/>
                      </a:lnTo>
                      <a:lnTo>
                        <a:pt x="613" y="426"/>
                      </a:lnTo>
                      <a:lnTo>
                        <a:pt x="615" y="430"/>
                      </a:lnTo>
                      <a:lnTo>
                        <a:pt x="617" y="434"/>
                      </a:lnTo>
                      <a:lnTo>
                        <a:pt x="617" y="434"/>
                      </a:lnTo>
                      <a:lnTo>
                        <a:pt x="619" y="435"/>
                      </a:lnTo>
                      <a:lnTo>
                        <a:pt x="622" y="441"/>
                      </a:lnTo>
                      <a:lnTo>
                        <a:pt x="621" y="441"/>
                      </a:lnTo>
                      <a:lnTo>
                        <a:pt x="613" y="441"/>
                      </a:lnTo>
                      <a:lnTo>
                        <a:pt x="604" y="441"/>
                      </a:lnTo>
                      <a:lnTo>
                        <a:pt x="595" y="441"/>
                      </a:lnTo>
                      <a:lnTo>
                        <a:pt x="587" y="441"/>
                      </a:lnTo>
                      <a:lnTo>
                        <a:pt x="578" y="441"/>
                      </a:lnTo>
                      <a:lnTo>
                        <a:pt x="569" y="441"/>
                      </a:lnTo>
                      <a:lnTo>
                        <a:pt x="561" y="441"/>
                      </a:lnTo>
                      <a:lnTo>
                        <a:pt x="552" y="441"/>
                      </a:lnTo>
                      <a:lnTo>
                        <a:pt x="552" y="441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4" y="435"/>
                      </a:lnTo>
                      <a:lnTo>
                        <a:pt x="554" y="435"/>
                      </a:lnTo>
                      <a:lnTo>
                        <a:pt x="556" y="435"/>
                      </a:lnTo>
                      <a:lnTo>
                        <a:pt x="567" y="434"/>
                      </a:lnTo>
                      <a:lnTo>
                        <a:pt x="585" y="434"/>
                      </a:lnTo>
                      <a:lnTo>
                        <a:pt x="587" y="424"/>
                      </a:lnTo>
                      <a:lnTo>
                        <a:pt x="589" y="415"/>
                      </a:lnTo>
                      <a:lnTo>
                        <a:pt x="591" y="408"/>
                      </a:lnTo>
                      <a:lnTo>
                        <a:pt x="593" y="400"/>
                      </a:lnTo>
                      <a:lnTo>
                        <a:pt x="593" y="395"/>
                      </a:lnTo>
                      <a:lnTo>
                        <a:pt x="595" y="386"/>
                      </a:lnTo>
                      <a:lnTo>
                        <a:pt x="595" y="376"/>
                      </a:lnTo>
                      <a:lnTo>
                        <a:pt x="595" y="363"/>
                      </a:lnTo>
                      <a:lnTo>
                        <a:pt x="591" y="363"/>
                      </a:lnTo>
                      <a:lnTo>
                        <a:pt x="584" y="365"/>
                      </a:lnTo>
                      <a:lnTo>
                        <a:pt x="582" y="354"/>
                      </a:lnTo>
                      <a:lnTo>
                        <a:pt x="578" y="345"/>
                      </a:lnTo>
                      <a:lnTo>
                        <a:pt x="576" y="336"/>
                      </a:lnTo>
                      <a:lnTo>
                        <a:pt x="573" y="326"/>
                      </a:lnTo>
                      <a:lnTo>
                        <a:pt x="571" y="326"/>
                      </a:lnTo>
                      <a:lnTo>
                        <a:pt x="567" y="326"/>
                      </a:lnTo>
                      <a:lnTo>
                        <a:pt x="565" y="328"/>
                      </a:lnTo>
                      <a:lnTo>
                        <a:pt x="563" y="328"/>
                      </a:lnTo>
                      <a:lnTo>
                        <a:pt x="563" y="332"/>
                      </a:lnTo>
                      <a:lnTo>
                        <a:pt x="563" y="336"/>
                      </a:lnTo>
                      <a:lnTo>
                        <a:pt x="563" y="339"/>
                      </a:lnTo>
                      <a:lnTo>
                        <a:pt x="563" y="343"/>
                      </a:lnTo>
                      <a:lnTo>
                        <a:pt x="563" y="343"/>
                      </a:lnTo>
                      <a:lnTo>
                        <a:pt x="560" y="343"/>
                      </a:lnTo>
                      <a:lnTo>
                        <a:pt x="556" y="343"/>
                      </a:lnTo>
                      <a:lnTo>
                        <a:pt x="556" y="343"/>
                      </a:lnTo>
                      <a:lnTo>
                        <a:pt x="558" y="338"/>
                      </a:lnTo>
                      <a:lnTo>
                        <a:pt x="558" y="338"/>
                      </a:lnTo>
                      <a:lnTo>
                        <a:pt x="558" y="334"/>
                      </a:lnTo>
                      <a:lnTo>
                        <a:pt x="558" y="330"/>
                      </a:lnTo>
                      <a:lnTo>
                        <a:pt x="560" y="326"/>
                      </a:lnTo>
                      <a:lnTo>
                        <a:pt x="560" y="326"/>
                      </a:lnTo>
                      <a:lnTo>
                        <a:pt x="561" y="325"/>
                      </a:lnTo>
                      <a:lnTo>
                        <a:pt x="561" y="325"/>
                      </a:lnTo>
                      <a:lnTo>
                        <a:pt x="561" y="323"/>
                      </a:lnTo>
                      <a:lnTo>
                        <a:pt x="561" y="323"/>
                      </a:lnTo>
                      <a:lnTo>
                        <a:pt x="560" y="321"/>
                      </a:lnTo>
                      <a:lnTo>
                        <a:pt x="558" y="321"/>
                      </a:lnTo>
                      <a:lnTo>
                        <a:pt x="554" y="319"/>
                      </a:lnTo>
                      <a:lnTo>
                        <a:pt x="538" y="317"/>
                      </a:lnTo>
                      <a:lnTo>
                        <a:pt x="506" y="312"/>
                      </a:lnTo>
                      <a:lnTo>
                        <a:pt x="506" y="310"/>
                      </a:lnTo>
                      <a:lnTo>
                        <a:pt x="506" y="306"/>
                      </a:lnTo>
                      <a:lnTo>
                        <a:pt x="506" y="302"/>
                      </a:lnTo>
                      <a:lnTo>
                        <a:pt x="506" y="297"/>
                      </a:lnTo>
                      <a:lnTo>
                        <a:pt x="506" y="293"/>
                      </a:lnTo>
                      <a:lnTo>
                        <a:pt x="502" y="291"/>
                      </a:lnTo>
                      <a:lnTo>
                        <a:pt x="499" y="290"/>
                      </a:lnTo>
                      <a:lnTo>
                        <a:pt x="495" y="288"/>
                      </a:lnTo>
                      <a:lnTo>
                        <a:pt x="490" y="286"/>
                      </a:lnTo>
                      <a:lnTo>
                        <a:pt x="491" y="284"/>
                      </a:lnTo>
                      <a:lnTo>
                        <a:pt x="497" y="282"/>
                      </a:lnTo>
                      <a:lnTo>
                        <a:pt x="502" y="282"/>
                      </a:lnTo>
                      <a:lnTo>
                        <a:pt x="508" y="280"/>
                      </a:lnTo>
                      <a:lnTo>
                        <a:pt x="512" y="278"/>
                      </a:lnTo>
                      <a:lnTo>
                        <a:pt x="508" y="277"/>
                      </a:lnTo>
                      <a:lnTo>
                        <a:pt x="502" y="271"/>
                      </a:lnTo>
                      <a:lnTo>
                        <a:pt x="504" y="271"/>
                      </a:lnTo>
                      <a:lnTo>
                        <a:pt x="510" y="269"/>
                      </a:lnTo>
                      <a:lnTo>
                        <a:pt x="515" y="269"/>
                      </a:lnTo>
                      <a:lnTo>
                        <a:pt x="515" y="269"/>
                      </a:lnTo>
                      <a:lnTo>
                        <a:pt x="517" y="273"/>
                      </a:lnTo>
                      <a:lnTo>
                        <a:pt x="521" y="278"/>
                      </a:lnTo>
                      <a:lnTo>
                        <a:pt x="523" y="282"/>
                      </a:lnTo>
                      <a:lnTo>
                        <a:pt x="525" y="288"/>
                      </a:lnTo>
                      <a:lnTo>
                        <a:pt x="538" y="288"/>
                      </a:lnTo>
                      <a:lnTo>
                        <a:pt x="549" y="290"/>
                      </a:lnTo>
                      <a:lnTo>
                        <a:pt x="561" y="291"/>
                      </a:lnTo>
                      <a:lnTo>
                        <a:pt x="573" y="291"/>
                      </a:lnTo>
                      <a:lnTo>
                        <a:pt x="574" y="278"/>
                      </a:lnTo>
                      <a:lnTo>
                        <a:pt x="578" y="266"/>
                      </a:lnTo>
                      <a:lnTo>
                        <a:pt x="578" y="260"/>
                      </a:lnTo>
                      <a:lnTo>
                        <a:pt x="580" y="256"/>
                      </a:lnTo>
                      <a:lnTo>
                        <a:pt x="582" y="251"/>
                      </a:lnTo>
                      <a:lnTo>
                        <a:pt x="582" y="247"/>
                      </a:lnTo>
                      <a:lnTo>
                        <a:pt x="584" y="242"/>
                      </a:lnTo>
                      <a:lnTo>
                        <a:pt x="587" y="238"/>
                      </a:lnTo>
                      <a:lnTo>
                        <a:pt x="589" y="232"/>
                      </a:lnTo>
                      <a:lnTo>
                        <a:pt x="591" y="229"/>
                      </a:lnTo>
                      <a:lnTo>
                        <a:pt x="591" y="229"/>
                      </a:lnTo>
                      <a:lnTo>
                        <a:pt x="595" y="223"/>
                      </a:lnTo>
                      <a:lnTo>
                        <a:pt x="598" y="218"/>
                      </a:lnTo>
                      <a:lnTo>
                        <a:pt x="604" y="214"/>
                      </a:lnTo>
                      <a:lnTo>
                        <a:pt x="609" y="207"/>
                      </a:lnTo>
                      <a:lnTo>
                        <a:pt x="617" y="210"/>
                      </a:lnTo>
                      <a:lnTo>
                        <a:pt x="622" y="212"/>
                      </a:lnTo>
                      <a:lnTo>
                        <a:pt x="628" y="212"/>
                      </a:lnTo>
                      <a:lnTo>
                        <a:pt x="633" y="214"/>
                      </a:lnTo>
                      <a:lnTo>
                        <a:pt x="637" y="212"/>
                      </a:lnTo>
                      <a:lnTo>
                        <a:pt x="641" y="212"/>
                      </a:lnTo>
                      <a:lnTo>
                        <a:pt x="645" y="210"/>
                      </a:lnTo>
                      <a:lnTo>
                        <a:pt x="646" y="208"/>
                      </a:lnTo>
                      <a:lnTo>
                        <a:pt x="650" y="205"/>
                      </a:lnTo>
                      <a:lnTo>
                        <a:pt x="654" y="203"/>
                      </a:lnTo>
                      <a:lnTo>
                        <a:pt x="656" y="199"/>
                      </a:lnTo>
                      <a:lnTo>
                        <a:pt x="659" y="195"/>
                      </a:lnTo>
                      <a:lnTo>
                        <a:pt x="667" y="186"/>
                      </a:lnTo>
                      <a:lnTo>
                        <a:pt x="674" y="177"/>
                      </a:lnTo>
                      <a:lnTo>
                        <a:pt x="685" y="173"/>
                      </a:lnTo>
                      <a:lnTo>
                        <a:pt x="694" y="171"/>
                      </a:lnTo>
                      <a:lnTo>
                        <a:pt x="700" y="170"/>
                      </a:lnTo>
                      <a:lnTo>
                        <a:pt x="704" y="166"/>
                      </a:lnTo>
                      <a:lnTo>
                        <a:pt x="705" y="164"/>
                      </a:lnTo>
                      <a:lnTo>
                        <a:pt x="707" y="162"/>
                      </a:lnTo>
                      <a:lnTo>
                        <a:pt x="707" y="160"/>
                      </a:lnTo>
                      <a:lnTo>
                        <a:pt x="709" y="159"/>
                      </a:lnTo>
                      <a:lnTo>
                        <a:pt x="709" y="159"/>
                      </a:lnTo>
                      <a:lnTo>
                        <a:pt x="709" y="159"/>
                      </a:lnTo>
                      <a:lnTo>
                        <a:pt x="707" y="157"/>
                      </a:lnTo>
                      <a:lnTo>
                        <a:pt x="705" y="157"/>
                      </a:lnTo>
                      <a:lnTo>
                        <a:pt x="705" y="157"/>
                      </a:lnTo>
                      <a:lnTo>
                        <a:pt x="704" y="157"/>
                      </a:lnTo>
                      <a:lnTo>
                        <a:pt x="702" y="157"/>
                      </a:lnTo>
                      <a:lnTo>
                        <a:pt x="702" y="157"/>
                      </a:lnTo>
                      <a:lnTo>
                        <a:pt x="700" y="157"/>
                      </a:lnTo>
                      <a:lnTo>
                        <a:pt x="700" y="157"/>
                      </a:lnTo>
                      <a:lnTo>
                        <a:pt x="700" y="155"/>
                      </a:lnTo>
                      <a:lnTo>
                        <a:pt x="700" y="155"/>
                      </a:lnTo>
                      <a:lnTo>
                        <a:pt x="698" y="155"/>
                      </a:lnTo>
                      <a:lnTo>
                        <a:pt x="698" y="153"/>
                      </a:lnTo>
                      <a:lnTo>
                        <a:pt x="698" y="153"/>
                      </a:lnTo>
                      <a:lnTo>
                        <a:pt x="698" y="149"/>
                      </a:lnTo>
                      <a:lnTo>
                        <a:pt x="700" y="149"/>
                      </a:lnTo>
                      <a:lnTo>
                        <a:pt x="705" y="151"/>
                      </a:lnTo>
                      <a:lnTo>
                        <a:pt x="711" y="153"/>
                      </a:lnTo>
                      <a:lnTo>
                        <a:pt x="711" y="153"/>
                      </a:lnTo>
                      <a:lnTo>
                        <a:pt x="713" y="155"/>
                      </a:lnTo>
                      <a:lnTo>
                        <a:pt x="713" y="155"/>
                      </a:lnTo>
                      <a:lnTo>
                        <a:pt x="713" y="151"/>
                      </a:lnTo>
                      <a:lnTo>
                        <a:pt x="713" y="151"/>
                      </a:lnTo>
                      <a:lnTo>
                        <a:pt x="715" y="147"/>
                      </a:lnTo>
                      <a:lnTo>
                        <a:pt x="715" y="142"/>
                      </a:lnTo>
                      <a:lnTo>
                        <a:pt x="717" y="138"/>
                      </a:lnTo>
                      <a:lnTo>
                        <a:pt x="713" y="138"/>
                      </a:lnTo>
                      <a:lnTo>
                        <a:pt x="711" y="136"/>
                      </a:lnTo>
                      <a:lnTo>
                        <a:pt x="707" y="136"/>
                      </a:lnTo>
                      <a:lnTo>
                        <a:pt x="704" y="135"/>
                      </a:lnTo>
                      <a:lnTo>
                        <a:pt x="704" y="135"/>
                      </a:lnTo>
                      <a:lnTo>
                        <a:pt x="704" y="133"/>
                      </a:lnTo>
                      <a:lnTo>
                        <a:pt x="704" y="131"/>
                      </a:lnTo>
                      <a:lnTo>
                        <a:pt x="704" y="131"/>
                      </a:lnTo>
                      <a:lnTo>
                        <a:pt x="705" y="131"/>
                      </a:lnTo>
                      <a:lnTo>
                        <a:pt x="705" y="131"/>
                      </a:lnTo>
                      <a:lnTo>
                        <a:pt x="705" y="129"/>
                      </a:lnTo>
                      <a:lnTo>
                        <a:pt x="705" y="129"/>
                      </a:lnTo>
                      <a:lnTo>
                        <a:pt x="709" y="129"/>
                      </a:lnTo>
                      <a:lnTo>
                        <a:pt x="715" y="129"/>
                      </a:lnTo>
                      <a:lnTo>
                        <a:pt x="713" y="125"/>
                      </a:lnTo>
                      <a:lnTo>
                        <a:pt x="713" y="122"/>
                      </a:lnTo>
                      <a:lnTo>
                        <a:pt x="711" y="118"/>
                      </a:lnTo>
                      <a:lnTo>
                        <a:pt x="711" y="114"/>
                      </a:lnTo>
                      <a:lnTo>
                        <a:pt x="707" y="116"/>
                      </a:lnTo>
                      <a:lnTo>
                        <a:pt x="707" y="116"/>
                      </a:lnTo>
                      <a:lnTo>
                        <a:pt x="704" y="118"/>
                      </a:lnTo>
                      <a:lnTo>
                        <a:pt x="698" y="120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8" y="123"/>
                      </a:lnTo>
                      <a:lnTo>
                        <a:pt x="698" y="123"/>
                      </a:lnTo>
                      <a:lnTo>
                        <a:pt x="698" y="125"/>
                      </a:lnTo>
                      <a:lnTo>
                        <a:pt x="698" y="129"/>
                      </a:lnTo>
                      <a:lnTo>
                        <a:pt x="696" y="129"/>
                      </a:lnTo>
                      <a:lnTo>
                        <a:pt x="696" y="131"/>
                      </a:lnTo>
                      <a:lnTo>
                        <a:pt x="694" y="133"/>
                      </a:lnTo>
                      <a:lnTo>
                        <a:pt x="694" y="133"/>
                      </a:lnTo>
                      <a:lnTo>
                        <a:pt x="689" y="133"/>
                      </a:lnTo>
                      <a:lnTo>
                        <a:pt x="681" y="135"/>
                      </a:lnTo>
                      <a:lnTo>
                        <a:pt x="681" y="135"/>
                      </a:lnTo>
                      <a:lnTo>
                        <a:pt x="681" y="131"/>
                      </a:lnTo>
                      <a:lnTo>
                        <a:pt x="681" y="127"/>
                      </a:lnTo>
                      <a:lnTo>
                        <a:pt x="681" y="125"/>
                      </a:lnTo>
                      <a:lnTo>
                        <a:pt x="680" y="129"/>
                      </a:lnTo>
                      <a:lnTo>
                        <a:pt x="678" y="135"/>
                      </a:lnTo>
                      <a:lnTo>
                        <a:pt x="678" y="135"/>
                      </a:lnTo>
                      <a:lnTo>
                        <a:pt x="676" y="135"/>
                      </a:lnTo>
                      <a:lnTo>
                        <a:pt x="676" y="135"/>
                      </a:lnTo>
                      <a:lnTo>
                        <a:pt x="674" y="135"/>
                      </a:lnTo>
                      <a:lnTo>
                        <a:pt x="674" y="135"/>
                      </a:lnTo>
                      <a:lnTo>
                        <a:pt x="672" y="133"/>
                      </a:lnTo>
                      <a:lnTo>
                        <a:pt x="672" y="133"/>
                      </a:lnTo>
                      <a:lnTo>
                        <a:pt x="672" y="131"/>
                      </a:lnTo>
                      <a:lnTo>
                        <a:pt x="670" y="122"/>
                      </a:lnTo>
                      <a:lnTo>
                        <a:pt x="670" y="101"/>
                      </a:lnTo>
                      <a:lnTo>
                        <a:pt x="665" y="99"/>
                      </a:lnTo>
                      <a:lnTo>
                        <a:pt x="657" y="98"/>
                      </a:lnTo>
                      <a:lnTo>
                        <a:pt x="652" y="98"/>
                      </a:lnTo>
                      <a:lnTo>
                        <a:pt x="646" y="96"/>
                      </a:lnTo>
                      <a:lnTo>
                        <a:pt x="633" y="98"/>
                      </a:lnTo>
                      <a:lnTo>
                        <a:pt x="621" y="98"/>
                      </a:lnTo>
                      <a:lnTo>
                        <a:pt x="619" y="98"/>
                      </a:lnTo>
                      <a:lnTo>
                        <a:pt x="617" y="99"/>
                      </a:lnTo>
                      <a:lnTo>
                        <a:pt x="617" y="101"/>
                      </a:lnTo>
                      <a:lnTo>
                        <a:pt x="617" y="105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9"/>
                      </a:lnTo>
                      <a:lnTo>
                        <a:pt x="615" y="109"/>
                      </a:lnTo>
                      <a:lnTo>
                        <a:pt x="615" y="109"/>
                      </a:lnTo>
                      <a:lnTo>
                        <a:pt x="613" y="109"/>
                      </a:lnTo>
                      <a:lnTo>
                        <a:pt x="609" y="109"/>
                      </a:lnTo>
                      <a:lnTo>
                        <a:pt x="611" y="107"/>
                      </a:lnTo>
                      <a:lnTo>
                        <a:pt x="611" y="101"/>
                      </a:lnTo>
                      <a:lnTo>
                        <a:pt x="613" y="96"/>
                      </a:lnTo>
                      <a:lnTo>
                        <a:pt x="613" y="96"/>
                      </a:lnTo>
                      <a:lnTo>
                        <a:pt x="615" y="94"/>
                      </a:lnTo>
                      <a:lnTo>
                        <a:pt x="615" y="94"/>
                      </a:lnTo>
                      <a:lnTo>
                        <a:pt x="617" y="94"/>
                      </a:lnTo>
                      <a:lnTo>
                        <a:pt x="617" y="90"/>
                      </a:lnTo>
                      <a:lnTo>
                        <a:pt x="617" y="85"/>
                      </a:lnTo>
                      <a:lnTo>
                        <a:pt x="617" y="85"/>
                      </a:lnTo>
                      <a:lnTo>
                        <a:pt x="621" y="83"/>
                      </a:lnTo>
                      <a:lnTo>
                        <a:pt x="621" y="83"/>
                      </a:lnTo>
                      <a:lnTo>
                        <a:pt x="626" y="83"/>
                      </a:lnTo>
                      <a:lnTo>
                        <a:pt x="630" y="81"/>
                      </a:lnTo>
                      <a:lnTo>
                        <a:pt x="633" y="81"/>
                      </a:lnTo>
                      <a:lnTo>
                        <a:pt x="635" y="76"/>
                      </a:lnTo>
                      <a:lnTo>
                        <a:pt x="637" y="68"/>
                      </a:lnTo>
                      <a:lnTo>
                        <a:pt x="639" y="63"/>
                      </a:lnTo>
                      <a:lnTo>
                        <a:pt x="641" y="57"/>
                      </a:lnTo>
                      <a:lnTo>
                        <a:pt x="639" y="53"/>
                      </a:lnTo>
                      <a:lnTo>
                        <a:pt x="635" y="48"/>
                      </a:lnTo>
                      <a:lnTo>
                        <a:pt x="635" y="50"/>
                      </a:lnTo>
                      <a:lnTo>
                        <a:pt x="633" y="52"/>
                      </a:lnTo>
                      <a:lnTo>
                        <a:pt x="633" y="52"/>
                      </a:lnTo>
                      <a:lnTo>
                        <a:pt x="632" y="52"/>
                      </a:lnTo>
                      <a:lnTo>
                        <a:pt x="632" y="53"/>
                      </a:lnTo>
                      <a:lnTo>
                        <a:pt x="632" y="53"/>
                      </a:lnTo>
                      <a:lnTo>
                        <a:pt x="630" y="55"/>
                      </a:lnTo>
                      <a:lnTo>
                        <a:pt x="628" y="57"/>
                      </a:lnTo>
                      <a:lnTo>
                        <a:pt x="628" y="57"/>
                      </a:lnTo>
                      <a:lnTo>
                        <a:pt x="624" y="57"/>
                      </a:lnTo>
                      <a:lnTo>
                        <a:pt x="619" y="57"/>
                      </a:lnTo>
                      <a:lnTo>
                        <a:pt x="615" y="59"/>
                      </a:lnTo>
                      <a:lnTo>
                        <a:pt x="609" y="59"/>
                      </a:lnTo>
                      <a:lnTo>
                        <a:pt x="609" y="59"/>
                      </a:lnTo>
                      <a:lnTo>
                        <a:pt x="609" y="57"/>
                      </a:lnTo>
                      <a:lnTo>
                        <a:pt x="609" y="57"/>
                      </a:lnTo>
                      <a:lnTo>
                        <a:pt x="611" y="55"/>
                      </a:lnTo>
                      <a:lnTo>
                        <a:pt x="611" y="55"/>
                      </a:lnTo>
                      <a:lnTo>
                        <a:pt x="611" y="53"/>
                      </a:lnTo>
                      <a:lnTo>
                        <a:pt x="611" y="53"/>
                      </a:lnTo>
                      <a:lnTo>
                        <a:pt x="613" y="53"/>
                      </a:lnTo>
                      <a:lnTo>
                        <a:pt x="613" y="53"/>
                      </a:lnTo>
                      <a:lnTo>
                        <a:pt x="617" y="53"/>
                      </a:lnTo>
                      <a:lnTo>
                        <a:pt x="624" y="53"/>
                      </a:lnTo>
                      <a:lnTo>
                        <a:pt x="626" y="52"/>
                      </a:lnTo>
                      <a:lnTo>
                        <a:pt x="626" y="52"/>
                      </a:lnTo>
                      <a:lnTo>
                        <a:pt x="628" y="50"/>
                      </a:lnTo>
                      <a:lnTo>
                        <a:pt x="628" y="48"/>
                      </a:lnTo>
                      <a:lnTo>
                        <a:pt x="628" y="48"/>
                      </a:lnTo>
                      <a:lnTo>
                        <a:pt x="630" y="48"/>
                      </a:lnTo>
                      <a:lnTo>
                        <a:pt x="632" y="46"/>
                      </a:lnTo>
                      <a:lnTo>
                        <a:pt x="632" y="46"/>
                      </a:lnTo>
                      <a:lnTo>
                        <a:pt x="632" y="44"/>
                      </a:lnTo>
                      <a:lnTo>
                        <a:pt x="632" y="40"/>
                      </a:lnTo>
                      <a:lnTo>
                        <a:pt x="632" y="39"/>
                      </a:lnTo>
                      <a:lnTo>
                        <a:pt x="632" y="35"/>
                      </a:lnTo>
                      <a:lnTo>
                        <a:pt x="632" y="31"/>
                      </a:lnTo>
                      <a:lnTo>
                        <a:pt x="630" y="31"/>
                      </a:lnTo>
                      <a:lnTo>
                        <a:pt x="624" y="31"/>
                      </a:lnTo>
                      <a:lnTo>
                        <a:pt x="621" y="31"/>
                      </a:lnTo>
                      <a:lnTo>
                        <a:pt x="617" y="31"/>
                      </a:lnTo>
                      <a:lnTo>
                        <a:pt x="615" y="31"/>
                      </a:lnTo>
                      <a:lnTo>
                        <a:pt x="613" y="28"/>
                      </a:lnTo>
                      <a:lnTo>
                        <a:pt x="613" y="24"/>
                      </a:lnTo>
                      <a:lnTo>
                        <a:pt x="611" y="20"/>
                      </a:lnTo>
                      <a:lnTo>
                        <a:pt x="611" y="16"/>
                      </a:lnTo>
                      <a:lnTo>
                        <a:pt x="611" y="16"/>
                      </a:lnTo>
                      <a:lnTo>
                        <a:pt x="609" y="9"/>
                      </a:lnTo>
                      <a:lnTo>
                        <a:pt x="60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5" name="Freeform 3160"/>
                <p:cNvSpPr>
                  <a:spLocks/>
                </p:cNvSpPr>
                <p:nvPr/>
              </p:nvSpPr>
              <p:spPr bwMode="auto">
                <a:xfrm>
                  <a:off x="4667" y="194"/>
                  <a:ext cx="772" cy="915"/>
                </a:xfrm>
                <a:custGeom>
                  <a:avLst/>
                  <a:gdLst>
                    <a:gd name="T0" fmla="*/ 584 w 772"/>
                    <a:gd name="T1" fmla="*/ 24 h 915"/>
                    <a:gd name="T2" fmla="*/ 517 w 772"/>
                    <a:gd name="T3" fmla="*/ 70 h 915"/>
                    <a:gd name="T4" fmla="*/ 514 w 772"/>
                    <a:gd name="T5" fmla="*/ 83 h 915"/>
                    <a:gd name="T6" fmla="*/ 517 w 772"/>
                    <a:gd name="T7" fmla="*/ 92 h 915"/>
                    <a:gd name="T8" fmla="*/ 512 w 772"/>
                    <a:gd name="T9" fmla="*/ 122 h 915"/>
                    <a:gd name="T10" fmla="*/ 549 w 772"/>
                    <a:gd name="T11" fmla="*/ 125 h 915"/>
                    <a:gd name="T12" fmla="*/ 521 w 772"/>
                    <a:gd name="T13" fmla="*/ 149 h 915"/>
                    <a:gd name="T14" fmla="*/ 456 w 772"/>
                    <a:gd name="T15" fmla="*/ 144 h 915"/>
                    <a:gd name="T16" fmla="*/ 438 w 772"/>
                    <a:gd name="T17" fmla="*/ 155 h 915"/>
                    <a:gd name="T18" fmla="*/ 377 w 772"/>
                    <a:gd name="T19" fmla="*/ 177 h 915"/>
                    <a:gd name="T20" fmla="*/ 340 w 772"/>
                    <a:gd name="T21" fmla="*/ 208 h 915"/>
                    <a:gd name="T22" fmla="*/ 288 w 772"/>
                    <a:gd name="T23" fmla="*/ 238 h 915"/>
                    <a:gd name="T24" fmla="*/ 198 w 772"/>
                    <a:gd name="T25" fmla="*/ 299 h 915"/>
                    <a:gd name="T26" fmla="*/ 143 w 772"/>
                    <a:gd name="T27" fmla="*/ 371 h 915"/>
                    <a:gd name="T28" fmla="*/ 126 w 772"/>
                    <a:gd name="T29" fmla="*/ 391 h 915"/>
                    <a:gd name="T30" fmla="*/ 115 w 772"/>
                    <a:gd name="T31" fmla="*/ 463 h 915"/>
                    <a:gd name="T32" fmla="*/ 192 w 772"/>
                    <a:gd name="T33" fmla="*/ 487 h 915"/>
                    <a:gd name="T34" fmla="*/ 148 w 772"/>
                    <a:gd name="T35" fmla="*/ 515 h 915"/>
                    <a:gd name="T36" fmla="*/ 113 w 772"/>
                    <a:gd name="T37" fmla="*/ 491 h 915"/>
                    <a:gd name="T38" fmla="*/ 65 w 772"/>
                    <a:gd name="T39" fmla="*/ 493 h 915"/>
                    <a:gd name="T40" fmla="*/ 72 w 772"/>
                    <a:gd name="T41" fmla="*/ 557 h 915"/>
                    <a:gd name="T42" fmla="*/ 23 w 772"/>
                    <a:gd name="T43" fmla="*/ 613 h 915"/>
                    <a:gd name="T44" fmla="*/ 43 w 772"/>
                    <a:gd name="T45" fmla="*/ 672 h 915"/>
                    <a:gd name="T46" fmla="*/ 80 w 772"/>
                    <a:gd name="T47" fmla="*/ 705 h 915"/>
                    <a:gd name="T48" fmla="*/ 47 w 772"/>
                    <a:gd name="T49" fmla="*/ 766 h 915"/>
                    <a:gd name="T50" fmla="*/ 39 w 772"/>
                    <a:gd name="T51" fmla="*/ 841 h 915"/>
                    <a:gd name="T52" fmla="*/ 119 w 772"/>
                    <a:gd name="T53" fmla="*/ 880 h 915"/>
                    <a:gd name="T54" fmla="*/ 209 w 772"/>
                    <a:gd name="T55" fmla="*/ 910 h 915"/>
                    <a:gd name="T56" fmla="*/ 327 w 772"/>
                    <a:gd name="T57" fmla="*/ 860 h 915"/>
                    <a:gd name="T58" fmla="*/ 351 w 772"/>
                    <a:gd name="T59" fmla="*/ 812 h 915"/>
                    <a:gd name="T60" fmla="*/ 395 w 772"/>
                    <a:gd name="T61" fmla="*/ 790 h 915"/>
                    <a:gd name="T62" fmla="*/ 436 w 772"/>
                    <a:gd name="T63" fmla="*/ 747 h 915"/>
                    <a:gd name="T64" fmla="*/ 504 w 772"/>
                    <a:gd name="T65" fmla="*/ 718 h 915"/>
                    <a:gd name="T66" fmla="*/ 598 w 772"/>
                    <a:gd name="T67" fmla="*/ 758 h 915"/>
                    <a:gd name="T68" fmla="*/ 654 w 772"/>
                    <a:gd name="T69" fmla="*/ 701 h 915"/>
                    <a:gd name="T70" fmla="*/ 713 w 772"/>
                    <a:gd name="T71" fmla="*/ 635 h 915"/>
                    <a:gd name="T72" fmla="*/ 720 w 772"/>
                    <a:gd name="T73" fmla="*/ 515 h 915"/>
                    <a:gd name="T74" fmla="*/ 735 w 772"/>
                    <a:gd name="T75" fmla="*/ 505 h 915"/>
                    <a:gd name="T76" fmla="*/ 763 w 772"/>
                    <a:gd name="T77" fmla="*/ 450 h 915"/>
                    <a:gd name="T78" fmla="*/ 724 w 772"/>
                    <a:gd name="T79" fmla="*/ 446 h 915"/>
                    <a:gd name="T80" fmla="*/ 687 w 772"/>
                    <a:gd name="T81" fmla="*/ 430 h 915"/>
                    <a:gd name="T82" fmla="*/ 683 w 772"/>
                    <a:gd name="T83" fmla="*/ 441 h 915"/>
                    <a:gd name="T84" fmla="*/ 646 w 772"/>
                    <a:gd name="T85" fmla="*/ 428 h 915"/>
                    <a:gd name="T86" fmla="*/ 561 w 772"/>
                    <a:gd name="T87" fmla="*/ 441 h 915"/>
                    <a:gd name="T88" fmla="*/ 595 w 772"/>
                    <a:gd name="T89" fmla="*/ 386 h 915"/>
                    <a:gd name="T90" fmla="*/ 563 w 772"/>
                    <a:gd name="T91" fmla="*/ 343 h 915"/>
                    <a:gd name="T92" fmla="*/ 538 w 772"/>
                    <a:gd name="T93" fmla="*/ 317 h 915"/>
                    <a:gd name="T94" fmla="*/ 502 w 772"/>
                    <a:gd name="T95" fmla="*/ 271 h 915"/>
                    <a:gd name="T96" fmla="*/ 582 w 772"/>
                    <a:gd name="T97" fmla="*/ 251 h 915"/>
                    <a:gd name="T98" fmla="*/ 645 w 772"/>
                    <a:gd name="T99" fmla="*/ 210 h 915"/>
                    <a:gd name="T100" fmla="*/ 709 w 772"/>
                    <a:gd name="T101" fmla="*/ 159 h 915"/>
                    <a:gd name="T102" fmla="*/ 711 w 772"/>
                    <a:gd name="T103" fmla="*/ 153 h 915"/>
                    <a:gd name="T104" fmla="*/ 705 w 772"/>
                    <a:gd name="T105" fmla="*/ 131 h 915"/>
                    <a:gd name="T106" fmla="*/ 698 w 772"/>
                    <a:gd name="T107" fmla="*/ 123 h 915"/>
                    <a:gd name="T108" fmla="*/ 676 w 772"/>
                    <a:gd name="T109" fmla="*/ 135 h 915"/>
                    <a:gd name="T110" fmla="*/ 617 w 772"/>
                    <a:gd name="T111" fmla="*/ 101 h 915"/>
                    <a:gd name="T112" fmla="*/ 617 w 772"/>
                    <a:gd name="T113" fmla="*/ 94 h 915"/>
                    <a:gd name="T114" fmla="*/ 633 w 772"/>
                    <a:gd name="T115" fmla="*/ 52 h 915"/>
                    <a:gd name="T116" fmla="*/ 611 w 772"/>
                    <a:gd name="T117" fmla="*/ 53 h 915"/>
                    <a:gd name="T118" fmla="*/ 632 w 772"/>
                    <a:gd name="T119" fmla="*/ 31 h 9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72" h="915">
                      <a:moveTo>
                        <a:pt x="609" y="0"/>
                      </a:moveTo>
                      <a:lnTo>
                        <a:pt x="606" y="0"/>
                      </a:lnTo>
                      <a:lnTo>
                        <a:pt x="600" y="0"/>
                      </a:lnTo>
                      <a:lnTo>
                        <a:pt x="600" y="4"/>
                      </a:lnTo>
                      <a:lnTo>
                        <a:pt x="600" y="7"/>
                      </a:lnTo>
                      <a:lnTo>
                        <a:pt x="600" y="11"/>
                      </a:lnTo>
                      <a:lnTo>
                        <a:pt x="600" y="16"/>
                      </a:lnTo>
                      <a:lnTo>
                        <a:pt x="600" y="16"/>
                      </a:lnTo>
                      <a:lnTo>
                        <a:pt x="597" y="16"/>
                      </a:lnTo>
                      <a:lnTo>
                        <a:pt x="591" y="16"/>
                      </a:lnTo>
                      <a:lnTo>
                        <a:pt x="587" y="18"/>
                      </a:lnTo>
                      <a:lnTo>
                        <a:pt x="585" y="18"/>
                      </a:lnTo>
                      <a:lnTo>
                        <a:pt x="585" y="18"/>
                      </a:lnTo>
                      <a:lnTo>
                        <a:pt x="587" y="20"/>
                      </a:lnTo>
                      <a:lnTo>
                        <a:pt x="587" y="20"/>
                      </a:lnTo>
                      <a:lnTo>
                        <a:pt x="585" y="22"/>
                      </a:lnTo>
                      <a:lnTo>
                        <a:pt x="584" y="24"/>
                      </a:lnTo>
                      <a:lnTo>
                        <a:pt x="584" y="24"/>
                      </a:lnTo>
                      <a:lnTo>
                        <a:pt x="582" y="22"/>
                      </a:lnTo>
                      <a:lnTo>
                        <a:pt x="580" y="22"/>
                      </a:lnTo>
                      <a:lnTo>
                        <a:pt x="576" y="24"/>
                      </a:lnTo>
                      <a:lnTo>
                        <a:pt x="571" y="28"/>
                      </a:lnTo>
                      <a:lnTo>
                        <a:pt x="567" y="29"/>
                      </a:lnTo>
                      <a:lnTo>
                        <a:pt x="567" y="29"/>
                      </a:lnTo>
                      <a:lnTo>
                        <a:pt x="561" y="31"/>
                      </a:lnTo>
                      <a:lnTo>
                        <a:pt x="554" y="35"/>
                      </a:lnTo>
                      <a:lnTo>
                        <a:pt x="545" y="37"/>
                      </a:lnTo>
                      <a:lnTo>
                        <a:pt x="534" y="39"/>
                      </a:lnTo>
                      <a:lnTo>
                        <a:pt x="519" y="44"/>
                      </a:lnTo>
                      <a:lnTo>
                        <a:pt x="519" y="50"/>
                      </a:lnTo>
                      <a:lnTo>
                        <a:pt x="519" y="55"/>
                      </a:lnTo>
                      <a:lnTo>
                        <a:pt x="519" y="63"/>
                      </a:lnTo>
                      <a:lnTo>
                        <a:pt x="519" y="70"/>
                      </a:lnTo>
                      <a:lnTo>
                        <a:pt x="517" y="70"/>
                      </a:lnTo>
                      <a:lnTo>
                        <a:pt x="512" y="70"/>
                      </a:lnTo>
                      <a:lnTo>
                        <a:pt x="508" y="70"/>
                      </a:lnTo>
                      <a:lnTo>
                        <a:pt x="508" y="72"/>
                      </a:lnTo>
                      <a:lnTo>
                        <a:pt x="508" y="72"/>
                      </a:lnTo>
                      <a:lnTo>
                        <a:pt x="508" y="74"/>
                      </a:lnTo>
                      <a:lnTo>
                        <a:pt x="508" y="74"/>
                      </a:lnTo>
                      <a:lnTo>
                        <a:pt x="512" y="74"/>
                      </a:lnTo>
                      <a:lnTo>
                        <a:pt x="519" y="74"/>
                      </a:lnTo>
                      <a:lnTo>
                        <a:pt x="519" y="76"/>
                      </a:lnTo>
                      <a:lnTo>
                        <a:pt x="519" y="77"/>
                      </a:lnTo>
                      <a:lnTo>
                        <a:pt x="519" y="79"/>
                      </a:lnTo>
                      <a:lnTo>
                        <a:pt x="519" y="79"/>
                      </a:lnTo>
                      <a:lnTo>
                        <a:pt x="519" y="81"/>
                      </a:lnTo>
                      <a:lnTo>
                        <a:pt x="517" y="81"/>
                      </a:lnTo>
                      <a:lnTo>
                        <a:pt x="517" y="81"/>
                      </a:lnTo>
                      <a:lnTo>
                        <a:pt x="517" y="81"/>
                      </a:lnTo>
                      <a:lnTo>
                        <a:pt x="514" y="83"/>
                      </a:lnTo>
                      <a:lnTo>
                        <a:pt x="514" y="83"/>
                      </a:lnTo>
                      <a:lnTo>
                        <a:pt x="508" y="85"/>
                      </a:lnTo>
                      <a:lnTo>
                        <a:pt x="508" y="85"/>
                      </a:lnTo>
                      <a:lnTo>
                        <a:pt x="510" y="85"/>
                      </a:lnTo>
                      <a:lnTo>
                        <a:pt x="512" y="85"/>
                      </a:lnTo>
                      <a:lnTo>
                        <a:pt x="515" y="85"/>
                      </a:lnTo>
                      <a:lnTo>
                        <a:pt x="515" y="85"/>
                      </a:lnTo>
                      <a:lnTo>
                        <a:pt x="517" y="85"/>
                      </a:lnTo>
                      <a:lnTo>
                        <a:pt x="517" y="87"/>
                      </a:lnTo>
                      <a:lnTo>
                        <a:pt x="517" y="87"/>
                      </a:lnTo>
                      <a:lnTo>
                        <a:pt x="519" y="87"/>
                      </a:lnTo>
                      <a:lnTo>
                        <a:pt x="519" y="87"/>
                      </a:lnTo>
                      <a:lnTo>
                        <a:pt x="519" y="88"/>
                      </a:lnTo>
                      <a:lnTo>
                        <a:pt x="519" y="88"/>
                      </a:lnTo>
                      <a:lnTo>
                        <a:pt x="519" y="90"/>
                      </a:lnTo>
                      <a:lnTo>
                        <a:pt x="519" y="92"/>
                      </a:lnTo>
                      <a:lnTo>
                        <a:pt x="517" y="92"/>
                      </a:lnTo>
                      <a:lnTo>
                        <a:pt x="512" y="90"/>
                      </a:lnTo>
                      <a:lnTo>
                        <a:pt x="506" y="88"/>
                      </a:lnTo>
                      <a:lnTo>
                        <a:pt x="506" y="88"/>
                      </a:lnTo>
                      <a:lnTo>
                        <a:pt x="504" y="88"/>
                      </a:lnTo>
                      <a:lnTo>
                        <a:pt x="504" y="87"/>
                      </a:lnTo>
                      <a:lnTo>
                        <a:pt x="501" y="87"/>
                      </a:lnTo>
                      <a:lnTo>
                        <a:pt x="497" y="87"/>
                      </a:lnTo>
                      <a:lnTo>
                        <a:pt x="497" y="94"/>
                      </a:lnTo>
                      <a:lnTo>
                        <a:pt x="495" y="99"/>
                      </a:lnTo>
                      <a:lnTo>
                        <a:pt x="493" y="107"/>
                      </a:lnTo>
                      <a:lnTo>
                        <a:pt x="493" y="114"/>
                      </a:lnTo>
                      <a:lnTo>
                        <a:pt x="495" y="116"/>
                      </a:lnTo>
                      <a:lnTo>
                        <a:pt x="497" y="118"/>
                      </a:lnTo>
                      <a:lnTo>
                        <a:pt x="499" y="118"/>
                      </a:lnTo>
                      <a:lnTo>
                        <a:pt x="502" y="120"/>
                      </a:lnTo>
                      <a:lnTo>
                        <a:pt x="506" y="122"/>
                      </a:lnTo>
                      <a:lnTo>
                        <a:pt x="512" y="122"/>
                      </a:lnTo>
                      <a:lnTo>
                        <a:pt x="517" y="122"/>
                      </a:lnTo>
                      <a:lnTo>
                        <a:pt x="523" y="123"/>
                      </a:lnTo>
                      <a:lnTo>
                        <a:pt x="523" y="123"/>
                      </a:lnTo>
                      <a:lnTo>
                        <a:pt x="525" y="123"/>
                      </a:lnTo>
                      <a:lnTo>
                        <a:pt x="526" y="125"/>
                      </a:lnTo>
                      <a:lnTo>
                        <a:pt x="528" y="125"/>
                      </a:lnTo>
                      <a:lnTo>
                        <a:pt x="530" y="127"/>
                      </a:lnTo>
                      <a:lnTo>
                        <a:pt x="532" y="129"/>
                      </a:lnTo>
                      <a:lnTo>
                        <a:pt x="532" y="123"/>
                      </a:lnTo>
                      <a:lnTo>
                        <a:pt x="534" y="118"/>
                      </a:lnTo>
                      <a:lnTo>
                        <a:pt x="536" y="118"/>
                      </a:lnTo>
                      <a:lnTo>
                        <a:pt x="539" y="120"/>
                      </a:lnTo>
                      <a:lnTo>
                        <a:pt x="545" y="120"/>
                      </a:lnTo>
                      <a:lnTo>
                        <a:pt x="549" y="122"/>
                      </a:lnTo>
                      <a:lnTo>
                        <a:pt x="558" y="123"/>
                      </a:lnTo>
                      <a:lnTo>
                        <a:pt x="554" y="125"/>
                      </a:lnTo>
                      <a:lnTo>
                        <a:pt x="549" y="125"/>
                      </a:lnTo>
                      <a:lnTo>
                        <a:pt x="545" y="125"/>
                      </a:lnTo>
                      <a:lnTo>
                        <a:pt x="545" y="129"/>
                      </a:lnTo>
                      <a:lnTo>
                        <a:pt x="545" y="131"/>
                      </a:lnTo>
                      <a:lnTo>
                        <a:pt x="545" y="135"/>
                      </a:lnTo>
                      <a:lnTo>
                        <a:pt x="545" y="136"/>
                      </a:lnTo>
                      <a:lnTo>
                        <a:pt x="547" y="136"/>
                      </a:lnTo>
                      <a:lnTo>
                        <a:pt x="547" y="138"/>
                      </a:lnTo>
                      <a:lnTo>
                        <a:pt x="549" y="140"/>
                      </a:lnTo>
                      <a:lnTo>
                        <a:pt x="552" y="144"/>
                      </a:lnTo>
                      <a:lnTo>
                        <a:pt x="550" y="144"/>
                      </a:lnTo>
                      <a:lnTo>
                        <a:pt x="543" y="144"/>
                      </a:lnTo>
                      <a:lnTo>
                        <a:pt x="539" y="144"/>
                      </a:lnTo>
                      <a:lnTo>
                        <a:pt x="534" y="144"/>
                      </a:lnTo>
                      <a:lnTo>
                        <a:pt x="530" y="144"/>
                      </a:lnTo>
                      <a:lnTo>
                        <a:pt x="528" y="146"/>
                      </a:lnTo>
                      <a:lnTo>
                        <a:pt x="525" y="146"/>
                      </a:lnTo>
                      <a:lnTo>
                        <a:pt x="521" y="149"/>
                      </a:lnTo>
                      <a:lnTo>
                        <a:pt x="517" y="151"/>
                      </a:lnTo>
                      <a:lnTo>
                        <a:pt x="515" y="149"/>
                      </a:lnTo>
                      <a:lnTo>
                        <a:pt x="514" y="146"/>
                      </a:lnTo>
                      <a:lnTo>
                        <a:pt x="512" y="142"/>
                      </a:lnTo>
                      <a:lnTo>
                        <a:pt x="502" y="140"/>
                      </a:lnTo>
                      <a:lnTo>
                        <a:pt x="491" y="138"/>
                      </a:lnTo>
                      <a:lnTo>
                        <a:pt x="491" y="138"/>
                      </a:lnTo>
                      <a:lnTo>
                        <a:pt x="484" y="138"/>
                      </a:lnTo>
                      <a:lnTo>
                        <a:pt x="477" y="136"/>
                      </a:lnTo>
                      <a:lnTo>
                        <a:pt x="471" y="136"/>
                      </a:lnTo>
                      <a:lnTo>
                        <a:pt x="467" y="135"/>
                      </a:lnTo>
                      <a:lnTo>
                        <a:pt x="464" y="135"/>
                      </a:lnTo>
                      <a:lnTo>
                        <a:pt x="460" y="135"/>
                      </a:lnTo>
                      <a:lnTo>
                        <a:pt x="460" y="140"/>
                      </a:lnTo>
                      <a:lnTo>
                        <a:pt x="460" y="147"/>
                      </a:lnTo>
                      <a:lnTo>
                        <a:pt x="458" y="146"/>
                      </a:lnTo>
                      <a:lnTo>
                        <a:pt x="456" y="144"/>
                      </a:lnTo>
                      <a:lnTo>
                        <a:pt x="454" y="142"/>
                      </a:lnTo>
                      <a:lnTo>
                        <a:pt x="453" y="142"/>
                      </a:lnTo>
                      <a:lnTo>
                        <a:pt x="451" y="140"/>
                      </a:lnTo>
                      <a:lnTo>
                        <a:pt x="447" y="140"/>
                      </a:lnTo>
                      <a:lnTo>
                        <a:pt x="443" y="140"/>
                      </a:lnTo>
                      <a:lnTo>
                        <a:pt x="436" y="140"/>
                      </a:lnTo>
                      <a:lnTo>
                        <a:pt x="425" y="142"/>
                      </a:lnTo>
                      <a:lnTo>
                        <a:pt x="425" y="146"/>
                      </a:lnTo>
                      <a:lnTo>
                        <a:pt x="427" y="151"/>
                      </a:lnTo>
                      <a:lnTo>
                        <a:pt x="430" y="151"/>
                      </a:lnTo>
                      <a:lnTo>
                        <a:pt x="436" y="149"/>
                      </a:lnTo>
                      <a:lnTo>
                        <a:pt x="442" y="149"/>
                      </a:lnTo>
                      <a:lnTo>
                        <a:pt x="442" y="149"/>
                      </a:lnTo>
                      <a:lnTo>
                        <a:pt x="451" y="147"/>
                      </a:lnTo>
                      <a:lnTo>
                        <a:pt x="447" y="149"/>
                      </a:lnTo>
                      <a:lnTo>
                        <a:pt x="442" y="153"/>
                      </a:lnTo>
                      <a:lnTo>
                        <a:pt x="438" y="155"/>
                      </a:lnTo>
                      <a:lnTo>
                        <a:pt x="432" y="159"/>
                      </a:lnTo>
                      <a:lnTo>
                        <a:pt x="429" y="160"/>
                      </a:lnTo>
                      <a:lnTo>
                        <a:pt x="427" y="160"/>
                      </a:lnTo>
                      <a:lnTo>
                        <a:pt x="423" y="159"/>
                      </a:lnTo>
                      <a:lnTo>
                        <a:pt x="419" y="157"/>
                      </a:lnTo>
                      <a:lnTo>
                        <a:pt x="416" y="155"/>
                      </a:lnTo>
                      <a:lnTo>
                        <a:pt x="412" y="153"/>
                      </a:lnTo>
                      <a:lnTo>
                        <a:pt x="412" y="157"/>
                      </a:lnTo>
                      <a:lnTo>
                        <a:pt x="410" y="160"/>
                      </a:lnTo>
                      <a:lnTo>
                        <a:pt x="408" y="166"/>
                      </a:lnTo>
                      <a:lnTo>
                        <a:pt x="406" y="166"/>
                      </a:lnTo>
                      <a:lnTo>
                        <a:pt x="405" y="170"/>
                      </a:lnTo>
                      <a:lnTo>
                        <a:pt x="405" y="170"/>
                      </a:lnTo>
                      <a:lnTo>
                        <a:pt x="397" y="171"/>
                      </a:lnTo>
                      <a:lnTo>
                        <a:pt x="390" y="173"/>
                      </a:lnTo>
                      <a:lnTo>
                        <a:pt x="382" y="175"/>
                      </a:lnTo>
                      <a:lnTo>
                        <a:pt x="377" y="177"/>
                      </a:lnTo>
                      <a:lnTo>
                        <a:pt x="375" y="181"/>
                      </a:lnTo>
                      <a:lnTo>
                        <a:pt x="373" y="184"/>
                      </a:lnTo>
                      <a:lnTo>
                        <a:pt x="371" y="186"/>
                      </a:lnTo>
                      <a:lnTo>
                        <a:pt x="368" y="192"/>
                      </a:lnTo>
                      <a:lnTo>
                        <a:pt x="368" y="190"/>
                      </a:lnTo>
                      <a:lnTo>
                        <a:pt x="364" y="188"/>
                      </a:lnTo>
                      <a:lnTo>
                        <a:pt x="362" y="186"/>
                      </a:lnTo>
                      <a:lnTo>
                        <a:pt x="360" y="192"/>
                      </a:lnTo>
                      <a:lnTo>
                        <a:pt x="357" y="197"/>
                      </a:lnTo>
                      <a:lnTo>
                        <a:pt x="357" y="197"/>
                      </a:lnTo>
                      <a:lnTo>
                        <a:pt x="353" y="194"/>
                      </a:lnTo>
                      <a:lnTo>
                        <a:pt x="351" y="192"/>
                      </a:lnTo>
                      <a:lnTo>
                        <a:pt x="351" y="195"/>
                      </a:lnTo>
                      <a:lnTo>
                        <a:pt x="351" y="199"/>
                      </a:lnTo>
                      <a:lnTo>
                        <a:pt x="349" y="203"/>
                      </a:lnTo>
                      <a:lnTo>
                        <a:pt x="349" y="207"/>
                      </a:lnTo>
                      <a:lnTo>
                        <a:pt x="340" y="208"/>
                      </a:lnTo>
                      <a:lnTo>
                        <a:pt x="331" y="210"/>
                      </a:lnTo>
                      <a:lnTo>
                        <a:pt x="325" y="212"/>
                      </a:lnTo>
                      <a:lnTo>
                        <a:pt x="320" y="212"/>
                      </a:lnTo>
                      <a:lnTo>
                        <a:pt x="316" y="214"/>
                      </a:lnTo>
                      <a:lnTo>
                        <a:pt x="311" y="216"/>
                      </a:lnTo>
                      <a:lnTo>
                        <a:pt x="305" y="218"/>
                      </a:lnTo>
                      <a:lnTo>
                        <a:pt x="301" y="219"/>
                      </a:lnTo>
                      <a:lnTo>
                        <a:pt x="301" y="223"/>
                      </a:lnTo>
                      <a:lnTo>
                        <a:pt x="301" y="229"/>
                      </a:lnTo>
                      <a:lnTo>
                        <a:pt x="299" y="229"/>
                      </a:lnTo>
                      <a:lnTo>
                        <a:pt x="296" y="231"/>
                      </a:lnTo>
                      <a:lnTo>
                        <a:pt x="290" y="231"/>
                      </a:lnTo>
                      <a:lnTo>
                        <a:pt x="287" y="231"/>
                      </a:lnTo>
                      <a:lnTo>
                        <a:pt x="285" y="232"/>
                      </a:lnTo>
                      <a:lnTo>
                        <a:pt x="287" y="234"/>
                      </a:lnTo>
                      <a:lnTo>
                        <a:pt x="290" y="238"/>
                      </a:lnTo>
                      <a:lnTo>
                        <a:pt x="288" y="238"/>
                      </a:lnTo>
                      <a:lnTo>
                        <a:pt x="281" y="238"/>
                      </a:lnTo>
                      <a:lnTo>
                        <a:pt x="275" y="240"/>
                      </a:lnTo>
                      <a:lnTo>
                        <a:pt x="268" y="240"/>
                      </a:lnTo>
                      <a:lnTo>
                        <a:pt x="263" y="240"/>
                      </a:lnTo>
                      <a:lnTo>
                        <a:pt x="261" y="243"/>
                      </a:lnTo>
                      <a:lnTo>
                        <a:pt x="261" y="243"/>
                      </a:lnTo>
                      <a:lnTo>
                        <a:pt x="257" y="249"/>
                      </a:lnTo>
                      <a:lnTo>
                        <a:pt x="253" y="253"/>
                      </a:lnTo>
                      <a:lnTo>
                        <a:pt x="250" y="258"/>
                      </a:lnTo>
                      <a:lnTo>
                        <a:pt x="244" y="264"/>
                      </a:lnTo>
                      <a:lnTo>
                        <a:pt x="239" y="269"/>
                      </a:lnTo>
                      <a:lnTo>
                        <a:pt x="231" y="275"/>
                      </a:lnTo>
                      <a:lnTo>
                        <a:pt x="226" y="280"/>
                      </a:lnTo>
                      <a:lnTo>
                        <a:pt x="218" y="286"/>
                      </a:lnTo>
                      <a:lnTo>
                        <a:pt x="211" y="290"/>
                      </a:lnTo>
                      <a:lnTo>
                        <a:pt x="205" y="295"/>
                      </a:lnTo>
                      <a:lnTo>
                        <a:pt x="198" y="299"/>
                      </a:lnTo>
                      <a:lnTo>
                        <a:pt x="198" y="299"/>
                      </a:lnTo>
                      <a:lnTo>
                        <a:pt x="192" y="302"/>
                      </a:lnTo>
                      <a:lnTo>
                        <a:pt x="187" y="306"/>
                      </a:lnTo>
                      <a:lnTo>
                        <a:pt x="187" y="306"/>
                      </a:lnTo>
                      <a:lnTo>
                        <a:pt x="181" y="308"/>
                      </a:lnTo>
                      <a:lnTo>
                        <a:pt x="181" y="308"/>
                      </a:lnTo>
                      <a:lnTo>
                        <a:pt x="178" y="310"/>
                      </a:lnTo>
                      <a:lnTo>
                        <a:pt x="174" y="323"/>
                      </a:lnTo>
                      <a:lnTo>
                        <a:pt x="168" y="338"/>
                      </a:lnTo>
                      <a:lnTo>
                        <a:pt x="163" y="352"/>
                      </a:lnTo>
                      <a:lnTo>
                        <a:pt x="157" y="367"/>
                      </a:lnTo>
                      <a:lnTo>
                        <a:pt x="157" y="367"/>
                      </a:lnTo>
                      <a:lnTo>
                        <a:pt x="154" y="367"/>
                      </a:lnTo>
                      <a:lnTo>
                        <a:pt x="150" y="367"/>
                      </a:lnTo>
                      <a:lnTo>
                        <a:pt x="144" y="367"/>
                      </a:lnTo>
                      <a:lnTo>
                        <a:pt x="143" y="367"/>
                      </a:lnTo>
                      <a:lnTo>
                        <a:pt x="143" y="371"/>
                      </a:lnTo>
                      <a:lnTo>
                        <a:pt x="144" y="374"/>
                      </a:lnTo>
                      <a:lnTo>
                        <a:pt x="144" y="374"/>
                      </a:lnTo>
                      <a:lnTo>
                        <a:pt x="144" y="374"/>
                      </a:lnTo>
                      <a:lnTo>
                        <a:pt x="146" y="373"/>
                      </a:lnTo>
                      <a:lnTo>
                        <a:pt x="146" y="373"/>
                      </a:lnTo>
                      <a:lnTo>
                        <a:pt x="148" y="374"/>
                      </a:lnTo>
                      <a:lnTo>
                        <a:pt x="150" y="376"/>
                      </a:lnTo>
                      <a:lnTo>
                        <a:pt x="150" y="376"/>
                      </a:lnTo>
                      <a:lnTo>
                        <a:pt x="148" y="378"/>
                      </a:lnTo>
                      <a:lnTo>
                        <a:pt x="146" y="380"/>
                      </a:lnTo>
                      <a:lnTo>
                        <a:pt x="146" y="380"/>
                      </a:lnTo>
                      <a:lnTo>
                        <a:pt x="143" y="380"/>
                      </a:lnTo>
                      <a:lnTo>
                        <a:pt x="139" y="382"/>
                      </a:lnTo>
                      <a:lnTo>
                        <a:pt x="135" y="382"/>
                      </a:lnTo>
                      <a:lnTo>
                        <a:pt x="131" y="384"/>
                      </a:lnTo>
                      <a:lnTo>
                        <a:pt x="130" y="387"/>
                      </a:lnTo>
                      <a:lnTo>
                        <a:pt x="126" y="391"/>
                      </a:lnTo>
                      <a:lnTo>
                        <a:pt x="124" y="395"/>
                      </a:lnTo>
                      <a:lnTo>
                        <a:pt x="122" y="398"/>
                      </a:lnTo>
                      <a:lnTo>
                        <a:pt x="119" y="406"/>
                      </a:lnTo>
                      <a:lnTo>
                        <a:pt x="113" y="411"/>
                      </a:lnTo>
                      <a:lnTo>
                        <a:pt x="107" y="417"/>
                      </a:lnTo>
                      <a:lnTo>
                        <a:pt x="100" y="422"/>
                      </a:lnTo>
                      <a:lnTo>
                        <a:pt x="95" y="428"/>
                      </a:lnTo>
                      <a:lnTo>
                        <a:pt x="87" y="434"/>
                      </a:lnTo>
                      <a:lnTo>
                        <a:pt x="93" y="437"/>
                      </a:lnTo>
                      <a:lnTo>
                        <a:pt x="100" y="441"/>
                      </a:lnTo>
                      <a:lnTo>
                        <a:pt x="107" y="445"/>
                      </a:lnTo>
                      <a:lnTo>
                        <a:pt x="115" y="448"/>
                      </a:lnTo>
                      <a:lnTo>
                        <a:pt x="115" y="448"/>
                      </a:lnTo>
                      <a:lnTo>
                        <a:pt x="115" y="452"/>
                      </a:lnTo>
                      <a:lnTo>
                        <a:pt x="115" y="456"/>
                      </a:lnTo>
                      <a:lnTo>
                        <a:pt x="115" y="459"/>
                      </a:lnTo>
                      <a:lnTo>
                        <a:pt x="115" y="463"/>
                      </a:lnTo>
                      <a:lnTo>
                        <a:pt x="119" y="463"/>
                      </a:lnTo>
                      <a:lnTo>
                        <a:pt x="124" y="463"/>
                      </a:lnTo>
                      <a:lnTo>
                        <a:pt x="124" y="459"/>
                      </a:lnTo>
                      <a:lnTo>
                        <a:pt x="124" y="452"/>
                      </a:lnTo>
                      <a:lnTo>
                        <a:pt x="137" y="456"/>
                      </a:lnTo>
                      <a:lnTo>
                        <a:pt x="148" y="458"/>
                      </a:lnTo>
                      <a:lnTo>
                        <a:pt x="159" y="459"/>
                      </a:lnTo>
                      <a:lnTo>
                        <a:pt x="170" y="461"/>
                      </a:lnTo>
                      <a:lnTo>
                        <a:pt x="170" y="461"/>
                      </a:lnTo>
                      <a:lnTo>
                        <a:pt x="174" y="469"/>
                      </a:lnTo>
                      <a:lnTo>
                        <a:pt x="176" y="474"/>
                      </a:lnTo>
                      <a:lnTo>
                        <a:pt x="178" y="480"/>
                      </a:lnTo>
                      <a:lnTo>
                        <a:pt x="179" y="485"/>
                      </a:lnTo>
                      <a:lnTo>
                        <a:pt x="185" y="485"/>
                      </a:lnTo>
                      <a:lnTo>
                        <a:pt x="192" y="485"/>
                      </a:lnTo>
                      <a:lnTo>
                        <a:pt x="192" y="485"/>
                      </a:lnTo>
                      <a:lnTo>
                        <a:pt x="192" y="487"/>
                      </a:lnTo>
                      <a:lnTo>
                        <a:pt x="192" y="487"/>
                      </a:lnTo>
                      <a:lnTo>
                        <a:pt x="191" y="489"/>
                      </a:lnTo>
                      <a:lnTo>
                        <a:pt x="191" y="491"/>
                      </a:lnTo>
                      <a:lnTo>
                        <a:pt x="191" y="491"/>
                      </a:lnTo>
                      <a:lnTo>
                        <a:pt x="189" y="493"/>
                      </a:lnTo>
                      <a:lnTo>
                        <a:pt x="189" y="493"/>
                      </a:lnTo>
                      <a:lnTo>
                        <a:pt x="185" y="494"/>
                      </a:lnTo>
                      <a:lnTo>
                        <a:pt x="178" y="496"/>
                      </a:lnTo>
                      <a:lnTo>
                        <a:pt x="179" y="500"/>
                      </a:lnTo>
                      <a:lnTo>
                        <a:pt x="181" y="505"/>
                      </a:lnTo>
                      <a:lnTo>
                        <a:pt x="179" y="505"/>
                      </a:lnTo>
                      <a:lnTo>
                        <a:pt x="172" y="505"/>
                      </a:lnTo>
                      <a:lnTo>
                        <a:pt x="163" y="504"/>
                      </a:lnTo>
                      <a:lnTo>
                        <a:pt x="155" y="504"/>
                      </a:lnTo>
                      <a:lnTo>
                        <a:pt x="148" y="504"/>
                      </a:lnTo>
                      <a:lnTo>
                        <a:pt x="148" y="507"/>
                      </a:lnTo>
                      <a:lnTo>
                        <a:pt x="148" y="515"/>
                      </a:lnTo>
                      <a:lnTo>
                        <a:pt x="135" y="515"/>
                      </a:lnTo>
                      <a:lnTo>
                        <a:pt x="122" y="515"/>
                      </a:lnTo>
                      <a:lnTo>
                        <a:pt x="109" y="515"/>
                      </a:lnTo>
                      <a:lnTo>
                        <a:pt x="96" y="515"/>
                      </a:lnTo>
                      <a:lnTo>
                        <a:pt x="96" y="513"/>
                      </a:lnTo>
                      <a:lnTo>
                        <a:pt x="98" y="511"/>
                      </a:lnTo>
                      <a:lnTo>
                        <a:pt x="98" y="511"/>
                      </a:lnTo>
                      <a:lnTo>
                        <a:pt x="98" y="507"/>
                      </a:lnTo>
                      <a:lnTo>
                        <a:pt x="100" y="504"/>
                      </a:lnTo>
                      <a:lnTo>
                        <a:pt x="102" y="500"/>
                      </a:lnTo>
                      <a:lnTo>
                        <a:pt x="102" y="500"/>
                      </a:lnTo>
                      <a:lnTo>
                        <a:pt x="104" y="498"/>
                      </a:lnTo>
                      <a:lnTo>
                        <a:pt x="107" y="498"/>
                      </a:lnTo>
                      <a:lnTo>
                        <a:pt x="111" y="496"/>
                      </a:lnTo>
                      <a:lnTo>
                        <a:pt x="111" y="496"/>
                      </a:lnTo>
                      <a:lnTo>
                        <a:pt x="113" y="496"/>
                      </a:lnTo>
                      <a:lnTo>
                        <a:pt x="113" y="491"/>
                      </a:lnTo>
                      <a:lnTo>
                        <a:pt x="113" y="487"/>
                      </a:lnTo>
                      <a:lnTo>
                        <a:pt x="109" y="487"/>
                      </a:lnTo>
                      <a:lnTo>
                        <a:pt x="104" y="487"/>
                      </a:lnTo>
                      <a:lnTo>
                        <a:pt x="102" y="487"/>
                      </a:lnTo>
                      <a:lnTo>
                        <a:pt x="100" y="483"/>
                      </a:lnTo>
                      <a:lnTo>
                        <a:pt x="98" y="480"/>
                      </a:lnTo>
                      <a:lnTo>
                        <a:pt x="96" y="476"/>
                      </a:lnTo>
                      <a:lnTo>
                        <a:pt x="95" y="472"/>
                      </a:lnTo>
                      <a:lnTo>
                        <a:pt x="89" y="476"/>
                      </a:lnTo>
                      <a:lnTo>
                        <a:pt x="84" y="478"/>
                      </a:lnTo>
                      <a:lnTo>
                        <a:pt x="76" y="481"/>
                      </a:lnTo>
                      <a:lnTo>
                        <a:pt x="71" y="483"/>
                      </a:lnTo>
                      <a:lnTo>
                        <a:pt x="72" y="485"/>
                      </a:lnTo>
                      <a:lnTo>
                        <a:pt x="78" y="489"/>
                      </a:lnTo>
                      <a:lnTo>
                        <a:pt x="76" y="489"/>
                      </a:lnTo>
                      <a:lnTo>
                        <a:pt x="71" y="491"/>
                      </a:lnTo>
                      <a:lnTo>
                        <a:pt x="65" y="493"/>
                      </a:lnTo>
                      <a:lnTo>
                        <a:pt x="65" y="496"/>
                      </a:lnTo>
                      <a:lnTo>
                        <a:pt x="65" y="500"/>
                      </a:lnTo>
                      <a:lnTo>
                        <a:pt x="65" y="504"/>
                      </a:lnTo>
                      <a:lnTo>
                        <a:pt x="65" y="507"/>
                      </a:lnTo>
                      <a:lnTo>
                        <a:pt x="71" y="509"/>
                      </a:lnTo>
                      <a:lnTo>
                        <a:pt x="71" y="509"/>
                      </a:lnTo>
                      <a:lnTo>
                        <a:pt x="74" y="511"/>
                      </a:lnTo>
                      <a:lnTo>
                        <a:pt x="74" y="511"/>
                      </a:lnTo>
                      <a:lnTo>
                        <a:pt x="76" y="520"/>
                      </a:lnTo>
                      <a:lnTo>
                        <a:pt x="76" y="520"/>
                      </a:lnTo>
                      <a:lnTo>
                        <a:pt x="76" y="528"/>
                      </a:lnTo>
                      <a:lnTo>
                        <a:pt x="76" y="535"/>
                      </a:lnTo>
                      <a:lnTo>
                        <a:pt x="76" y="542"/>
                      </a:lnTo>
                      <a:lnTo>
                        <a:pt x="76" y="542"/>
                      </a:lnTo>
                      <a:lnTo>
                        <a:pt x="74" y="550"/>
                      </a:lnTo>
                      <a:lnTo>
                        <a:pt x="72" y="557"/>
                      </a:lnTo>
                      <a:lnTo>
                        <a:pt x="72" y="557"/>
                      </a:lnTo>
                      <a:lnTo>
                        <a:pt x="71" y="563"/>
                      </a:lnTo>
                      <a:lnTo>
                        <a:pt x="71" y="563"/>
                      </a:lnTo>
                      <a:lnTo>
                        <a:pt x="67" y="568"/>
                      </a:lnTo>
                      <a:lnTo>
                        <a:pt x="63" y="574"/>
                      </a:lnTo>
                      <a:lnTo>
                        <a:pt x="63" y="574"/>
                      </a:lnTo>
                      <a:lnTo>
                        <a:pt x="60" y="579"/>
                      </a:lnTo>
                      <a:lnTo>
                        <a:pt x="60" y="579"/>
                      </a:lnTo>
                      <a:lnTo>
                        <a:pt x="54" y="583"/>
                      </a:lnTo>
                      <a:lnTo>
                        <a:pt x="54" y="583"/>
                      </a:lnTo>
                      <a:lnTo>
                        <a:pt x="48" y="587"/>
                      </a:lnTo>
                      <a:lnTo>
                        <a:pt x="43" y="590"/>
                      </a:lnTo>
                      <a:lnTo>
                        <a:pt x="36" y="594"/>
                      </a:lnTo>
                      <a:lnTo>
                        <a:pt x="28" y="598"/>
                      </a:lnTo>
                      <a:lnTo>
                        <a:pt x="21" y="600"/>
                      </a:lnTo>
                      <a:lnTo>
                        <a:pt x="21" y="603"/>
                      </a:lnTo>
                      <a:lnTo>
                        <a:pt x="21" y="607"/>
                      </a:lnTo>
                      <a:lnTo>
                        <a:pt x="23" y="613"/>
                      </a:lnTo>
                      <a:lnTo>
                        <a:pt x="23" y="618"/>
                      </a:lnTo>
                      <a:lnTo>
                        <a:pt x="21" y="618"/>
                      </a:lnTo>
                      <a:lnTo>
                        <a:pt x="15" y="618"/>
                      </a:lnTo>
                      <a:lnTo>
                        <a:pt x="12" y="618"/>
                      </a:lnTo>
                      <a:lnTo>
                        <a:pt x="8" y="625"/>
                      </a:lnTo>
                      <a:lnTo>
                        <a:pt x="6" y="635"/>
                      </a:lnTo>
                      <a:lnTo>
                        <a:pt x="4" y="642"/>
                      </a:lnTo>
                      <a:lnTo>
                        <a:pt x="0" y="649"/>
                      </a:lnTo>
                      <a:lnTo>
                        <a:pt x="8" y="651"/>
                      </a:lnTo>
                      <a:lnTo>
                        <a:pt x="17" y="651"/>
                      </a:lnTo>
                      <a:lnTo>
                        <a:pt x="24" y="653"/>
                      </a:lnTo>
                      <a:lnTo>
                        <a:pt x="34" y="655"/>
                      </a:lnTo>
                      <a:lnTo>
                        <a:pt x="34" y="655"/>
                      </a:lnTo>
                      <a:lnTo>
                        <a:pt x="36" y="660"/>
                      </a:lnTo>
                      <a:lnTo>
                        <a:pt x="37" y="664"/>
                      </a:lnTo>
                      <a:lnTo>
                        <a:pt x="39" y="668"/>
                      </a:lnTo>
                      <a:lnTo>
                        <a:pt x="43" y="672"/>
                      </a:lnTo>
                      <a:lnTo>
                        <a:pt x="47" y="673"/>
                      </a:lnTo>
                      <a:lnTo>
                        <a:pt x="50" y="677"/>
                      </a:lnTo>
                      <a:lnTo>
                        <a:pt x="54" y="679"/>
                      </a:lnTo>
                      <a:lnTo>
                        <a:pt x="58" y="681"/>
                      </a:lnTo>
                      <a:lnTo>
                        <a:pt x="58" y="681"/>
                      </a:lnTo>
                      <a:lnTo>
                        <a:pt x="61" y="684"/>
                      </a:lnTo>
                      <a:lnTo>
                        <a:pt x="65" y="686"/>
                      </a:lnTo>
                      <a:lnTo>
                        <a:pt x="69" y="690"/>
                      </a:lnTo>
                      <a:lnTo>
                        <a:pt x="69" y="690"/>
                      </a:lnTo>
                      <a:lnTo>
                        <a:pt x="72" y="694"/>
                      </a:lnTo>
                      <a:lnTo>
                        <a:pt x="76" y="696"/>
                      </a:lnTo>
                      <a:lnTo>
                        <a:pt x="76" y="696"/>
                      </a:lnTo>
                      <a:lnTo>
                        <a:pt x="78" y="701"/>
                      </a:lnTo>
                      <a:lnTo>
                        <a:pt x="78" y="701"/>
                      </a:lnTo>
                      <a:lnTo>
                        <a:pt x="78" y="703"/>
                      </a:lnTo>
                      <a:lnTo>
                        <a:pt x="80" y="705"/>
                      </a:lnTo>
                      <a:lnTo>
                        <a:pt x="80" y="705"/>
                      </a:lnTo>
                      <a:lnTo>
                        <a:pt x="80" y="707"/>
                      </a:lnTo>
                      <a:lnTo>
                        <a:pt x="80" y="710"/>
                      </a:lnTo>
                      <a:lnTo>
                        <a:pt x="80" y="710"/>
                      </a:lnTo>
                      <a:lnTo>
                        <a:pt x="74" y="714"/>
                      </a:lnTo>
                      <a:lnTo>
                        <a:pt x="69" y="718"/>
                      </a:lnTo>
                      <a:lnTo>
                        <a:pt x="63" y="721"/>
                      </a:lnTo>
                      <a:lnTo>
                        <a:pt x="58" y="727"/>
                      </a:lnTo>
                      <a:lnTo>
                        <a:pt x="58" y="731"/>
                      </a:lnTo>
                      <a:lnTo>
                        <a:pt x="58" y="731"/>
                      </a:lnTo>
                      <a:lnTo>
                        <a:pt x="58" y="734"/>
                      </a:lnTo>
                      <a:lnTo>
                        <a:pt x="58" y="738"/>
                      </a:lnTo>
                      <a:lnTo>
                        <a:pt x="58" y="738"/>
                      </a:lnTo>
                      <a:lnTo>
                        <a:pt x="58" y="742"/>
                      </a:lnTo>
                      <a:lnTo>
                        <a:pt x="56" y="747"/>
                      </a:lnTo>
                      <a:lnTo>
                        <a:pt x="52" y="755"/>
                      </a:lnTo>
                      <a:lnTo>
                        <a:pt x="50" y="760"/>
                      </a:lnTo>
                      <a:lnTo>
                        <a:pt x="47" y="766"/>
                      </a:lnTo>
                      <a:lnTo>
                        <a:pt x="45" y="773"/>
                      </a:lnTo>
                      <a:lnTo>
                        <a:pt x="41" y="779"/>
                      </a:lnTo>
                      <a:lnTo>
                        <a:pt x="37" y="784"/>
                      </a:lnTo>
                      <a:lnTo>
                        <a:pt x="36" y="790"/>
                      </a:lnTo>
                      <a:lnTo>
                        <a:pt x="34" y="795"/>
                      </a:lnTo>
                      <a:lnTo>
                        <a:pt x="30" y="803"/>
                      </a:lnTo>
                      <a:lnTo>
                        <a:pt x="30" y="808"/>
                      </a:lnTo>
                      <a:lnTo>
                        <a:pt x="28" y="816"/>
                      </a:lnTo>
                      <a:lnTo>
                        <a:pt x="28" y="819"/>
                      </a:lnTo>
                      <a:lnTo>
                        <a:pt x="28" y="821"/>
                      </a:lnTo>
                      <a:lnTo>
                        <a:pt x="28" y="827"/>
                      </a:lnTo>
                      <a:lnTo>
                        <a:pt x="28" y="828"/>
                      </a:lnTo>
                      <a:lnTo>
                        <a:pt x="34" y="828"/>
                      </a:lnTo>
                      <a:lnTo>
                        <a:pt x="39" y="828"/>
                      </a:lnTo>
                      <a:lnTo>
                        <a:pt x="39" y="830"/>
                      </a:lnTo>
                      <a:lnTo>
                        <a:pt x="39" y="836"/>
                      </a:lnTo>
                      <a:lnTo>
                        <a:pt x="39" y="841"/>
                      </a:lnTo>
                      <a:lnTo>
                        <a:pt x="39" y="847"/>
                      </a:lnTo>
                      <a:lnTo>
                        <a:pt x="39" y="852"/>
                      </a:lnTo>
                      <a:lnTo>
                        <a:pt x="48" y="856"/>
                      </a:lnTo>
                      <a:lnTo>
                        <a:pt x="56" y="860"/>
                      </a:lnTo>
                      <a:lnTo>
                        <a:pt x="65" y="862"/>
                      </a:lnTo>
                      <a:lnTo>
                        <a:pt x="74" y="863"/>
                      </a:lnTo>
                      <a:lnTo>
                        <a:pt x="82" y="863"/>
                      </a:lnTo>
                      <a:lnTo>
                        <a:pt x="91" y="865"/>
                      </a:lnTo>
                      <a:lnTo>
                        <a:pt x="100" y="865"/>
                      </a:lnTo>
                      <a:lnTo>
                        <a:pt x="111" y="865"/>
                      </a:lnTo>
                      <a:lnTo>
                        <a:pt x="111" y="865"/>
                      </a:lnTo>
                      <a:lnTo>
                        <a:pt x="115" y="869"/>
                      </a:lnTo>
                      <a:lnTo>
                        <a:pt x="117" y="873"/>
                      </a:lnTo>
                      <a:lnTo>
                        <a:pt x="117" y="873"/>
                      </a:lnTo>
                      <a:lnTo>
                        <a:pt x="117" y="876"/>
                      </a:lnTo>
                      <a:lnTo>
                        <a:pt x="119" y="880"/>
                      </a:lnTo>
                      <a:lnTo>
                        <a:pt x="119" y="880"/>
                      </a:lnTo>
                      <a:lnTo>
                        <a:pt x="120" y="887"/>
                      </a:lnTo>
                      <a:lnTo>
                        <a:pt x="122" y="899"/>
                      </a:lnTo>
                      <a:lnTo>
                        <a:pt x="126" y="899"/>
                      </a:lnTo>
                      <a:lnTo>
                        <a:pt x="130" y="899"/>
                      </a:lnTo>
                      <a:lnTo>
                        <a:pt x="133" y="899"/>
                      </a:lnTo>
                      <a:lnTo>
                        <a:pt x="139" y="899"/>
                      </a:lnTo>
                      <a:lnTo>
                        <a:pt x="144" y="897"/>
                      </a:lnTo>
                      <a:lnTo>
                        <a:pt x="152" y="893"/>
                      </a:lnTo>
                      <a:lnTo>
                        <a:pt x="157" y="891"/>
                      </a:lnTo>
                      <a:lnTo>
                        <a:pt x="167" y="887"/>
                      </a:lnTo>
                      <a:lnTo>
                        <a:pt x="167" y="889"/>
                      </a:lnTo>
                      <a:lnTo>
                        <a:pt x="167" y="895"/>
                      </a:lnTo>
                      <a:lnTo>
                        <a:pt x="168" y="902"/>
                      </a:lnTo>
                      <a:lnTo>
                        <a:pt x="170" y="910"/>
                      </a:lnTo>
                      <a:lnTo>
                        <a:pt x="172" y="915"/>
                      </a:lnTo>
                      <a:lnTo>
                        <a:pt x="189" y="913"/>
                      </a:lnTo>
                      <a:lnTo>
                        <a:pt x="209" y="910"/>
                      </a:lnTo>
                      <a:lnTo>
                        <a:pt x="222" y="908"/>
                      </a:lnTo>
                      <a:lnTo>
                        <a:pt x="233" y="904"/>
                      </a:lnTo>
                      <a:lnTo>
                        <a:pt x="246" y="902"/>
                      </a:lnTo>
                      <a:lnTo>
                        <a:pt x="259" y="899"/>
                      </a:lnTo>
                      <a:lnTo>
                        <a:pt x="270" y="895"/>
                      </a:lnTo>
                      <a:lnTo>
                        <a:pt x="283" y="891"/>
                      </a:lnTo>
                      <a:lnTo>
                        <a:pt x="288" y="889"/>
                      </a:lnTo>
                      <a:lnTo>
                        <a:pt x="294" y="887"/>
                      </a:lnTo>
                      <a:lnTo>
                        <a:pt x="298" y="884"/>
                      </a:lnTo>
                      <a:lnTo>
                        <a:pt x="303" y="882"/>
                      </a:lnTo>
                      <a:lnTo>
                        <a:pt x="307" y="878"/>
                      </a:lnTo>
                      <a:lnTo>
                        <a:pt x="312" y="876"/>
                      </a:lnTo>
                      <a:lnTo>
                        <a:pt x="316" y="873"/>
                      </a:lnTo>
                      <a:lnTo>
                        <a:pt x="320" y="869"/>
                      </a:lnTo>
                      <a:lnTo>
                        <a:pt x="322" y="867"/>
                      </a:lnTo>
                      <a:lnTo>
                        <a:pt x="325" y="863"/>
                      </a:lnTo>
                      <a:lnTo>
                        <a:pt x="327" y="860"/>
                      </a:lnTo>
                      <a:lnTo>
                        <a:pt x="329" y="856"/>
                      </a:lnTo>
                      <a:lnTo>
                        <a:pt x="327" y="856"/>
                      </a:lnTo>
                      <a:lnTo>
                        <a:pt x="323" y="856"/>
                      </a:lnTo>
                      <a:lnTo>
                        <a:pt x="323" y="856"/>
                      </a:lnTo>
                      <a:lnTo>
                        <a:pt x="323" y="851"/>
                      </a:lnTo>
                      <a:lnTo>
                        <a:pt x="323" y="845"/>
                      </a:lnTo>
                      <a:lnTo>
                        <a:pt x="323" y="839"/>
                      </a:lnTo>
                      <a:lnTo>
                        <a:pt x="323" y="832"/>
                      </a:lnTo>
                      <a:lnTo>
                        <a:pt x="323" y="832"/>
                      </a:lnTo>
                      <a:lnTo>
                        <a:pt x="329" y="832"/>
                      </a:lnTo>
                      <a:lnTo>
                        <a:pt x="334" y="832"/>
                      </a:lnTo>
                      <a:lnTo>
                        <a:pt x="334" y="830"/>
                      </a:lnTo>
                      <a:lnTo>
                        <a:pt x="334" y="825"/>
                      </a:lnTo>
                      <a:lnTo>
                        <a:pt x="334" y="821"/>
                      </a:lnTo>
                      <a:lnTo>
                        <a:pt x="334" y="817"/>
                      </a:lnTo>
                      <a:lnTo>
                        <a:pt x="342" y="814"/>
                      </a:lnTo>
                      <a:lnTo>
                        <a:pt x="351" y="812"/>
                      </a:lnTo>
                      <a:lnTo>
                        <a:pt x="358" y="810"/>
                      </a:lnTo>
                      <a:lnTo>
                        <a:pt x="366" y="806"/>
                      </a:lnTo>
                      <a:lnTo>
                        <a:pt x="364" y="804"/>
                      </a:lnTo>
                      <a:lnTo>
                        <a:pt x="364" y="801"/>
                      </a:lnTo>
                      <a:lnTo>
                        <a:pt x="362" y="799"/>
                      </a:lnTo>
                      <a:lnTo>
                        <a:pt x="362" y="799"/>
                      </a:lnTo>
                      <a:lnTo>
                        <a:pt x="362" y="795"/>
                      </a:lnTo>
                      <a:lnTo>
                        <a:pt x="362" y="795"/>
                      </a:lnTo>
                      <a:lnTo>
                        <a:pt x="368" y="795"/>
                      </a:lnTo>
                      <a:lnTo>
                        <a:pt x="373" y="795"/>
                      </a:lnTo>
                      <a:lnTo>
                        <a:pt x="373" y="790"/>
                      </a:lnTo>
                      <a:lnTo>
                        <a:pt x="373" y="784"/>
                      </a:lnTo>
                      <a:lnTo>
                        <a:pt x="373" y="784"/>
                      </a:lnTo>
                      <a:lnTo>
                        <a:pt x="379" y="786"/>
                      </a:lnTo>
                      <a:lnTo>
                        <a:pt x="384" y="786"/>
                      </a:lnTo>
                      <a:lnTo>
                        <a:pt x="390" y="788"/>
                      </a:lnTo>
                      <a:lnTo>
                        <a:pt x="395" y="790"/>
                      </a:lnTo>
                      <a:lnTo>
                        <a:pt x="395" y="784"/>
                      </a:lnTo>
                      <a:lnTo>
                        <a:pt x="395" y="779"/>
                      </a:lnTo>
                      <a:lnTo>
                        <a:pt x="395" y="779"/>
                      </a:lnTo>
                      <a:lnTo>
                        <a:pt x="397" y="777"/>
                      </a:lnTo>
                      <a:lnTo>
                        <a:pt x="401" y="777"/>
                      </a:lnTo>
                      <a:lnTo>
                        <a:pt x="403" y="775"/>
                      </a:lnTo>
                      <a:lnTo>
                        <a:pt x="405" y="775"/>
                      </a:lnTo>
                      <a:lnTo>
                        <a:pt x="406" y="773"/>
                      </a:lnTo>
                      <a:lnTo>
                        <a:pt x="408" y="771"/>
                      </a:lnTo>
                      <a:lnTo>
                        <a:pt x="410" y="769"/>
                      </a:lnTo>
                      <a:lnTo>
                        <a:pt x="410" y="769"/>
                      </a:lnTo>
                      <a:lnTo>
                        <a:pt x="412" y="766"/>
                      </a:lnTo>
                      <a:lnTo>
                        <a:pt x="414" y="760"/>
                      </a:lnTo>
                      <a:lnTo>
                        <a:pt x="414" y="755"/>
                      </a:lnTo>
                      <a:lnTo>
                        <a:pt x="414" y="749"/>
                      </a:lnTo>
                      <a:lnTo>
                        <a:pt x="425" y="749"/>
                      </a:lnTo>
                      <a:lnTo>
                        <a:pt x="436" y="747"/>
                      </a:lnTo>
                      <a:lnTo>
                        <a:pt x="445" y="747"/>
                      </a:lnTo>
                      <a:lnTo>
                        <a:pt x="454" y="745"/>
                      </a:lnTo>
                      <a:lnTo>
                        <a:pt x="454" y="742"/>
                      </a:lnTo>
                      <a:lnTo>
                        <a:pt x="454" y="738"/>
                      </a:lnTo>
                      <a:lnTo>
                        <a:pt x="454" y="734"/>
                      </a:lnTo>
                      <a:lnTo>
                        <a:pt x="454" y="729"/>
                      </a:lnTo>
                      <a:lnTo>
                        <a:pt x="454" y="729"/>
                      </a:lnTo>
                      <a:lnTo>
                        <a:pt x="464" y="729"/>
                      </a:lnTo>
                      <a:lnTo>
                        <a:pt x="469" y="729"/>
                      </a:lnTo>
                      <a:lnTo>
                        <a:pt x="477" y="727"/>
                      </a:lnTo>
                      <a:lnTo>
                        <a:pt x="482" y="727"/>
                      </a:lnTo>
                      <a:lnTo>
                        <a:pt x="490" y="725"/>
                      </a:lnTo>
                      <a:lnTo>
                        <a:pt x="495" y="723"/>
                      </a:lnTo>
                      <a:lnTo>
                        <a:pt x="497" y="721"/>
                      </a:lnTo>
                      <a:lnTo>
                        <a:pt x="501" y="720"/>
                      </a:lnTo>
                      <a:lnTo>
                        <a:pt x="501" y="720"/>
                      </a:lnTo>
                      <a:lnTo>
                        <a:pt x="504" y="718"/>
                      </a:lnTo>
                      <a:lnTo>
                        <a:pt x="506" y="716"/>
                      </a:lnTo>
                      <a:lnTo>
                        <a:pt x="508" y="716"/>
                      </a:lnTo>
                      <a:lnTo>
                        <a:pt x="512" y="716"/>
                      </a:lnTo>
                      <a:lnTo>
                        <a:pt x="515" y="718"/>
                      </a:lnTo>
                      <a:lnTo>
                        <a:pt x="519" y="720"/>
                      </a:lnTo>
                      <a:lnTo>
                        <a:pt x="523" y="721"/>
                      </a:lnTo>
                      <a:lnTo>
                        <a:pt x="526" y="736"/>
                      </a:lnTo>
                      <a:lnTo>
                        <a:pt x="530" y="749"/>
                      </a:lnTo>
                      <a:lnTo>
                        <a:pt x="536" y="764"/>
                      </a:lnTo>
                      <a:lnTo>
                        <a:pt x="539" y="777"/>
                      </a:lnTo>
                      <a:lnTo>
                        <a:pt x="545" y="777"/>
                      </a:lnTo>
                      <a:lnTo>
                        <a:pt x="550" y="775"/>
                      </a:lnTo>
                      <a:lnTo>
                        <a:pt x="556" y="773"/>
                      </a:lnTo>
                      <a:lnTo>
                        <a:pt x="563" y="771"/>
                      </a:lnTo>
                      <a:lnTo>
                        <a:pt x="574" y="768"/>
                      </a:lnTo>
                      <a:lnTo>
                        <a:pt x="587" y="764"/>
                      </a:lnTo>
                      <a:lnTo>
                        <a:pt x="598" y="758"/>
                      </a:lnTo>
                      <a:lnTo>
                        <a:pt x="611" y="755"/>
                      </a:lnTo>
                      <a:lnTo>
                        <a:pt x="617" y="753"/>
                      </a:lnTo>
                      <a:lnTo>
                        <a:pt x="624" y="751"/>
                      </a:lnTo>
                      <a:lnTo>
                        <a:pt x="632" y="751"/>
                      </a:lnTo>
                      <a:lnTo>
                        <a:pt x="632" y="751"/>
                      </a:lnTo>
                      <a:lnTo>
                        <a:pt x="639" y="751"/>
                      </a:lnTo>
                      <a:lnTo>
                        <a:pt x="641" y="738"/>
                      </a:lnTo>
                      <a:lnTo>
                        <a:pt x="643" y="731"/>
                      </a:lnTo>
                      <a:lnTo>
                        <a:pt x="643" y="727"/>
                      </a:lnTo>
                      <a:lnTo>
                        <a:pt x="643" y="725"/>
                      </a:lnTo>
                      <a:lnTo>
                        <a:pt x="641" y="721"/>
                      </a:lnTo>
                      <a:lnTo>
                        <a:pt x="641" y="718"/>
                      </a:lnTo>
                      <a:lnTo>
                        <a:pt x="641" y="718"/>
                      </a:lnTo>
                      <a:lnTo>
                        <a:pt x="646" y="718"/>
                      </a:lnTo>
                      <a:lnTo>
                        <a:pt x="652" y="718"/>
                      </a:lnTo>
                      <a:lnTo>
                        <a:pt x="652" y="708"/>
                      </a:lnTo>
                      <a:lnTo>
                        <a:pt x="654" y="701"/>
                      </a:lnTo>
                      <a:lnTo>
                        <a:pt x="654" y="694"/>
                      </a:lnTo>
                      <a:lnTo>
                        <a:pt x="656" y="686"/>
                      </a:lnTo>
                      <a:lnTo>
                        <a:pt x="659" y="677"/>
                      </a:lnTo>
                      <a:lnTo>
                        <a:pt x="661" y="664"/>
                      </a:lnTo>
                      <a:lnTo>
                        <a:pt x="667" y="649"/>
                      </a:lnTo>
                      <a:lnTo>
                        <a:pt x="672" y="629"/>
                      </a:lnTo>
                      <a:lnTo>
                        <a:pt x="672" y="629"/>
                      </a:lnTo>
                      <a:lnTo>
                        <a:pt x="676" y="627"/>
                      </a:lnTo>
                      <a:lnTo>
                        <a:pt x="681" y="625"/>
                      </a:lnTo>
                      <a:lnTo>
                        <a:pt x="681" y="625"/>
                      </a:lnTo>
                      <a:lnTo>
                        <a:pt x="685" y="625"/>
                      </a:lnTo>
                      <a:lnTo>
                        <a:pt x="691" y="624"/>
                      </a:lnTo>
                      <a:lnTo>
                        <a:pt x="691" y="625"/>
                      </a:lnTo>
                      <a:lnTo>
                        <a:pt x="691" y="631"/>
                      </a:lnTo>
                      <a:lnTo>
                        <a:pt x="691" y="635"/>
                      </a:lnTo>
                      <a:lnTo>
                        <a:pt x="702" y="635"/>
                      </a:lnTo>
                      <a:lnTo>
                        <a:pt x="713" y="635"/>
                      </a:lnTo>
                      <a:lnTo>
                        <a:pt x="724" y="635"/>
                      </a:lnTo>
                      <a:lnTo>
                        <a:pt x="735" y="635"/>
                      </a:lnTo>
                      <a:lnTo>
                        <a:pt x="735" y="633"/>
                      </a:lnTo>
                      <a:lnTo>
                        <a:pt x="735" y="625"/>
                      </a:lnTo>
                      <a:lnTo>
                        <a:pt x="733" y="618"/>
                      </a:lnTo>
                      <a:lnTo>
                        <a:pt x="733" y="611"/>
                      </a:lnTo>
                      <a:lnTo>
                        <a:pt x="731" y="594"/>
                      </a:lnTo>
                      <a:lnTo>
                        <a:pt x="729" y="577"/>
                      </a:lnTo>
                      <a:lnTo>
                        <a:pt x="728" y="563"/>
                      </a:lnTo>
                      <a:lnTo>
                        <a:pt x="726" y="546"/>
                      </a:lnTo>
                      <a:lnTo>
                        <a:pt x="726" y="539"/>
                      </a:lnTo>
                      <a:lnTo>
                        <a:pt x="726" y="531"/>
                      </a:lnTo>
                      <a:lnTo>
                        <a:pt x="726" y="531"/>
                      </a:lnTo>
                      <a:lnTo>
                        <a:pt x="728" y="524"/>
                      </a:lnTo>
                      <a:lnTo>
                        <a:pt x="728" y="517"/>
                      </a:lnTo>
                      <a:lnTo>
                        <a:pt x="724" y="517"/>
                      </a:lnTo>
                      <a:lnTo>
                        <a:pt x="720" y="515"/>
                      </a:lnTo>
                      <a:lnTo>
                        <a:pt x="717" y="515"/>
                      </a:lnTo>
                      <a:lnTo>
                        <a:pt x="711" y="515"/>
                      </a:lnTo>
                      <a:lnTo>
                        <a:pt x="711" y="513"/>
                      </a:lnTo>
                      <a:lnTo>
                        <a:pt x="715" y="511"/>
                      </a:lnTo>
                      <a:lnTo>
                        <a:pt x="717" y="509"/>
                      </a:lnTo>
                      <a:lnTo>
                        <a:pt x="717" y="509"/>
                      </a:lnTo>
                      <a:lnTo>
                        <a:pt x="718" y="509"/>
                      </a:lnTo>
                      <a:lnTo>
                        <a:pt x="718" y="509"/>
                      </a:lnTo>
                      <a:lnTo>
                        <a:pt x="720" y="507"/>
                      </a:lnTo>
                      <a:lnTo>
                        <a:pt x="720" y="507"/>
                      </a:lnTo>
                      <a:lnTo>
                        <a:pt x="724" y="507"/>
                      </a:lnTo>
                      <a:lnTo>
                        <a:pt x="726" y="507"/>
                      </a:lnTo>
                      <a:lnTo>
                        <a:pt x="726" y="507"/>
                      </a:lnTo>
                      <a:lnTo>
                        <a:pt x="729" y="509"/>
                      </a:lnTo>
                      <a:lnTo>
                        <a:pt x="733" y="509"/>
                      </a:lnTo>
                      <a:lnTo>
                        <a:pt x="735" y="505"/>
                      </a:lnTo>
                      <a:lnTo>
                        <a:pt x="735" y="505"/>
                      </a:lnTo>
                      <a:lnTo>
                        <a:pt x="737" y="502"/>
                      </a:lnTo>
                      <a:lnTo>
                        <a:pt x="741" y="496"/>
                      </a:lnTo>
                      <a:lnTo>
                        <a:pt x="742" y="493"/>
                      </a:lnTo>
                      <a:lnTo>
                        <a:pt x="746" y="487"/>
                      </a:lnTo>
                      <a:lnTo>
                        <a:pt x="752" y="481"/>
                      </a:lnTo>
                      <a:lnTo>
                        <a:pt x="757" y="476"/>
                      </a:lnTo>
                      <a:lnTo>
                        <a:pt x="763" y="470"/>
                      </a:lnTo>
                      <a:lnTo>
                        <a:pt x="764" y="467"/>
                      </a:lnTo>
                      <a:lnTo>
                        <a:pt x="766" y="463"/>
                      </a:lnTo>
                      <a:lnTo>
                        <a:pt x="766" y="463"/>
                      </a:lnTo>
                      <a:lnTo>
                        <a:pt x="768" y="459"/>
                      </a:lnTo>
                      <a:lnTo>
                        <a:pt x="772" y="456"/>
                      </a:lnTo>
                      <a:lnTo>
                        <a:pt x="768" y="454"/>
                      </a:lnTo>
                      <a:lnTo>
                        <a:pt x="766" y="454"/>
                      </a:lnTo>
                      <a:lnTo>
                        <a:pt x="764" y="452"/>
                      </a:lnTo>
                      <a:lnTo>
                        <a:pt x="763" y="450"/>
                      </a:lnTo>
                      <a:lnTo>
                        <a:pt x="763" y="450"/>
                      </a:lnTo>
                      <a:lnTo>
                        <a:pt x="761" y="446"/>
                      </a:lnTo>
                      <a:lnTo>
                        <a:pt x="761" y="446"/>
                      </a:lnTo>
                      <a:lnTo>
                        <a:pt x="759" y="445"/>
                      </a:lnTo>
                      <a:lnTo>
                        <a:pt x="757" y="441"/>
                      </a:lnTo>
                      <a:lnTo>
                        <a:pt x="757" y="437"/>
                      </a:lnTo>
                      <a:lnTo>
                        <a:pt x="755" y="434"/>
                      </a:lnTo>
                      <a:lnTo>
                        <a:pt x="750" y="434"/>
                      </a:lnTo>
                      <a:lnTo>
                        <a:pt x="744" y="434"/>
                      </a:lnTo>
                      <a:lnTo>
                        <a:pt x="737" y="434"/>
                      </a:lnTo>
                      <a:lnTo>
                        <a:pt x="731" y="435"/>
                      </a:lnTo>
                      <a:lnTo>
                        <a:pt x="729" y="435"/>
                      </a:lnTo>
                      <a:lnTo>
                        <a:pt x="729" y="437"/>
                      </a:lnTo>
                      <a:lnTo>
                        <a:pt x="729" y="441"/>
                      </a:lnTo>
                      <a:lnTo>
                        <a:pt x="729" y="446"/>
                      </a:lnTo>
                      <a:lnTo>
                        <a:pt x="728" y="446"/>
                      </a:lnTo>
                      <a:lnTo>
                        <a:pt x="726" y="446"/>
                      </a:lnTo>
                      <a:lnTo>
                        <a:pt x="724" y="446"/>
                      </a:lnTo>
                      <a:lnTo>
                        <a:pt x="724" y="446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5"/>
                      </a:lnTo>
                      <a:lnTo>
                        <a:pt x="724" y="441"/>
                      </a:lnTo>
                      <a:lnTo>
                        <a:pt x="724" y="441"/>
                      </a:lnTo>
                      <a:lnTo>
                        <a:pt x="724" y="434"/>
                      </a:lnTo>
                      <a:lnTo>
                        <a:pt x="724" y="434"/>
                      </a:lnTo>
                      <a:lnTo>
                        <a:pt x="726" y="432"/>
                      </a:lnTo>
                      <a:lnTo>
                        <a:pt x="726" y="432"/>
                      </a:lnTo>
                      <a:lnTo>
                        <a:pt x="728" y="432"/>
                      </a:lnTo>
                      <a:lnTo>
                        <a:pt x="728" y="428"/>
                      </a:lnTo>
                      <a:lnTo>
                        <a:pt x="728" y="424"/>
                      </a:lnTo>
                      <a:lnTo>
                        <a:pt x="715" y="426"/>
                      </a:lnTo>
                      <a:lnTo>
                        <a:pt x="700" y="428"/>
                      </a:lnTo>
                      <a:lnTo>
                        <a:pt x="687" y="430"/>
                      </a:lnTo>
                      <a:lnTo>
                        <a:pt x="674" y="432"/>
                      </a:lnTo>
                      <a:lnTo>
                        <a:pt x="676" y="432"/>
                      </a:lnTo>
                      <a:lnTo>
                        <a:pt x="676" y="432"/>
                      </a:lnTo>
                      <a:lnTo>
                        <a:pt x="676" y="434"/>
                      </a:lnTo>
                      <a:lnTo>
                        <a:pt x="680" y="434"/>
                      </a:lnTo>
                      <a:lnTo>
                        <a:pt x="683" y="434"/>
                      </a:lnTo>
                      <a:lnTo>
                        <a:pt x="687" y="434"/>
                      </a:lnTo>
                      <a:lnTo>
                        <a:pt x="691" y="434"/>
                      </a:lnTo>
                      <a:lnTo>
                        <a:pt x="691" y="434"/>
                      </a:lnTo>
                      <a:lnTo>
                        <a:pt x="691" y="437"/>
                      </a:lnTo>
                      <a:lnTo>
                        <a:pt x="691" y="437"/>
                      </a:lnTo>
                      <a:lnTo>
                        <a:pt x="691" y="437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9" y="439"/>
                      </a:lnTo>
                      <a:lnTo>
                        <a:pt x="683" y="441"/>
                      </a:lnTo>
                      <a:lnTo>
                        <a:pt x="683" y="441"/>
                      </a:lnTo>
                      <a:lnTo>
                        <a:pt x="676" y="441"/>
                      </a:lnTo>
                      <a:lnTo>
                        <a:pt x="676" y="441"/>
                      </a:lnTo>
                      <a:lnTo>
                        <a:pt x="674" y="445"/>
                      </a:lnTo>
                      <a:lnTo>
                        <a:pt x="672" y="443"/>
                      </a:lnTo>
                      <a:lnTo>
                        <a:pt x="672" y="441"/>
                      </a:lnTo>
                      <a:lnTo>
                        <a:pt x="670" y="439"/>
                      </a:lnTo>
                      <a:lnTo>
                        <a:pt x="670" y="439"/>
                      </a:lnTo>
                      <a:lnTo>
                        <a:pt x="672" y="437"/>
                      </a:lnTo>
                      <a:lnTo>
                        <a:pt x="672" y="437"/>
                      </a:lnTo>
                      <a:lnTo>
                        <a:pt x="672" y="437"/>
                      </a:lnTo>
                      <a:lnTo>
                        <a:pt x="672" y="435"/>
                      </a:lnTo>
                      <a:lnTo>
                        <a:pt x="670" y="435"/>
                      </a:lnTo>
                      <a:lnTo>
                        <a:pt x="663" y="432"/>
                      </a:lnTo>
                      <a:lnTo>
                        <a:pt x="657" y="430"/>
                      </a:lnTo>
                      <a:lnTo>
                        <a:pt x="652" y="430"/>
                      </a:lnTo>
                      <a:lnTo>
                        <a:pt x="646" y="428"/>
                      </a:lnTo>
                      <a:lnTo>
                        <a:pt x="641" y="428"/>
                      </a:lnTo>
                      <a:lnTo>
                        <a:pt x="633" y="428"/>
                      </a:lnTo>
                      <a:lnTo>
                        <a:pt x="624" y="426"/>
                      </a:lnTo>
                      <a:lnTo>
                        <a:pt x="613" y="426"/>
                      </a:lnTo>
                      <a:lnTo>
                        <a:pt x="615" y="430"/>
                      </a:lnTo>
                      <a:lnTo>
                        <a:pt x="617" y="434"/>
                      </a:lnTo>
                      <a:lnTo>
                        <a:pt x="617" y="434"/>
                      </a:lnTo>
                      <a:lnTo>
                        <a:pt x="619" y="435"/>
                      </a:lnTo>
                      <a:lnTo>
                        <a:pt x="622" y="441"/>
                      </a:lnTo>
                      <a:lnTo>
                        <a:pt x="621" y="441"/>
                      </a:lnTo>
                      <a:lnTo>
                        <a:pt x="613" y="441"/>
                      </a:lnTo>
                      <a:lnTo>
                        <a:pt x="604" y="441"/>
                      </a:lnTo>
                      <a:lnTo>
                        <a:pt x="595" y="441"/>
                      </a:lnTo>
                      <a:lnTo>
                        <a:pt x="587" y="441"/>
                      </a:lnTo>
                      <a:lnTo>
                        <a:pt x="578" y="441"/>
                      </a:lnTo>
                      <a:lnTo>
                        <a:pt x="569" y="441"/>
                      </a:lnTo>
                      <a:lnTo>
                        <a:pt x="561" y="441"/>
                      </a:lnTo>
                      <a:lnTo>
                        <a:pt x="552" y="441"/>
                      </a:lnTo>
                      <a:lnTo>
                        <a:pt x="552" y="441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2" y="437"/>
                      </a:lnTo>
                      <a:lnTo>
                        <a:pt x="554" y="435"/>
                      </a:lnTo>
                      <a:lnTo>
                        <a:pt x="554" y="435"/>
                      </a:lnTo>
                      <a:lnTo>
                        <a:pt x="556" y="435"/>
                      </a:lnTo>
                      <a:lnTo>
                        <a:pt x="567" y="434"/>
                      </a:lnTo>
                      <a:lnTo>
                        <a:pt x="585" y="434"/>
                      </a:lnTo>
                      <a:lnTo>
                        <a:pt x="587" y="424"/>
                      </a:lnTo>
                      <a:lnTo>
                        <a:pt x="589" y="415"/>
                      </a:lnTo>
                      <a:lnTo>
                        <a:pt x="591" y="408"/>
                      </a:lnTo>
                      <a:lnTo>
                        <a:pt x="593" y="400"/>
                      </a:lnTo>
                      <a:lnTo>
                        <a:pt x="593" y="395"/>
                      </a:lnTo>
                      <a:lnTo>
                        <a:pt x="595" y="386"/>
                      </a:lnTo>
                      <a:lnTo>
                        <a:pt x="595" y="376"/>
                      </a:lnTo>
                      <a:lnTo>
                        <a:pt x="595" y="363"/>
                      </a:lnTo>
                      <a:lnTo>
                        <a:pt x="591" y="363"/>
                      </a:lnTo>
                      <a:lnTo>
                        <a:pt x="584" y="365"/>
                      </a:lnTo>
                      <a:lnTo>
                        <a:pt x="582" y="354"/>
                      </a:lnTo>
                      <a:lnTo>
                        <a:pt x="578" y="345"/>
                      </a:lnTo>
                      <a:lnTo>
                        <a:pt x="576" y="336"/>
                      </a:lnTo>
                      <a:lnTo>
                        <a:pt x="573" y="326"/>
                      </a:lnTo>
                      <a:lnTo>
                        <a:pt x="571" y="326"/>
                      </a:lnTo>
                      <a:lnTo>
                        <a:pt x="567" y="326"/>
                      </a:lnTo>
                      <a:lnTo>
                        <a:pt x="565" y="328"/>
                      </a:lnTo>
                      <a:lnTo>
                        <a:pt x="563" y="328"/>
                      </a:lnTo>
                      <a:lnTo>
                        <a:pt x="563" y="332"/>
                      </a:lnTo>
                      <a:lnTo>
                        <a:pt x="563" y="336"/>
                      </a:lnTo>
                      <a:lnTo>
                        <a:pt x="563" y="339"/>
                      </a:lnTo>
                      <a:lnTo>
                        <a:pt x="563" y="343"/>
                      </a:lnTo>
                      <a:lnTo>
                        <a:pt x="563" y="343"/>
                      </a:lnTo>
                      <a:lnTo>
                        <a:pt x="560" y="343"/>
                      </a:lnTo>
                      <a:lnTo>
                        <a:pt x="556" y="343"/>
                      </a:lnTo>
                      <a:lnTo>
                        <a:pt x="556" y="343"/>
                      </a:lnTo>
                      <a:lnTo>
                        <a:pt x="558" y="338"/>
                      </a:lnTo>
                      <a:lnTo>
                        <a:pt x="558" y="338"/>
                      </a:lnTo>
                      <a:lnTo>
                        <a:pt x="558" y="334"/>
                      </a:lnTo>
                      <a:lnTo>
                        <a:pt x="558" y="330"/>
                      </a:lnTo>
                      <a:lnTo>
                        <a:pt x="560" y="326"/>
                      </a:lnTo>
                      <a:lnTo>
                        <a:pt x="560" y="326"/>
                      </a:lnTo>
                      <a:lnTo>
                        <a:pt x="561" y="325"/>
                      </a:lnTo>
                      <a:lnTo>
                        <a:pt x="561" y="325"/>
                      </a:lnTo>
                      <a:lnTo>
                        <a:pt x="561" y="323"/>
                      </a:lnTo>
                      <a:lnTo>
                        <a:pt x="561" y="323"/>
                      </a:lnTo>
                      <a:lnTo>
                        <a:pt x="560" y="321"/>
                      </a:lnTo>
                      <a:lnTo>
                        <a:pt x="558" y="321"/>
                      </a:lnTo>
                      <a:lnTo>
                        <a:pt x="554" y="319"/>
                      </a:lnTo>
                      <a:lnTo>
                        <a:pt x="538" y="317"/>
                      </a:lnTo>
                      <a:lnTo>
                        <a:pt x="506" y="312"/>
                      </a:lnTo>
                      <a:lnTo>
                        <a:pt x="506" y="310"/>
                      </a:lnTo>
                      <a:lnTo>
                        <a:pt x="506" y="306"/>
                      </a:lnTo>
                      <a:lnTo>
                        <a:pt x="506" y="302"/>
                      </a:lnTo>
                      <a:lnTo>
                        <a:pt x="506" y="297"/>
                      </a:lnTo>
                      <a:lnTo>
                        <a:pt x="506" y="293"/>
                      </a:lnTo>
                      <a:lnTo>
                        <a:pt x="502" y="291"/>
                      </a:lnTo>
                      <a:lnTo>
                        <a:pt x="499" y="290"/>
                      </a:lnTo>
                      <a:lnTo>
                        <a:pt x="495" y="288"/>
                      </a:lnTo>
                      <a:lnTo>
                        <a:pt x="490" y="286"/>
                      </a:lnTo>
                      <a:lnTo>
                        <a:pt x="491" y="284"/>
                      </a:lnTo>
                      <a:lnTo>
                        <a:pt x="497" y="282"/>
                      </a:lnTo>
                      <a:lnTo>
                        <a:pt x="502" y="282"/>
                      </a:lnTo>
                      <a:lnTo>
                        <a:pt x="508" y="280"/>
                      </a:lnTo>
                      <a:lnTo>
                        <a:pt x="512" y="278"/>
                      </a:lnTo>
                      <a:lnTo>
                        <a:pt x="508" y="277"/>
                      </a:lnTo>
                      <a:lnTo>
                        <a:pt x="502" y="271"/>
                      </a:lnTo>
                      <a:lnTo>
                        <a:pt x="504" y="271"/>
                      </a:lnTo>
                      <a:lnTo>
                        <a:pt x="510" y="269"/>
                      </a:lnTo>
                      <a:lnTo>
                        <a:pt x="515" y="269"/>
                      </a:lnTo>
                      <a:lnTo>
                        <a:pt x="515" y="269"/>
                      </a:lnTo>
                      <a:lnTo>
                        <a:pt x="517" y="273"/>
                      </a:lnTo>
                      <a:lnTo>
                        <a:pt x="521" y="278"/>
                      </a:lnTo>
                      <a:lnTo>
                        <a:pt x="523" y="282"/>
                      </a:lnTo>
                      <a:lnTo>
                        <a:pt x="525" y="288"/>
                      </a:lnTo>
                      <a:lnTo>
                        <a:pt x="538" y="288"/>
                      </a:lnTo>
                      <a:lnTo>
                        <a:pt x="549" y="290"/>
                      </a:lnTo>
                      <a:lnTo>
                        <a:pt x="561" y="291"/>
                      </a:lnTo>
                      <a:lnTo>
                        <a:pt x="573" y="291"/>
                      </a:lnTo>
                      <a:lnTo>
                        <a:pt x="574" y="278"/>
                      </a:lnTo>
                      <a:lnTo>
                        <a:pt x="578" y="266"/>
                      </a:lnTo>
                      <a:lnTo>
                        <a:pt x="578" y="260"/>
                      </a:lnTo>
                      <a:lnTo>
                        <a:pt x="580" y="256"/>
                      </a:lnTo>
                      <a:lnTo>
                        <a:pt x="582" y="251"/>
                      </a:lnTo>
                      <a:lnTo>
                        <a:pt x="582" y="247"/>
                      </a:lnTo>
                      <a:lnTo>
                        <a:pt x="584" y="242"/>
                      </a:lnTo>
                      <a:lnTo>
                        <a:pt x="587" y="238"/>
                      </a:lnTo>
                      <a:lnTo>
                        <a:pt x="589" y="232"/>
                      </a:lnTo>
                      <a:lnTo>
                        <a:pt x="591" y="229"/>
                      </a:lnTo>
                      <a:lnTo>
                        <a:pt x="591" y="229"/>
                      </a:lnTo>
                      <a:lnTo>
                        <a:pt x="595" y="223"/>
                      </a:lnTo>
                      <a:lnTo>
                        <a:pt x="598" y="218"/>
                      </a:lnTo>
                      <a:lnTo>
                        <a:pt x="604" y="214"/>
                      </a:lnTo>
                      <a:lnTo>
                        <a:pt x="609" y="207"/>
                      </a:lnTo>
                      <a:lnTo>
                        <a:pt x="617" y="210"/>
                      </a:lnTo>
                      <a:lnTo>
                        <a:pt x="622" y="212"/>
                      </a:lnTo>
                      <a:lnTo>
                        <a:pt x="628" y="212"/>
                      </a:lnTo>
                      <a:lnTo>
                        <a:pt x="633" y="214"/>
                      </a:lnTo>
                      <a:lnTo>
                        <a:pt x="637" y="212"/>
                      </a:lnTo>
                      <a:lnTo>
                        <a:pt x="641" y="212"/>
                      </a:lnTo>
                      <a:lnTo>
                        <a:pt x="645" y="210"/>
                      </a:lnTo>
                      <a:lnTo>
                        <a:pt x="646" y="208"/>
                      </a:lnTo>
                      <a:lnTo>
                        <a:pt x="650" y="205"/>
                      </a:lnTo>
                      <a:lnTo>
                        <a:pt x="654" y="203"/>
                      </a:lnTo>
                      <a:lnTo>
                        <a:pt x="656" y="199"/>
                      </a:lnTo>
                      <a:lnTo>
                        <a:pt x="659" y="195"/>
                      </a:lnTo>
                      <a:lnTo>
                        <a:pt x="667" y="186"/>
                      </a:lnTo>
                      <a:lnTo>
                        <a:pt x="674" y="177"/>
                      </a:lnTo>
                      <a:lnTo>
                        <a:pt x="685" y="173"/>
                      </a:lnTo>
                      <a:lnTo>
                        <a:pt x="694" y="171"/>
                      </a:lnTo>
                      <a:lnTo>
                        <a:pt x="700" y="170"/>
                      </a:lnTo>
                      <a:lnTo>
                        <a:pt x="704" y="166"/>
                      </a:lnTo>
                      <a:lnTo>
                        <a:pt x="705" y="164"/>
                      </a:lnTo>
                      <a:lnTo>
                        <a:pt x="707" y="162"/>
                      </a:lnTo>
                      <a:lnTo>
                        <a:pt x="707" y="160"/>
                      </a:lnTo>
                      <a:lnTo>
                        <a:pt x="709" y="159"/>
                      </a:lnTo>
                      <a:lnTo>
                        <a:pt x="709" y="159"/>
                      </a:lnTo>
                      <a:lnTo>
                        <a:pt x="709" y="159"/>
                      </a:lnTo>
                      <a:lnTo>
                        <a:pt x="707" y="157"/>
                      </a:lnTo>
                      <a:lnTo>
                        <a:pt x="705" y="157"/>
                      </a:lnTo>
                      <a:lnTo>
                        <a:pt x="705" y="157"/>
                      </a:lnTo>
                      <a:lnTo>
                        <a:pt x="704" y="157"/>
                      </a:lnTo>
                      <a:lnTo>
                        <a:pt x="702" y="157"/>
                      </a:lnTo>
                      <a:lnTo>
                        <a:pt x="702" y="157"/>
                      </a:lnTo>
                      <a:lnTo>
                        <a:pt x="700" y="157"/>
                      </a:lnTo>
                      <a:lnTo>
                        <a:pt x="700" y="157"/>
                      </a:lnTo>
                      <a:lnTo>
                        <a:pt x="700" y="155"/>
                      </a:lnTo>
                      <a:lnTo>
                        <a:pt x="700" y="155"/>
                      </a:lnTo>
                      <a:lnTo>
                        <a:pt x="698" y="155"/>
                      </a:lnTo>
                      <a:lnTo>
                        <a:pt x="698" y="153"/>
                      </a:lnTo>
                      <a:lnTo>
                        <a:pt x="698" y="153"/>
                      </a:lnTo>
                      <a:lnTo>
                        <a:pt x="698" y="149"/>
                      </a:lnTo>
                      <a:lnTo>
                        <a:pt x="700" y="149"/>
                      </a:lnTo>
                      <a:lnTo>
                        <a:pt x="705" y="151"/>
                      </a:lnTo>
                      <a:lnTo>
                        <a:pt x="711" y="153"/>
                      </a:lnTo>
                      <a:lnTo>
                        <a:pt x="711" y="153"/>
                      </a:lnTo>
                      <a:lnTo>
                        <a:pt x="713" y="155"/>
                      </a:lnTo>
                      <a:lnTo>
                        <a:pt x="713" y="155"/>
                      </a:lnTo>
                      <a:lnTo>
                        <a:pt x="713" y="151"/>
                      </a:lnTo>
                      <a:lnTo>
                        <a:pt x="713" y="151"/>
                      </a:lnTo>
                      <a:lnTo>
                        <a:pt x="715" y="147"/>
                      </a:lnTo>
                      <a:lnTo>
                        <a:pt x="715" y="142"/>
                      </a:lnTo>
                      <a:lnTo>
                        <a:pt x="717" y="138"/>
                      </a:lnTo>
                      <a:lnTo>
                        <a:pt x="713" y="138"/>
                      </a:lnTo>
                      <a:lnTo>
                        <a:pt x="711" y="136"/>
                      </a:lnTo>
                      <a:lnTo>
                        <a:pt x="707" y="136"/>
                      </a:lnTo>
                      <a:lnTo>
                        <a:pt x="704" y="135"/>
                      </a:lnTo>
                      <a:lnTo>
                        <a:pt x="704" y="135"/>
                      </a:lnTo>
                      <a:lnTo>
                        <a:pt x="704" y="133"/>
                      </a:lnTo>
                      <a:lnTo>
                        <a:pt x="704" y="131"/>
                      </a:lnTo>
                      <a:lnTo>
                        <a:pt x="704" y="131"/>
                      </a:lnTo>
                      <a:lnTo>
                        <a:pt x="705" y="131"/>
                      </a:lnTo>
                      <a:lnTo>
                        <a:pt x="705" y="131"/>
                      </a:lnTo>
                      <a:lnTo>
                        <a:pt x="705" y="129"/>
                      </a:lnTo>
                      <a:lnTo>
                        <a:pt x="705" y="129"/>
                      </a:lnTo>
                      <a:lnTo>
                        <a:pt x="709" y="129"/>
                      </a:lnTo>
                      <a:lnTo>
                        <a:pt x="715" y="129"/>
                      </a:lnTo>
                      <a:lnTo>
                        <a:pt x="713" y="125"/>
                      </a:lnTo>
                      <a:lnTo>
                        <a:pt x="713" y="122"/>
                      </a:lnTo>
                      <a:lnTo>
                        <a:pt x="711" y="118"/>
                      </a:lnTo>
                      <a:lnTo>
                        <a:pt x="711" y="114"/>
                      </a:lnTo>
                      <a:lnTo>
                        <a:pt x="707" y="116"/>
                      </a:lnTo>
                      <a:lnTo>
                        <a:pt x="707" y="116"/>
                      </a:lnTo>
                      <a:lnTo>
                        <a:pt x="704" y="118"/>
                      </a:lnTo>
                      <a:lnTo>
                        <a:pt x="698" y="120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6" y="122"/>
                      </a:lnTo>
                      <a:lnTo>
                        <a:pt x="698" y="123"/>
                      </a:lnTo>
                      <a:lnTo>
                        <a:pt x="698" y="123"/>
                      </a:lnTo>
                      <a:lnTo>
                        <a:pt x="698" y="125"/>
                      </a:lnTo>
                      <a:lnTo>
                        <a:pt x="698" y="129"/>
                      </a:lnTo>
                      <a:lnTo>
                        <a:pt x="696" y="129"/>
                      </a:lnTo>
                      <a:lnTo>
                        <a:pt x="696" y="131"/>
                      </a:lnTo>
                      <a:lnTo>
                        <a:pt x="694" y="133"/>
                      </a:lnTo>
                      <a:lnTo>
                        <a:pt x="694" y="133"/>
                      </a:lnTo>
                      <a:lnTo>
                        <a:pt x="689" y="133"/>
                      </a:lnTo>
                      <a:lnTo>
                        <a:pt x="681" y="135"/>
                      </a:lnTo>
                      <a:lnTo>
                        <a:pt x="681" y="135"/>
                      </a:lnTo>
                      <a:lnTo>
                        <a:pt x="681" y="131"/>
                      </a:lnTo>
                      <a:lnTo>
                        <a:pt x="681" y="127"/>
                      </a:lnTo>
                      <a:lnTo>
                        <a:pt x="681" y="125"/>
                      </a:lnTo>
                      <a:lnTo>
                        <a:pt x="680" y="129"/>
                      </a:lnTo>
                      <a:lnTo>
                        <a:pt x="678" y="135"/>
                      </a:lnTo>
                      <a:lnTo>
                        <a:pt x="678" y="135"/>
                      </a:lnTo>
                      <a:lnTo>
                        <a:pt x="676" y="135"/>
                      </a:lnTo>
                      <a:lnTo>
                        <a:pt x="676" y="135"/>
                      </a:lnTo>
                      <a:lnTo>
                        <a:pt x="674" y="135"/>
                      </a:lnTo>
                      <a:lnTo>
                        <a:pt x="674" y="135"/>
                      </a:lnTo>
                      <a:lnTo>
                        <a:pt x="672" y="133"/>
                      </a:lnTo>
                      <a:lnTo>
                        <a:pt x="672" y="133"/>
                      </a:lnTo>
                      <a:lnTo>
                        <a:pt x="672" y="131"/>
                      </a:lnTo>
                      <a:lnTo>
                        <a:pt x="670" y="122"/>
                      </a:lnTo>
                      <a:lnTo>
                        <a:pt x="670" y="101"/>
                      </a:lnTo>
                      <a:lnTo>
                        <a:pt x="665" y="99"/>
                      </a:lnTo>
                      <a:lnTo>
                        <a:pt x="657" y="98"/>
                      </a:lnTo>
                      <a:lnTo>
                        <a:pt x="652" y="98"/>
                      </a:lnTo>
                      <a:lnTo>
                        <a:pt x="646" y="96"/>
                      </a:lnTo>
                      <a:lnTo>
                        <a:pt x="633" y="98"/>
                      </a:lnTo>
                      <a:lnTo>
                        <a:pt x="621" y="98"/>
                      </a:lnTo>
                      <a:lnTo>
                        <a:pt x="619" y="98"/>
                      </a:lnTo>
                      <a:lnTo>
                        <a:pt x="617" y="99"/>
                      </a:lnTo>
                      <a:lnTo>
                        <a:pt x="617" y="101"/>
                      </a:lnTo>
                      <a:lnTo>
                        <a:pt x="617" y="105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7"/>
                      </a:lnTo>
                      <a:lnTo>
                        <a:pt x="617" y="109"/>
                      </a:lnTo>
                      <a:lnTo>
                        <a:pt x="615" y="109"/>
                      </a:lnTo>
                      <a:lnTo>
                        <a:pt x="615" y="109"/>
                      </a:lnTo>
                      <a:lnTo>
                        <a:pt x="613" y="109"/>
                      </a:lnTo>
                      <a:lnTo>
                        <a:pt x="609" y="109"/>
                      </a:lnTo>
                      <a:lnTo>
                        <a:pt x="611" y="107"/>
                      </a:lnTo>
                      <a:lnTo>
                        <a:pt x="611" y="101"/>
                      </a:lnTo>
                      <a:lnTo>
                        <a:pt x="613" y="96"/>
                      </a:lnTo>
                      <a:lnTo>
                        <a:pt x="613" y="96"/>
                      </a:lnTo>
                      <a:lnTo>
                        <a:pt x="615" y="94"/>
                      </a:lnTo>
                      <a:lnTo>
                        <a:pt x="615" y="94"/>
                      </a:lnTo>
                      <a:lnTo>
                        <a:pt x="617" y="94"/>
                      </a:lnTo>
                      <a:lnTo>
                        <a:pt x="617" y="90"/>
                      </a:lnTo>
                      <a:lnTo>
                        <a:pt x="617" y="85"/>
                      </a:lnTo>
                      <a:lnTo>
                        <a:pt x="617" y="85"/>
                      </a:lnTo>
                      <a:lnTo>
                        <a:pt x="621" y="83"/>
                      </a:lnTo>
                      <a:lnTo>
                        <a:pt x="621" y="83"/>
                      </a:lnTo>
                      <a:lnTo>
                        <a:pt x="626" y="83"/>
                      </a:lnTo>
                      <a:lnTo>
                        <a:pt x="630" y="81"/>
                      </a:lnTo>
                      <a:lnTo>
                        <a:pt x="633" y="81"/>
                      </a:lnTo>
                      <a:lnTo>
                        <a:pt x="635" y="76"/>
                      </a:lnTo>
                      <a:lnTo>
                        <a:pt x="637" y="68"/>
                      </a:lnTo>
                      <a:lnTo>
                        <a:pt x="639" y="63"/>
                      </a:lnTo>
                      <a:lnTo>
                        <a:pt x="641" y="57"/>
                      </a:lnTo>
                      <a:lnTo>
                        <a:pt x="639" y="53"/>
                      </a:lnTo>
                      <a:lnTo>
                        <a:pt x="635" y="48"/>
                      </a:lnTo>
                      <a:lnTo>
                        <a:pt x="635" y="50"/>
                      </a:lnTo>
                      <a:lnTo>
                        <a:pt x="633" y="52"/>
                      </a:lnTo>
                      <a:lnTo>
                        <a:pt x="633" y="52"/>
                      </a:lnTo>
                      <a:lnTo>
                        <a:pt x="632" y="52"/>
                      </a:lnTo>
                      <a:lnTo>
                        <a:pt x="632" y="53"/>
                      </a:lnTo>
                      <a:lnTo>
                        <a:pt x="632" y="53"/>
                      </a:lnTo>
                      <a:lnTo>
                        <a:pt x="630" y="55"/>
                      </a:lnTo>
                      <a:lnTo>
                        <a:pt x="628" y="57"/>
                      </a:lnTo>
                      <a:lnTo>
                        <a:pt x="628" y="57"/>
                      </a:lnTo>
                      <a:lnTo>
                        <a:pt x="624" y="57"/>
                      </a:lnTo>
                      <a:lnTo>
                        <a:pt x="619" y="57"/>
                      </a:lnTo>
                      <a:lnTo>
                        <a:pt x="615" y="59"/>
                      </a:lnTo>
                      <a:lnTo>
                        <a:pt x="609" y="59"/>
                      </a:lnTo>
                      <a:lnTo>
                        <a:pt x="609" y="59"/>
                      </a:lnTo>
                      <a:lnTo>
                        <a:pt x="609" y="57"/>
                      </a:lnTo>
                      <a:lnTo>
                        <a:pt x="609" y="57"/>
                      </a:lnTo>
                      <a:lnTo>
                        <a:pt x="611" y="55"/>
                      </a:lnTo>
                      <a:lnTo>
                        <a:pt x="611" y="55"/>
                      </a:lnTo>
                      <a:lnTo>
                        <a:pt x="611" y="53"/>
                      </a:lnTo>
                      <a:lnTo>
                        <a:pt x="611" y="53"/>
                      </a:lnTo>
                      <a:lnTo>
                        <a:pt x="613" y="53"/>
                      </a:lnTo>
                      <a:lnTo>
                        <a:pt x="613" y="53"/>
                      </a:lnTo>
                      <a:lnTo>
                        <a:pt x="617" y="53"/>
                      </a:lnTo>
                      <a:lnTo>
                        <a:pt x="624" y="53"/>
                      </a:lnTo>
                      <a:lnTo>
                        <a:pt x="626" y="52"/>
                      </a:lnTo>
                      <a:lnTo>
                        <a:pt x="626" y="52"/>
                      </a:lnTo>
                      <a:lnTo>
                        <a:pt x="628" y="50"/>
                      </a:lnTo>
                      <a:lnTo>
                        <a:pt x="628" y="48"/>
                      </a:lnTo>
                      <a:lnTo>
                        <a:pt x="628" y="48"/>
                      </a:lnTo>
                      <a:lnTo>
                        <a:pt x="630" y="48"/>
                      </a:lnTo>
                      <a:lnTo>
                        <a:pt x="632" y="46"/>
                      </a:lnTo>
                      <a:lnTo>
                        <a:pt x="632" y="46"/>
                      </a:lnTo>
                      <a:lnTo>
                        <a:pt x="632" y="44"/>
                      </a:lnTo>
                      <a:lnTo>
                        <a:pt x="632" y="40"/>
                      </a:lnTo>
                      <a:lnTo>
                        <a:pt x="632" y="39"/>
                      </a:lnTo>
                      <a:lnTo>
                        <a:pt x="632" y="35"/>
                      </a:lnTo>
                      <a:lnTo>
                        <a:pt x="632" y="31"/>
                      </a:lnTo>
                      <a:lnTo>
                        <a:pt x="630" y="31"/>
                      </a:lnTo>
                      <a:lnTo>
                        <a:pt x="624" y="31"/>
                      </a:lnTo>
                      <a:lnTo>
                        <a:pt x="621" y="31"/>
                      </a:lnTo>
                      <a:lnTo>
                        <a:pt x="617" y="31"/>
                      </a:lnTo>
                      <a:lnTo>
                        <a:pt x="615" y="31"/>
                      </a:lnTo>
                      <a:lnTo>
                        <a:pt x="613" y="28"/>
                      </a:lnTo>
                      <a:lnTo>
                        <a:pt x="613" y="24"/>
                      </a:lnTo>
                      <a:lnTo>
                        <a:pt x="611" y="20"/>
                      </a:lnTo>
                      <a:lnTo>
                        <a:pt x="611" y="16"/>
                      </a:lnTo>
                      <a:lnTo>
                        <a:pt x="611" y="16"/>
                      </a:lnTo>
                      <a:lnTo>
                        <a:pt x="609" y="9"/>
                      </a:lnTo>
                      <a:lnTo>
                        <a:pt x="609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6" name="Freeform 3161"/>
                <p:cNvSpPr>
                  <a:spLocks noEditPoints="1"/>
                </p:cNvSpPr>
                <p:nvPr/>
              </p:nvSpPr>
              <p:spPr bwMode="auto">
                <a:xfrm>
                  <a:off x="4667" y="843"/>
                  <a:ext cx="39" cy="203"/>
                </a:xfrm>
                <a:custGeom>
                  <a:avLst/>
                  <a:gdLst>
                    <a:gd name="T0" fmla="*/ 39 w 39"/>
                    <a:gd name="T1" fmla="*/ 179 h 203"/>
                    <a:gd name="T2" fmla="*/ 39 w 39"/>
                    <a:gd name="T3" fmla="*/ 179 h 203"/>
                    <a:gd name="T4" fmla="*/ 39 w 39"/>
                    <a:gd name="T5" fmla="*/ 181 h 203"/>
                    <a:gd name="T6" fmla="*/ 39 w 39"/>
                    <a:gd name="T7" fmla="*/ 187 h 203"/>
                    <a:gd name="T8" fmla="*/ 39 w 39"/>
                    <a:gd name="T9" fmla="*/ 192 h 203"/>
                    <a:gd name="T10" fmla="*/ 39 w 39"/>
                    <a:gd name="T11" fmla="*/ 198 h 203"/>
                    <a:gd name="T12" fmla="*/ 39 w 39"/>
                    <a:gd name="T13" fmla="*/ 203 h 203"/>
                    <a:gd name="T14" fmla="*/ 39 w 39"/>
                    <a:gd name="T15" fmla="*/ 198 h 203"/>
                    <a:gd name="T16" fmla="*/ 39 w 39"/>
                    <a:gd name="T17" fmla="*/ 192 h 203"/>
                    <a:gd name="T18" fmla="*/ 39 w 39"/>
                    <a:gd name="T19" fmla="*/ 187 h 203"/>
                    <a:gd name="T20" fmla="*/ 39 w 39"/>
                    <a:gd name="T21" fmla="*/ 181 h 203"/>
                    <a:gd name="T22" fmla="*/ 39 w 39"/>
                    <a:gd name="T23" fmla="*/ 179 h 203"/>
                    <a:gd name="T24" fmla="*/ 0 w 39"/>
                    <a:gd name="T25" fmla="*/ 0 h 203"/>
                    <a:gd name="T26" fmla="*/ 0 w 39"/>
                    <a:gd name="T27" fmla="*/ 0 h 203"/>
                    <a:gd name="T28" fmla="*/ 8 w 39"/>
                    <a:gd name="T29" fmla="*/ 2 h 203"/>
                    <a:gd name="T30" fmla="*/ 0 w 39"/>
                    <a:gd name="T31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9" h="203">
                      <a:moveTo>
                        <a:pt x="39" y="179"/>
                      </a:moveTo>
                      <a:lnTo>
                        <a:pt x="39" y="179"/>
                      </a:lnTo>
                      <a:lnTo>
                        <a:pt x="39" y="181"/>
                      </a:lnTo>
                      <a:lnTo>
                        <a:pt x="39" y="187"/>
                      </a:lnTo>
                      <a:lnTo>
                        <a:pt x="39" y="192"/>
                      </a:lnTo>
                      <a:lnTo>
                        <a:pt x="39" y="198"/>
                      </a:lnTo>
                      <a:lnTo>
                        <a:pt x="39" y="203"/>
                      </a:lnTo>
                      <a:lnTo>
                        <a:pt x="39" y="198"/>
                      </a:lnTo>
                      <a:lnTo>
                        <a:pt x="39" y="192"/>
                      </a:lnTo>
                      <a:lnTo>
                        <a:pt x="39" y="187"/>
                      </a:lnTo>
                      <a:lnTo>
                        <a:pt x="39" y="181"/>
                      </a:lnTo>
                      <a:lnTo>
                        <a:pt x="39" y="179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7" name="Freeform 3162"/>
                <p:cNvSpPr>
                  <a:spLocks/>
                </p:cNvSpPr>
                <p:nvPr/>
              </p:nvSpPr>
              <p:spPr bwMode="auto">
                <a:xfrm>
                  <a:off x="4706" y="1022"/>
                  <a:ext cx="1" cy="24"/>
                </a:xfrm>
                <a:custGeom>
                  <a:avLst/>
                  <a:gdLst>
                    <a:gd name="T0" fmla="*/ 0 h 24"/>
                    <a:gd name="T1" fmla="*/ 0 h 24"/>
                    <a:gd name="T2" fmla="*/ 2 h 24"/>
                    <a:gd name="T3" fmla="*/ 8 h 24"/>
                    <a:gd name="T4" fmla="*/ 13 h 24"/>
                    <a:gd name="T5" fmla="*/ 19 h 24"/>
                    <a:gd name="T6" fmla="*/ 24 h 24"/>
                    <a:gd name="T7" fmla="*/ 19 h 24"/>
                    <a:gd name="T8" fmla="*/ 13 h 24"/>
                    <a:gd name="T9" fmla="*/ 8 h 24"/>
                    <a:gd name="T10" fmla="*/ 2 h 24"/>
                    <a:gd name="T11" fmla="*/ 0 h 2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</a:cxnLst>
                  <a:rect l="0" t="0" r="r" b="b"/>
                  <a:pathLst>
                    <a:path h="2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0" y="19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8" name="Freeform 3163"/>
                <p:cNvSpPr>
                  <a:spLocks/>
                </p:cNvSpPr>
                <p:nvPr/>
              </p:nvSpPr>
              <p:spPr bwMode="auto">
                <a:xfrm>
                  <a:off x="4667" y="843"/>
                  <a:ext cx="8" cy="2"/>
                </a:xfrm>
                <a:custGeom>
                  <a:avLst/>
                  <a:gdLst>
                    <a:gd name="T0" fmla="*/ 0 w 8"/>
                    <a:gd name="T1" fmla="*/ 0 h 2"/>
                    <a:gd name="T2" fmla="*/ 0 w 8"/>
                    <a:gd name="T3" fmla="*/ 0 h 2"/>
                    <a:gd name="T4" fmla="*/ 8 w 8"/>
                    <a:gd name="T5" fmla="*/ 2 h 2"/>
                    <a:gd name="T6" fmla="*/ 0 w 8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49" name="Freeform 3164"/>
                <p:cNvSpPr>
                  <a:spLocks/>
                </p:cNvSpPr>
                <p:nvPr/>
              </p:nvSpPr>
              <p:spPr bwMode="auto">
                <a:xfrm>
                  <a:off x="4774" y="299"/>
                  <a:ext cx="48" cy="96"/>
                </a:xfrm>
                <a:custGeom>
                  <a:avLst/>
                  <a:gdLst>
                    <a:gd name="T0" fmla="*/ 48 w 48"/>
                    <a:gd name="T1" fmla="*/ 0 h 96"/>
                    <a:gd name="T2" fmla="*/ 45 w 48"/>
                    <a:gd name="T3" fmla="*/ 0 h 96"/>
                    <a:gd name="T4" fmla="*/ 39 w 48"/>
                    <a:gd name="T5" fmla="*/ 2 h 96"/>
                    <a:gd name="T6" fmla="*/ 34 w 48"/>
                    <a:gd name="T7" fmla="*/ 2 h 96"/>
                    <a:gd name="T8" fmla="*/ 30 w 48"/>
                    <a:gd name="T9" fmla="*/ 4 h 96"/>
                    <a:gd name="T10" fmla="*/ 26 w 48"/>
                    <a:gd name="T11" fmla="*/ 6 h 96"/>
                    <a:gd name="T12" fmla="*/ 26 w 48"/>
                    <a:gd name="T13" fmla="*/ 6 h 96"/>
                    <a:gd name="T14" fmla="*/ 23 w 48"/>
                    <a:gd name="T15" fmla="*/ 7 h 96"/>
                    <a:gd name="T16" fmla="*/ 19 w 48"/>
                    <a:gd name="T17" fmla="*/ 9 h 96"/>
                    <a:gd name="T18" fmla="*/ 15 w 48"/>
                    <a:gd name="T19" fmla="*/ 11 h 96"/>
                    <a:gd name="T20" fmla="*/ 13 w 48"/>
                    <a:gd name="T21" fmla="*/ 15 h 96"/>
                    <a:gd name="T22" fmla="*/ 12 w 48"/>
                    <a:gd name="T23" fmla="*/ 17 h 96"/>
                    <a:gd name="T24" fmla="*/ 10 w 48"/>
                    <a:gd name="T25" fmla="*/ 18 h 96"/>
                    <a:gd name="T26" fmla="*/ 6 w 48"/>
                    <a:gd name="T27" fmla="*/ 22 h 96"/>
                    <a:gd name="T28" fmla="*/ 6 w 48"/>
                    <a:gd name="T29" fmla="*/ 24 h 96"/>
                    <a:gd name="T30" fmla="*/ 4 w 48"/>
                    <a:gd name="T31" fmla="*/ 28 h 96"/>
                    <a:gd name="T32" fmla="*/ 2 w 48"/>
                    <a:gd name="T33" fmla="*/ 31 h 96"/>
                    <a:gd name="T34" fmla="*/ 2 w 48"/>
                    <a:gd name="T35" fmla="*/ 33 h 96"/>
                    <a:gd name="T36" fmla="*/ 0 w 48"/>
                    <a:gd name="T37" fmla="*/ 37 h 96"/>
                    <a:gd name="T38" fmla="*/ 0 w 48"/>
                    <a:gd name="T39" fmla="*/ 41 h 96"/>
                    <a:gd name="T40" fmla="*/ 0 w 48"/>
                    <a:gd name="T41" fmla="*/ 44 h 96"/>
                    <a:gd name="T42" fmla="*/ 0 w 48"/>
                    <a:gd name="T43" fmla="*/ 48 h 96"/>
                    <a:gd name="T44" fmla="*/ 0 w 48"/>
                    <a:gd name="T45" fmla="*/ 55 h 96"/>
                    <a:gd name="T46" fmla="*/ 2 w 48"/>
                    <a:gd name="T47" fmla="*/ 63 h 96"/>
                    <a:gd name="T48" fmla="*/ 4 w 48"/>
                    <a:gd name="T49" fmla="*/ 72 h 96"/>
                    <a:gd name="T50" fmla="*/ 8 w 48"/>
                    <a:gd name="T51" fmla="*/ 79 h 96"/>
                    <a:gd name="T52" fmla="*/ 12 w 48"/>
                    <a:gd name="T53" fmla="*/ 89 h 96"/>
                    <a:gd name="T54" fmla="*/ 15 w 48"/>
                    <a:gd name="T55" fmla="*/ 96 h 96"/>
                    <a:gd name="T56" fmla="*/ 17 w 48"/>
                    <a:gd name="T57" fmla="*/ 96 h 96"/>
                    <a:gd name="T58" fmla="*/ 23 w 48"/>
                    <a:gd name="T59" fmla="*/ 96 h 96"/>
                    <a:gd name="T60" fmla="*/ 26 w 48"/>
                    <a:gd name="T61" fmla="*/ 96 h 96"/>
                    <a:gd name="T62" fmla="*/ 30 w 48"/>
                    <a:gd name="T63" fmla="*/ 96 h 96"/>
                    <a:gd name="T64" fmla="*/ 32 w 48"/>
                    <a:gd name="T65" fmla="*/ 96 h 96"/>
                    <a:gd name="T66" fmla="*/ 32 w 48"/>
                    <a:gd name="T67" fmla="*/ 96 h 96"/>
                    <a:gd name="T68" fmla="*/ 34 w 48"/>
                    <a:gd name="T69" fmla="*/ 94 h 96"/>
                    <a:gd name="T70" fmla="*/ 34 w 48"/>
                    <a:gd name="T71" fmla="*/ 87 h 96"/>
                    <a:gd name="T72" fmla="*/ 34 w 48"/>
                    <a:gd name="T73" fmla="*/ 79 h 96"/>
                    <a:gd name="T74" fmla="*/ 34 w 48"/>
                    <a:gd name="T75" fmla="*/ 72 h 96"/>
                    <a:gd name="T76" fmla="*/ 34 w 48"/>
                    <a:gd name="T77" fmla="*/ 65 h 96"/>
                    <a:gd name="T78" fmla="*/ 34 w 48"/>
                    <a:gd name="T79" fmla="*/ 65 h 96"/>
                    <a:gd name="T80" fmla="*/ 36 w 48"/>
                    <a:gd name="T81" fmla="*/ 63 h 96"/>
                    <a:gd name="T82" fmla="*/ 39 w 48"/>
                    <a:gd name="T83" fmla="*/ 61 h 96"/>
                    <a:gd name="T84" fmla="*/ 41 w 48"/>
                    <a:gd name="T85" fmla="*/ 61 h 96"/>
                    <a:gd name="T86" fmla="*/ 45 w 48"/>
                    <a:gd name="T87" fmla="*/ 59 h 96"/>
                    <a:gd name="T88" fmla="*/ 45 w 48"/>
                    <a:gd name="T89" fmla="*/ 52 h 96"/>
                    <a:gd name="T90" fmla="*/ 45 w 48"/>
                    <a:gd name="T91" fmla="*/ 44 h 96"/>
                    <a:gd name="T92" fmla="*/ 47 w 48"/>
                    <a:gd name="T93" fmla="*/ 37 h 96"/>
                    <a:gd name="T94" fmla="*/ 47 w 48"/>
                    <a:gd name="T95" fmla="*/ 30 h 96"/>
                    <a:gd name="T96" fmla="*/ 47 w 48"/>
                    <a:gd name="T97" fmla="*/ 30 h 96"/>
                    <a:gd name="T98" fmla="*/ 47 w 48"/>
                    <a:gd name="T99" fmla="*/ 22 h 96"/>
                    <a:gd name="T100" fmla="*/ 47 w 48"/>
                    <a:gd name="T101" fmla="*/ 22 h 96"/>
                    <a:gd name="T102" fmla="*/ 48 w 48"/>
                    <a:gd name="T103" fmla="*/ 15 h 96"/>
                    <a:gd name="T104" fmla="*/ 48 w 48"/>
                    <a:gd name="T105" fmla="*/ 7 h 96"/>
                    <a:gd name="T106" fmla="*/ 48 w 48"/>
                    <a:gd name="T107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" h="96">
                      <a:moveTo>
                        <a:pt x="48" y="0"/>
                      </a:moveTo>
                      <a:lnTo>
                        <a:pt x="45" y="0"/>
                      </a:lnTo>
                      <a:lnTo>
                        <a:pt x="39" y="2"/>
                      </a:lnTo>
                      <a:lnTo>
                        <a:pt x="34" y="2"/>
                      </a:lnTo>
                      <a:lnTo>
                        <a:pt x="30" y="4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3" y="7"/>
                      </a:lnTo>
                      <a:lnTo>
                        <a:pt x="19" y="9"/>
                      </a:lnTo>
                      <a:lnTo>
                        <a:pt x="15" y="11"/>
                      </a:lnTo>
                      <a:lnTo>
                        <a:pt x="13" y="15"/>
                      </a:lnTo>
                      <a:lnTo>
                        <a:pt x="12" y="17"/>
                      </a:lnTo>
                      <a:lnTo>
                        <a:pt x="10" y="18"/>
                      </a:lnTo>
                      <a:lnTo>
                        <a:pt x="6" y="22"/>
                      </a:lnTo>
                      <a:lnTo>
                        <a:pt x="6" y="24"/>
                      </a:lnTo>
                      <a:lnTo>
                        <a:pt x="4" y="28"/>
                      </a:lnTo>
                      <a:lnTo>
                        <a:pt x="2" y="31"/>
                      </a:lnTo>
                      <a:lnTo>
                        <a:pt x="2" y="33"/>
                      </a:lnTo>
                      <a:lnTo>
                        <a:pt x="0" y="37"/>
                      </a:lnTo>
                      <a:lnTo>
                        <a:pt x="0" y="41"/>
                      </a:lnTo>
                      <a:lnTo>
                        <a:pt x="0" y="44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2" y="63"/>
                      </a:lnTo>
                      <a:lnTo>
                        <a:pt x="4" y="72"/>
                      </a:lnTo>
                      <a:lnTo>
                        <a:pt x="8" y="79"/>
                      </a:lnTo>
                      <a:lnTo>
                        <a:pt x="12" y="89"/>
                      </a:lnTo>
                      <a:lnTo>
                        <a:pt x="15" y="96"/>
                      </a:lnTo>
                      <a:lnTo>
                        <a:pt x="17" y="96"/>
                      </a:lnTo>
                      <a:lnTo>
                        <a:pt x="23" y="96"/>
                      </a:lnTo>
                      <a:lnTo>
                        <a:pt x="26" y="96"/>
                      </a:lnTo>
                      <a:lnTo>
                        <a:pt x="30" y="96"/>
                      </a:lnTo>
                      <a:lnTo>
                        <a:pt x="32" y="96"/>
                      </a:lnTo>
                      <a:lnTo>
                        <a:pt x="32" y="96"/>
                      </a:lnTo>
                      <a:lnTo>
                        <a:pt x="34" y="94"/>
                      </a:lnTo>
                      <a:lnTo>
                        <a:pt x="34" y="87"/>
                      </a:lnTo>
                      <a:lnTo>
                        <a:pt x="34" y="79"/>
                      </a:lnTo>
                      <a:lnTo>
                        <a:pt x="34" y="72"/>
                      </a:lnTo>
                      <a:lnTo>
                        <a:pt x="34" y="65"/>
                      </a:lnTo>
                      <a:lnTo>
                        <a:pt x="34" y="65"/>
                      </a:lnTo>
                      <a:lnTo>
                        <a:pt x="36" y="63"/>
                      </a:lnTo>
                      <a:lnTo>
                        <a:pt x="39" y="61"/>
                      </a:lnTo>
                      <a:lnTo>
                        <a:pt x="41" y="61"/>
                      </a:lnTo>
                      <a:lnTo>
                        <a:pt x="45" y="59"/>
                      </a:lnTo>
                      <a:lnTo>
                        <a:pt x="45" y="52"/>
                      </a:lnTo>
                      <a:lnTo>
                        <a:pt x="45" y="44"/>
                      </a:lnTo>
                      <a:lnTo>
                        <a:pt x="47" y="37"/>
                      </a:lnTo>
                      <a:lnTo>
                        <a:pt x="47" y="30"/>
                      </a:lnTo>
                      <a:lnTo>
                        <a:pt x="47" y="30"/>
                      </a:lnTo>
                      <a:lnTo>
                        <a:pt x="47" y="22"/>
                      </a:lnTo>
                      <a:lnTo>
                        <a:pt x="47" y="22"/>
                      </a:lnTo>
                      <a:lnTo>
                        <a:pt x="48" y="15"/>
                      </a:lnTo>
                      <a:lnTo>
                        <a:pt x="48" y="7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0" name="Freeform 3165"/>
                <p:cNvSpPr>
                  <a:spLocks/>
                </p:cNvSpPr>
                <p:nvPr/>
              </p:nvSpPr>
              <p:spPr bwMode="auto">
                <a:xfrm>
                  <a:off x="4774" y="299"/>
                  <a:ext cx="48" cy="96"/>
                </a:xfrm>
                <a:custGeom>
                  <a:avLst/>
                  <a:gdLst>
                    <a:gd name="T0" fmla="*/ 48 w 48"/>
                    <a:gd name="T1" fmla="*/ 0 h 96"/>
                    <a:gd name="T2" fmla="*/ 45 w 48"/>
                    <a:gd name="T3" fmla="*/ 0 h 96"/>
                    <a:gd name="T4" fmla="*/ 39 w 48"/>
                    <a:gd name="T5" fmla="*/ 2 h 96"/>
                    <a:gd name="T6" fmla="*/ 34 w 48"/>
                    <a:gd name="T7" fmla="*/ 2 h 96"/>
                    <a:gd name="T8" fmla="*/ 30 w 48"/>
                    <a:gd name="T9" fmla="*/ 4 h 96"/>
                    <a:gd name="T10" fmla="*/ 26 w 48"/>
                    <a:gd name="T11" fmla="*/ 6 h 96"/>
                    <a:gd name="T12" fmla="*/ 26 w 48"/>
                    <a:gd name="T13" fmla="*/ 6 h 96"/>
                    <a:gd name="T14" fmla="*/ 23 w 48"/>
                    <a:gd name="T15" fmla="*/ 7 h 96"/>
                    <a:gd name="T16" fmla="*/ 19 w 48"/>
                    <a:gd name="T17" fmla="*/ 9 h 96"/>
                    <a:gd name="T18" fmla="*/ 15 w 48"/>
                    <a:gd name="T19" fmla="*/ 11 h 96"/>
                    <a:gd name="T20" fmla="*/ 13 w 48"/>
                    <a:gd name="T21" fmla="*/ 15 h 96"/>
                    <a:gd name="T22" fmla="*/ 12 w 48"/>
                    <a:gd name="T23" fmla="*/ 17 h 96"/>
                    <a:gd name="T24" fmla="*/ 10 w 48"/>
                    <a:gd name="T25" fmla="*/ 18 h 96"/>
                    <a:gd name="T26" fmla="*/ 6 w 48"/>
                    <a:gd name="T27" fmla="*/ 22 h 96"/>
                    <a:gd name="T28" fmla="*/ 6 w 48"/>
                    <a:gd name="T29" fmla="*/ 24 h 96"/>
                    <a:gd name="T30" fmla="*/ 4 w 48"/>
                    <a:gd name="T31" fmla="*/ 28 h 96"/>
                    <a:gd name="T32" fmla="*/ 2 w 48"/>
                    <a:gd name="T33" fmla="*/ 31 h 96"/>
                    <a:gd name="T34" fmla="*/ 2 w 48"/>
                    <a:gd name="T35" fmla="*/ 33 h 96"/>
                    <a:gd name="T36" fmla="*/ 0 w 48"/>
                    <a:gd name="T37" fmla="*/ 37 h 96"/>
                    <a:gd name="T38" fmla="*/ 0 w 48"/>
                    <a:gd name="T39" fmla="*/ 41 h 96"/>
                    <a:gd name="T40" fmla="*/ 0 w 48"/>
                    <a:gd name="T41" fmla="*/ 44 h 96"/>
                    <a:gd name="T42" fmla="*/ 0 w 48"/>
                    <a:gd name="T43" fmla="*/ 48 h 96"/>
                    <a:gd name="T44" fmla="*/ 0 w 48"/>
                    <a:gd name="T45" fmla="*/ 55 h 96"/>
                    <a:gd name="T46" fmla="*/ 2 w 48"/>
                    <a:gd name="T47" fmla="*/ 63 h 96"/>
                    <a:gd name="T48" fmla="*/ 4 w 48"/>
                    <a:gd name="T49" fmla="*/ 72 h 96"/>
                    <a:gd name="T50" fmla="*/ 8 w 48"/>
                    <a:gd name="T51" fmla="*/ 79 h 96"/>
                    <a:gd name="T52" fmla="*/ 12 w 48"/>
                    <a:gd name="T53" fmla="*/ 89 h 96"/>
                    <a:gd name="T54" fmla="*/ 15 w 48"/>
                    <a:gd name="T55" fmla="*/ 96 h 96"/>
                    <a:gd name="T56" fmla="*/ 17 w 48"/>
                    <a:gd name="T57" fmla="*/ 96 h 96"/>
                    <a:gd name="T58" fmla="*/ 23 w 48"/>
                    <a:gd name="T59" fmla="*/ 96 h 96"/>
                    <a:gd name="T60" fmla="*/ 26 w 48"/>
                    <a:gd name="T61" fmla="*/ 96 h 96"/>
                    <a:gd name="T62" fmla="*/ 30 w 48"/>
                    <a:gd name="T63" fmla="*/ 96 h 96"/>
                    <a:gd name="T64" fmla="*/ 32 w 48"/>
                    <a:gd name="T65" fmla="*/ 96 h 96"/>
                    <a:gd name="T66" fmla="*/ 32 w 48"/>
                    <a:gd name="T67" fmla="*/ 96 h 96"/>
                    <a:gd name="T68" fmla="*/ 34 w 48"/>
                    <a:gd name="T69" fmla="*/ 94 h 96"/>
                    <a:gd name="T70" fmla="*/ 34 w 48"/>
                    <a:gd name="T71" fmla="*/ 87 h 96"/>
                    <a:gd name="T72" fmla="*/ 34 w 48"/>
                    <a:gd name="T73" fmla="*/ 79 h 96"/>
                    <a:gd name="T74" fmla="*/ 34 w 48"/>
                    <a:gd name="T75" fmla="*/ 72 h 96"/>
                    <a:gd name="T76" fmla="*/ 34 w 48"/>
                    <a:gd name="T77" fmla="*/ 65 h 96"/>
                    <a:gd name="T78" fmla="*/ 34 w 48"/>
                    <a:gd name="T79" fmla="*/ 65 h 96"/>
                    <a:gd name="T80" fmla="*/ 36 w 48"/>
                    <a:gd name="T81" fmla="*/ 63 h 96"/>
                    <a:gd name="T82" fmla="*/ 39 w 48"/>
                    <a:gd name="T83" fmla="*/ 61 h 96"/>
                    <a:gd name="T84" fmla="*/ 41 w 48"/>
                    <a:gd name="T85" fmla="*/ 61 h 96"/>
                    <a:gd name="T86" fmla="*/ 45 w 48"/>
                    <a:gd name="T87" fmla="*/ 59 h 96"/>
                    <a:gd name="T88" fmla="*/ 45 w 48"/>
                    <a:gd name="T89" fmla="*/ 52 h 96"/>
                    <a:gd name="T90" fmla="*/ 45 w 48"/>
                    <a:gd name="T91" fmla="*/ 44 h 96"/>
                    <a:gd name="T92" fmla="*/ 47 w 48"/>
                    <a:gd name="T93" fmla="*/ 37 h 96"/>
                    <a:gd name="T94" fmla="*/ 47 w 48"/>
                    <a:gd name="T95" fmla="*/ 30 h 96"/>
                    <a:gd name="T96" fmla="*/ 47 w 48"/>
                    <a:gd name="T97" fmla="*/ 30 h 96"/>
                    <a:gd name="T98" fmla="*/ 47 w 48"/>
                    <a:gd name="T99" fmla="*/ 22 h 96"/>
                    <a:gd name="T100" fmla="*/ 47 w 48"/>
                    <a:gd name="T101" fmla="*/ 22 h 96"/>
                    <a:gd name="T102" fmla="*/ 48 w 48"/>
                    <a:gd name="T103" fmla="*/ 15 h 96"/>
                    <a:gd name="T104" fmla="*/ 48 w 48"/>
                    <a:gd name="T105" fmla="*/ 7 h 96"/>
                    <a:gd name="T106" fmla="*/ 48 w 48"/>
                    <a:gd name="T107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" h="96">
                      <a:moveTo>
                        <a:pt x="48" y="0"/>
                      </a:moveTo>
                      <a:lnTo>
                        <a:pt x="45" y="0"/>
                      </a:lnTo>
                      <a:lnTo>
                        <a:pt x="39" y="2"/>
                      </a:lnTo>
                      <a:lnTo>
                        <a:pt x="34" y="2"/>
                      </a:lnTo>
                      <a:lnTo>
                        <a:pt x="30" y="4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3" y="7"/>
                      </a:lnTo>
                      <a:lnTo>
                        <a:pt x="19" y="9"/>
                      </a:lnTo>
                      <a:lnTo>
                        <a:pt x="15" y="11"/>
                      </a:lnTo>
                      <a:lnTo>
                        <a:pt x="13" y="15"/>
                      </a:lnTo>
                      <a:lnTo>
                        <a:pt x="12" y="17"/>
                      </a:lnTo>
                      <a:lnTo>
                        <a:pt x="10" y="18"/>
                      </a:lnTo>
                      <a:lnTo>
                        <a:pt x="6" y="22"/>
                      </a:lnTo>
                      <a:lnTo>
                        <a:pt x="6" y="24"/>
                      </a:lnTo>
                      <a:lnTo>
                        <a:pt x="4" y="28"/>
                      </a:lnTo>
                      <a:lnTo>
                        <a:pt x="2" y="31"/>
                      </a:lnTo>
                      <a:lnTo>
                        <a:pt x="2" y="33"/>
                      </a:lnTo>
                      <a:lnTo>
                        <a:pt x="0" y="37"/>
                      </a:lnTo>
                      <a:lnTo>
                        <a:pt x="0" y="41"/>
                      </a:lnTo>
                      <a:lnTo>
                        <a:pt x="0" y="44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2" y="63"/>
                      </a:lnTo>
                      <a:lnTo>
                        <a:pt x="4" y="72"/>
                      </a:lnTo>
                      <a:lnTo>
                        <a:pt x="8" y="79"/>
                      </a:lnTo>
                      <a:lnTo>
                        <a:pt x="12" y="89"/>
                      </a:lnTo>
                      <a:lnTo>
                        <a:pt x="15" y="96"/>
                      </a:lnTo>
                      <a:lnTo>
                        <a:pt x="17" y="96"/>
                      </a:lnTo>
                      <a:lnTo>
                        <a:pt x="23" y="96"/>
                      </a:lnTo>
                      <a:lnTo>
                        <a:pt x="26" y="96"/>
                      </a:lnTo>
                      <a:lnTo>
                        <a:pt x="30" y="96"/>
                      </a:lnTo>
                      <a:lnTo>
                        <a:pt x="32" y="96"/>
                      </a:lnTo>
                      <a:lnTo>
                        <a:pt x="32" y="96"/>
                      </a:lnTo>
                      <a:lnTo>
                        <a:pt x="34" y="94"/>
                      </a:lnTo>
                      <a:lnTo>
                        <a:pt x="34" y="87"/>
                      </a:lnTo>
                      <a:lnTo>
                        <a:pt x="34" y="79"/>
                      </a:lnTo>
                      <a:lnTo>
                        <a:pt x="34" y="72"/>
                      </a:lnTo>
                      <a:lnTo>
                        <a:pt x="34" y="65"/>
                      </a:lnTo>
                      <a:lnTo>
                        <a:pt x="34" y="65"/>
                      </a:lnTo>
                      <a:lnTo>
                        <a:pt x="36" y="63"/>
                      </a:lnTo>
                      <a:lnTo>
                        <a:pt x="39" y="61"/>
                      </a:lnTo>
                      <a:lnTo>
                        <a:pt x="41" y="61"/>
                      </a:lnTo>
                      <a:lnTo>
                        <a:pt x="45" y="59"/>
                      </a:lnTo>
                      <a:lnTo>
                        <a:pt x="45" y="52"/>
                      </a:lnTo>
                      <a:lnTo>
                        <a:pt x="45" y="44"/>
                      </a:lnTo>
                      <a:lnTo>
                        <a:pt x="47" y="37"/>
                      </a:lnTo>
                      <a:lnTo>
                        <a:pt x="47" y="30"/>
                      </a:lnTo>
                      <a:lnTo>
                        <a:pt x="47" y="30"/>
                      </a:lnTo>
                      <a:lnTo>
                        <a:pt x="47" y="22"/>
                      </a:lnTo>
                      <a:lnTo>
                        <a:pt x="47" y="22"/>
                      </a:lnTo>
                      <a:lnTo>
                        <a:pt x="48" y="15"/>
                      </a:lnTo>
                      <a:lnTo>
                        <a:pt x="48" y="7"/>
                      </a:lnTo>
                      <a:lnTo>
                        <a:pt x="4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1" name="Freeform 3166"/>
                <p:cNvSpPr>
                  <a:spLocks/>
                </p:cNvSpPr>
                <p:nvPr/>
              </p:nvSpPr>
              <p:spPr bwMode="auto">
                <a:xfrm>
                  <a:off x="4763" y="690"/>
                  <a:ext cx="17" cy="19"/>
                </a:xfrm>
                <a:custGeom>
                  <a:avLst/>
                  <a:gdLst>
                    <a:gd name="T0" fmla="*/ 17 w 17"/>
                    <a:gd name="T1" fmla="*/ 0 h 19"/>
                    <a:gd name="T2" fmla="*/ 15 w 17"/>
                    <a:gd name="T3" fmla="*/ 0 h 19"/>
                    <a:gd name="T4" fmla="*/ 15 w 17"/>
                    <a:gd name="T5" fmla="*/ 0 h 19"/>
                    <a:gd name="T6" fmla="*/ 11 w 17"/>
                    <a:gd name="T7" fmla="*/ 2 h 19"/>
                    <a:gd name="T8" fmla="*/ 8 w 17"/>
                    <a:gd name="T9" fmla="*/ 2 h 19"/>
                    <a:gd name="T10" fmla="*/ 6 w 17"/>
                    <a:gd name="T11" fmla="*/ 4 h 19"/>
                    <a:gd name="T12" fmla="*/ 6 w 17"/>
                    <a:gd name="T13" fmla="*/ 4 h 19"/>
                    <a:gd name="T14" fmla="*/ 4 w 17"/>
                    <a:gd name="T15" fmla="*/ 8 h 19"/>
                    <a:gd name="T16" fmla="*/ 2 w 17"/>
                    <a:gd name="T17" fmla="*/ 11 h 19"/>
                    <a:gd name="T18" fmla="*/ 2 w 17"/>
                    <a:gd name="T19" fmla="*/ 15 h 19"/>
                    <a:gd name="T20" fmla="*/ 2 w 17"/>
                    <a:gd name="T21" fmla="*/ 15 h 19"/>
                    <a:gd name="T22" fmla="*/ 0 w 17"/>
                    <a:gd name="T23" fmla="*/ 17 h 19"/>
                    <a:gd name="T24" fmla="*/ 0 w 17"/>
                    <a:gd name="T25" fmla="*/ 19 h 19"/>
                    <a:gd name="T26" fmla="*/ 0 w 17"/>
                    <a:gd name="T27" fmla="*/ 17 h 19"/>
                    <a:gd name="T28" fmla="*/ 2 w 17"/>
                    <a:gd name="T29" fmla="*/ 15 h 19"/>
                    <a:gd name="T30" fmla="*/ 2 w 17"/>
                    <a:gd name="T31" fmla="*/ 15 h 19"/>
                    <a:gd name="T32" fmla="*/ 2 w 17"/>
                    <a:gd name="T33" fmla="*/ 11 h 19"/>
                    <a:gd name="T34" fmla="*/ 4 w 17"/>
                    <a:gd name="T35" fmla="*/ 8 h 19"/>
                    <a:gd name="T36" fmla="*/ 6 w 17"/>
                    <a:gd name="T37" fmla="*/ 4 h 19"/>
                    <a:gd name="T38" fmla="*/ 6 w 17"/>
                    <a:gd name="T39" fmla="*/ 4 h 19"/>
                    <a:gd name="T40" fmla="*/ 8 w 17"/>
                    <a:gd name="T41" fmla="*/ 2 h 19"/>
                    <a:gd name="T42" fmla="*/ 11 w 17"/>
                    <a:gd name="T43" fmla="*/ 2 h 19"/>
                    <a:gd name="T44" fmla="*/ 15 w 17"/>
                    <a:gd name="T45" fmla="*/ 0 h 19"/>
                    <a:gd name="T46" fmla="*/ 15 w 17"/>
                    <a:gd name="T47" fmla="*/ 0 h 19"/>
                    <a:gd name="T48" fmla="*/ 17 w 17"/>
                    <a:gd name="T4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7" h="19">
                      <a:moveTo>
                        <a:pt x="17" y="0"/>
                      </a:move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8"/>
                      </a:lnTo>
                      <a:lnTo>
                        <a:pt x="2" y="11"/>
                      </a:lnTo>
                      <a:lnTo>
                        <a:pt x="2" y="15"/>
                      </a:lnTo>
                      <a:lnTo>
                        <a:pt x="2" y="15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0" y="17"/>
                      </a:lnTo>
                      <a:lnTo>
                        <a:pt x="2" y="15"/>
                      </a:lnTo>
                      <a:lnTo>
                        <a:pt x="2" y="15"/>
                      </a:lnTo>
                      <a:lnTo>
                        <a:pt x="2" y="11"/>
                      </a:lnTo>
                      <a:lnTo>
                        <a:pt x="4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11" y="2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2" name="Freeform 3167"/>
                <p:cNvSpPr>
                  <a:spLocks/>
                </p:cNvSpPr>
                <p:nvPr/>
              </p:nvSpPr>
              <p:spPr bwMode="auto">
                <a:xfrm>
                  <a:off x="4763" y="690"/>
                  <a:ext cx="17" cy="19"/>
                </a:xfrm>
                <a:custGeom>
                  <a:avLst/>
                  <a:gdLst>
                    <a:gd name="T0" fmla="*/ 17 w 17"/>
                    <a:gd name="T1" fmla="*/ 0 h 19"/>
                    <a:gd name="T2" fmla="*/ 15 w 17"/>
                    <a:gd name="T3" fmla="*/ 0 h 19"/>
                    <a:gd name="T4" fmla="*/ 15 w 17"/>
                    <a:gd name="T5" fmla="*/ 0 h 19"/>
                    <a:gd name="T6" fmla="*/ 11 w 17"/>
                    <a:gd name="T7" fmla="*/ 2 h 19"/>
                    <a:gd name="T8" fmla="*/ 8 w 17"/>
                    <a:gd name="T9" fmla="*/ 2 h 19"/>
                    <a:gd name="T10" fmla="*/ 6 w 17"/>
                    <a:gd name="T11" fmla="*/ 4 h 19"/>
                    <a:gd name="T12" fmla="*/ 6 w 17"/>
                    <a:gd name="T13" fmla="*/ 4 h 19"/>
                    <a:gd name="T14" fmla="*/ 4 w 17"/>
                    <a:gd name="T15" fmla="*/ 8 h 19"/>
                    <a:gd name="T16" fmla="*/ 2 w 17"/>
                    <a:gd name="T17" fmla="*/ 11 h 19"/>
                    <a:gd name="T18" fmla="*/ 2 w 17"/>
                    <a:gd name="T19" fmla="*/ 15 h 19"/>
                    <a:gd name="T20" fmla="*/ 2 w 17"/>
                    <a:gd name="T21" fmla="*/ 15 h 19"/>
                    <a:gd name="T22" fmla="*/ 0 w 17"/>
                    <a:gd name="T23" fmla="*/ 17 h 19"/>
                    <a:gd name="T24" fmla="*/ 0 w 17"/>
                    <a:gd name="T25" fmla="*/ 19 h 19"/>
                    <a:gd name="T26" fmla="*/ 0 w 17"/>
                    <a:gd name="T27" fmla="*/ 17 h 19"/>
                    <a:gd name="T28" fmla="*/ 2 w 17"/>
                    <a:gd name="T29" fmla="*/ 15 h 19"/>
                    <a:gd name="T30" fmla="*/ 2 w 17"/>
                    <a:gd name="T31" fmla="*/ 15 h 19"/>
                    <a:gd name="T32" fmla="*/ 2 w 17"/>
                    <a:gd name="T33" fmla="*/ 11 h 19"/>
                    <a:gd name="T34" fmla="*/ 4 w 17"/>
                    <a:gd name="T35" fmla="*/ 8 h 19"/>
                    <a:gd name="T36" fmla="*/ 6 w 17"/>
                    <a:gd name="T37" fmla="*/ 4 h 19"/>
                    <a:gd name="T38" fmla="*/ 6 w 17"/>
                    <a:gd name="T39" fmla="*/ 4 h 19"/>
                    <a:gd name="T40" fmla="*/ 8 w 17"/>
                    <a:gd name="T41" fmla="*/ 2 h 19"/>
                    <a:gd name="T42" fmla="*/ 11 w 17"/>
                    <a:gd name="T43" fmla="*/ 2 h 19"/>
                    <a:gd name="T44" fmla="*/ 15 w 17"/>
                    <a:gd name="T45" fmla="*/ 0 h 19"/>
                    <a:gd name="T46" fmla="*/ 15 w 17"/>
                    <a:gd name="T47" fmla="*/ 0 h 19"/>
                    <a:gd name="T48" fmla="*/ 17 w 17"/>
                    <a:gd name="T4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7" h="19">
                      <a:moveTo>
                        <a:pt x="17" y="0"/>
                      </a:move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8"/>
                      </a:lnTo>
                      <a:lnTo>
                        <a:pt x="2" y="11"/>
                      </a:lnTo>
                      <a:lnTo>
                        <a:pt x="2" y="15"/>
                      </a:lnTo>
                      <a:lnTo>
                        <a:pt x="2" y="15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0" y="17"/>
                      </a:lnTo>
                      <a:lnTo>
                        <a:pt x="2" y="15"/>
                      </a:lnTo>
                      <a:lnTo>
                        <a:pt x="2" y="15"/>
                      </a:lnTo>
                      <a:lnTo>
                        <a:pt x="2" y="11"/>
                      </a:lnTo>
                      <a:lnTo>
                        <a:pt x="4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11" y="2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3" name="Freeform 3168"/>
                <p:cNvSpPr>
                  <a:spLocks/>
                </p:cNvSpPr>
                <p:nvPr/>
              </p:nvSpPr>
              <p:spPr bwMode="auto">
                <a:xfrm>
                  <a:off x="4666" y="84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4" name="Freeform 3169"/>
                <p:cNvSpPr>
                  <a:spLocks/>
                </p:cNvSpPr>
                <p:nvPr/>
              </p:nvSpPr>
              <p:spPr bwMode="auto">
                <a:xfrm>
                  <a:off x="4666" y="84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5" name="Rectangle 3170"/>
                <p:cNvSpPr>
                  <a:spLocks noChangeArrowheads="1"/>
                </p:cNvSpPr>
                <p:nvPr/>
              </p:nvSpPr>
              <p:spPr bwMode="auto">
                <a:xfrm>
                  <a:off x="4806" y="109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6" name="Rectangle 3171"/>
                <p:cNvSpPr>
                  <a:spLocks noChangeArrowheads="1"/>
                </p:cNvSpPr>
                <p:nvPr/>
              </p:nvSpPr>
              <p:spPr bwMode="auto">
                <a:xfrm>
                  <a:off x="4806" y="109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7" name="Freeform 3172"/>
                <p:cNvSpPr>
                  <a:spLocks/>
                </p:cNvSpPr>
                <p:nvPr/>
              </p:nvSpPr>
              <p:spPr bwMode="auto">
                <a:xfrm>
                  <a:off x="4666" y="192"/>
                  <a:ext cx="775" cy="919"/>
                </a:xfrm>
                <a:custGeom>
                  <a:avLst/>
                  <a:gdLst>
                    <a:gd name="T0" fmla="*/ 535 w 775"/>
                    <a:gd name="T1" fmla="*/ 41 h 919"/>
                    <a:gd name="T2" fmla="*/ 511 w 775"/>
                    <a:gd name="T3" fmla="*/ 89 h 919"/>
                    <a:gd name="T4" fmla="*/ 502 w 775"/>
                    <a:gd name="T5" fmla="*/ 124 h 919"/>
                    <a:gd name="T6" fmla="*/ 546 w 775"/>
                    <a:gd name="T7" fmla="*/ 140 h 919"/>
                    <a:gd name="T8" fmla="*/ 459 w 775"/>
                    <a:gd name="T9" fmla="*/ 146 h 919"/>
                    <a:gd name="T10" fmla="*/ 413 w 775"/>
                    <a:gd name="T11" fmla="*/ 155 h 919"/>
                    <a:gd name="T12" fmla="*/ 341 w 775"/>
                    <a:gd name="T13" fmla="*/ 209 h 919"/>
                    <a:gd name="T14" fmla="*/ 238 w 775"/>
                    <a:gd name="T15" fmla="*/ 269 h 919"/>
                    <a:gd name="T16" fmla="*/ 147 w 775"/>
                    <a:gd name="T17" fmla="*/ 380 h 919"/>
                    <a:gd name="T18" fmla="*/ 127 w 775"/>
                    <a:gd name="T19" fmla="*/ 467 h 919"/>
                    <a:gd name="T20" fmla="*/ 147 w 775"/>
                    <a:gd name="T21" fmla="*/ 515 h 919"/>
                    <a:gd name="T22" fmla="*/ 73 w 775"/>
                    <a:gd name="T23" fmla="*/ 489 h 919"/>
                    <a:gd name="T24" fmla="*/ 20 w 775"/>
                    <a:gd name="T25" fmla="*/ 600 h 919"/>
                    <a:gd name="T26" fmla="*/ 62 w 775"/>
                    <a:gd name="T27" fmla="*/ 686 h 919"/>
                    <a:gd name="T28" fmla="*/ 29 w 775"/>
                    <a:gd name="T29" fmla="*/ 810 h 919"/>
                    <a:gd name="T30" fmla="*/ 131 w 775"/>
                    <a:gd name="T31" fmla="*/ 902 h 919"/>
                    <a:gd name="T32" fmla="*/ 310 w 775"/>
                    <a:gd name="T33" fmla="*/ 882 h 919"/>
                    <a:gd name="T34" fmla="*/ 317 w 775"/>
                    <a:gd name="T35" fmla="*/ 875 h 919"/>
                    <a:gd name="T36" fmla="*/ 121 w 775"/>
                    <a:gd name="T37" fmla="*/ 889 h 919"/>
                    <a:gd name="T38" fmla="*/ 31 w 775"/>
                    <a:gd name="T39" fmla="*/ 805 h 919"/>
                    <a:gd name="T40" fmla="*/ 77 w 775"/>
                    <a:gd name="T41" fmla="*/ 698 h 919"/>
                    <a:gd name="T42" fmla="*/ 22 w 775"/>
                    <a:gd name="T43" fmla="*/ 609 h 919"/>
                    <a:gd name="T44" fmla="*/ 66 w 775"/>
                    <a:gd name="T45" fmla="*/ 509 h 919"/>
                    <a:gd name="T46" fmla="*/ 101 w 775"/>
                    <a:gd name="T47" fmla="*/ 506 h 919"/>
                    <a:gd name="T48" fmla="*/ 186 w 775"/>
                    <a:gd name="T49" fmla="*/ 487 h 919"/>
                    <a:gd name="T50" fmla="*/ 123 w 775"/>
                    <a:gd name="T51" fmla="*/ 400 h 919"/>
                    <a:gd name="T52" fmla="*/ 179 w 775"/>
                    <a:gd name="T53" fmla="*/ 312 h 919"/>
                    <a:gd name="T54" fmla="*/ 291 w 775"/>
                    <a:gd name="T55" fmla="*/ 233 h 919"/>
                    <a:gd name="T56" fmla="*/ 378 w 775"/>
                    <a:gd name="T57" fmla="*/ 179 h 919"/>
                    <a:gd name="T58" fmla="*/ 444 w 775"/>
                    <a:gd name="T59" fmla="*/ 142 h 919"/>
                    <a:gd name="T60" fmla="*/ 551 w 775"/>
                    <a:gd name="T61" fmla="*/ 146 h 919"/>
                    <a:gd name="T62" fmla="*/ 503 w 775"/>
                    <a:gd name="T63" fmla="*/ 122 h 919"/>
                    <a:gd name="T64" fmla="*/ 509 w 775"/>
                    <a:gd name="T65" fmla="*/ 87 h 919"/>
                    <a:gd name="T66" fmla="*/ 562 w 775"/>
                    <a:gd name="T67" fmla="*/ 33 h 919"/>
                    <a:gd name="T68" fmla="*/ 614 w 775"/>
                    <a:gd name="T69" fmla="*/ 26 h 919"/>
                    <a:gd name="T70" fmla="*/ 610 w 775"/>
                    <a:gd name="T71" fmla="*/ 59 h 919"/>
                    <a:gd name="T72" fmla="*/ 618 w 775"/>
                    <a:gd name="T73" fmla="*/ 96 h 919"/>
                    <a:gd name="T74" fmla="*/ 673 w 775"/>
                    <a:gd name="T75" fmla="*/ 135 h 919"/>
                    <a:gd name="T76" fmla="*/ 708 w 775"/>
                    <a:gd name="T77" fmla="*/ 118 h 919"/>
                    <a:gd name="T78" fmla="*/ 701 w 775"/>
                    <a:gd name="T79" fmla="*/ 151 h 919"/>
                    <a:gd name="T80" fmla="*/ 655 w 775"/>
                    <a:gd name="T81" fmla="*/ 205 h 919"/>
                    <a:gd name="T82" fmla="*/ 526 w 775"/>
                    <a:gd name="T83" fmla="*/ 290 h 919"/>
                    <a:gd name="T84" fmla="*/ 562 w 775"/>
                    <a:gd name="T85" fmla="*/ 325 h 919"/>
                    <a:gd name="T86" fmla="*/ 596 w 775"/>
                    <a:gd name="T87" fmla="*/ 378 h 919"/>
                    <a:gd name="T88" fmla="*/ 618 w 775"/>
                    <a:gd name="T89" fmla="*/ 436 h 919"/>
                    <a:gd name="T90" fmla="*/ 692 w 775"/>
                    <a:gd name="T91" fmla="*/ 439 h 919"/>
                    <a:gd name="T92" fmla="*/ 727 w 775"/>
                    <a:gd name="T93" fmla="*/ 448 h 919"/>
                    <a:gd name="T94" fmla="*/ 747 w 775"/>
                    <a:gd name="T95" fmla="*/ 489 h 919"/>
                    <a:gd name="T96" fmla="*/ 729 w 775"/>
                    <a:gd name="T97" fmla="*/ 565 h 919"/>
                    <a:gd name="T98" fmla="*/ 721 w 775"/>
                    <a:gd name="T99" fmla="*/ 515 h 919"/>
                    <a:gd name="T100" fmla="*/ 767 w 775"/>
                    <a:gd name="T101" fmla="*/ 452 h 919"/>
                    <a:gd name="T102" fmla="*/ 730 w 775"/>
                    <a:gd name="T103" fmla="*/ 430 h 919"/>
                    <a:gd name="T104" fmla="*/ 671 w 775"/>
                    <a:gd name="T105" fmla="*/ 436 h 919"/>
                    <a:gd name="T106" fmla="*/ 559 w 775"/>
                    <a:gd name="T107" fmla="*/ 439 h 919"/>
                    <a:gd name="T108" fmla="*/ 559 w 775"/>
                    <a:gd name="T109" fmla="*/ 343 h 919"/>
                    <a:gd name="T110" fmla="*/ 516 w 775"/>
                    <a:gd name="T111" fmla="*/ 282 h 919"/>
                    <a:gd name="T112" fmla="*/ 623 w 775"/>
                    <a:gd name="T113" fmla="*/ 216 h 919"/>
                    <a:gd name="T114" fmla="*/ 710 w 775"/>
                    <a:gd name="T115" fmla="*/ 164 h 919"/>
                    <a:gd name="T116" fmla="*/ 712 w 775"/>
                    <a:gd name="T117" fmla="*/ 137 h 919"/>
                    <a:gd name="T118" fmla="*/ 690 w 775"/>
                    <a:gd name="T119" fmla="*/ 135 h 919"/>
                    <a:gd name="T120" fmla="*/ 618 w 775"/>
                    <a:gd name="T121" fmla="*/ 107 h 919"/>
                    <a:gd name="T122" fmla="*/ 634 w 775"/>
                    <a:gd name="T123" fmla="*/ 50 h 919"/>
                    <a:gd name="T124" fmla="*/ 634 w 775"/>
                    <a:gd name="T125" fmla="*/ 41 h 9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75" h="919">
                      <a:moveTo>
                        <a:pt x="612" y="0"/>
                      </a:moveTo>
                      <a:lnTo>
                        <a:pt x="607" y="0"/>
                      </a:lnTo>
                      <a:lnTo>
                        <a:pt x="601" y="0"/>
                      </a:lnTo>
                      <a:lnTo>
                        <a:pt x="601" y="0"/>
                      </a:lnTo>
                      <a:lnTo>
                        <a:pt x="601" y="6"/>
                      </a:lnTo>
                      <a:lnTo>
                        <a:pt x="601" y="9"/>
                      </a:lnTo>
                      <a:lnTo>
                        <a:pt x="601" y="13"/>
                      </a:lnTo>
                      <a:lnTo>
                        <a:pt x="601" y="17"/>
                      </a:lnTo>
                      <a:lnTo>
                        <a:pt x="598" y="17"/>
                      </a:lnTo>
                      <a:lnTo>
                        <a:pt x="598" y="17"/>
                      </a:lnTo>
                      <a:lnTo>
                        <a:pt x="592" y="18"/>
                      </a:lnTo>
                      <a:lnTo>
                        <a:pt x="588" y="18"/>
                      </a:lnTo>
                      <a:lnTo>
                        <a:pt x="585" y="18"/>
                      </a:lnTo>
                      <a:lnTo>
                        <a:pt x="583" y="20"/>
                      </a:lnTo>
                      <a:lnTo>
                        <a:pt x="585" y="22"/>
                      </a:lnTo>
                      <a:lnTo>
                        <a:pt x="586" y="22"/>
                      </a:lnTo>
                      <a:lnTo>
                        <a:pt x="585" y="22"/>
                      </a:lnTo>
                      <a:lnTo>
                        <a:pt x="585" y="22"/>
                      </a:lnTo>
                      <a:lnTo>
                        <a:pt x="585" y="24"/>
                      </a:lnTo>
                      <a:lnTo>
                        <a:pt x="583" y="22"/>
                      </a:lnTo>
                      <a:lnTo>
                        <a:pt x="583" y="22"/>
                      </a:lnTo>
                      <a:lnTo>
                        <a:pt x="581" y="22"/>
                      </a:lnTo>
                      <a:lnTo>
                        <a:pt x="575" y="26"/>
                      </a:lnTo>
                      <a:lnTo>
                        <a:pt x="572" y="28"/>
                      </a:lnTo>
                      <a:lnTo>
                        <a:pt x="566" y="31"/>
                      </a:lnTo>
                      <a:lnTo>
                        <a:pt x="561" y="33"/>
                      </a:lnTo>
                      <a:lnTo>
                        <a:pt x="555" y="35"/>
                      </a:lnTo>
                      <a:lnTo>
                        <a:pt x="546" y="37"/>
                      </a:lnTo>
                      <a:lnTo>
                        <a:pt x="535" y="41"/>
                      </a:lnTo>
                      <a:lnTo>
                        <a:pt x="518" y="44"/>
                      </a:lnTo>
                      <a:lnTo>
                        <a:pt x="518" y="52"/>
                      </a:lnTo>
                      <a:lnTo>
                        <a:pt x="518" y="57"/>
                      </a:lnTo>
                      <a:lnTo>
                        <a:pt x="518" y="65"/>
                      </a:lnTo>
                      <a:lnTo>
                        <a:pt x="518" y="72"/>
                      </a:lnTo>
                      <a:lnTo>
                        <a:pt x="513" y="72"/>
                      </a:lnTo>
                      <a:lnTo>
                        <a:pt x="507" y="72"/>
                      </a:lnTo>
                      <a:lnTo>
                        <a:pt x="507" y="72"/>
                      </a:lnTo>
                      <a:lnTo>
                        <a:pt x="507" y="74"/>
                      </a:lnTo>
                      <a:lnTo>
                        <a:pt x="507" y="74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9" y="78"/>
                      </a:lnTo>
                      <a:lnTo>
                        <a:pt x="509" y="78"/>
                      </a:lnTo>
                      <a:lnTo>
                        <a:pt x="513" y="78"/>
                      </a:lnTo>
                      <a:lnTo>
                        <a:pt x="513" y="78"/>
                      </a:lnTo>
                      <a:lnTo>
                        <a:pt x="518" y="78"/>
                      </a:lnTo>
                      <a:lnTo>
                        <a:pt x="518" y="79"/>
                      </a:lnTo>
                      <a:lnTo>
                        <a:pt x="518" y="81"/>
                      </a:lnTo>
                      <a:lnTo>
                        <a:pt x="518" y="81"/>
                      </a:lnTo>
                      <a:lnTo>
                        <a:pt x="516" y="81"/>
                      </a:lnTo>
                      <a:lnTo>
                        <a:pt x="515" y="83"/>
                      </a:lnTo>
                      <a:lnTo>
                        <a:pt x="507" y="85"/>
                      </a:lnTo>
                      <a:lnTo>
                        <a:pt x="505" y="85"/>
                      </a:lnTo>
                      <a:lnTo>
                        <a:pt x="509" y="87"/>
                      </a:lnTo>
                      <a:lnTo>
                        <a:pt x="511" y="89"/>
                      </a:lnTo>
                      <a:lnTo>
                        <a:pt x="511" y="89"/>
                      </a:lnTo>
                      <a:lnTo>
                        <a:pt x="515" y="89"/>
                      </a:lnTo>
                      <a:lnTo>
                        <a:pt x="516" y="89"/>
                      </a:lnTo>
                      <a:lnTo>
                        <a:pt x="516" y="89"/>
                      </a:lnTo>
                      <a:lnTo>
                        <a:pt x="518" y="89"/>
                      </a:lnTo>
                      <a:lnTo>
                        <a:pt x="518" y="90"/>
                      </a:lnTo>
                      <a:lnTo>
                        <a:pt x="518" y="90"/>
                      </a:lnTo>
                      <a:lnTo>
                        <a:pt x="518" y="92"/>
                      </a:lnTo>
                      <a:lnTo>
                        <a:pt x="518" y="92"/>
                      </a:lnTo>
                      <a:lnTo>
                        <a:pt x="515" y="92"/>
                      </a:lnTo>
                      <a:lnTo>
                        <a:pt x="509" y="90"/>
                      </a:lnTo>
                      <a:lnTo>
                        <a:pt x="507" y="89"/>
                      </a:lnTo>
                      <a:lnTo>
                        <a:pt x="507" y="89"/>
                      </a:lnTo>
                      <a:lnTo>
                        <a:pt x="505" y="89"/>
                      </a:lnTo>
                      <a:lnTo>
                        <a:pt x="505" y="87"/>
                      </a:lnTo>
                      <a:lnTo>
                        <a:pt x="502" y="87"/>
                      </a:lnTo>
                      <a:lnTo>
                        <a:pt x="498" y="87"/>
                      </a:lnTo>
                      <a:lnTo>
                        <a:pt x="496" y="87"/>
                      </a:lnTo>
                      <a:lnTo>
                        <a:pt x="496" y="96"/>
                      </a:lnTo>
                      <a:lnTo>
                        <a:pt x="494" y="101"/>
                      </a:lnTo>
                      <a:lnTo>
                        <a:pt x="494" y="109"/>
                      </a:lnTo>
                      <a:lnTo>
                        <a:pt x="492" y="116"/>
                      </a:lnTo>
                      <a:lnTo>
                        <a:pt x="492" y="116"/>
                      </a:lnTo>
                      <a:lnTo>
                        <a:pt x="494" y="120"/>
                      </a:lnTo>
                      <a:lnTo>
                        <a:pt x="494" y="120"/>
                      </a:lnTo>
                      <a:lnTo>
                        <a:pt x="498" y="120"/>
                      </a:lnTo>
                      <a:lnTo>
                        <a:pt x="498" y="120"/>
                      </a:lnTo>
                      <a:lnTo>
                        <a:pt x="500" y="122"/>
                      </a:lnTo>
                      <a:lnTo>
                        <a:pt x="502" y="124"/>
                      </a:lnTo>
                      <a:lnTo>
                        <a:pt x="502" y="124"/>
                      </a:lnTo>
                      <a:lnTo>
                        <a:pt x="507" y="124"/>
                      </a:lnTo>
                      <a:lnTo>
                        <a:pt x="507" y="124"/>
                      </a:lnTo>
                      <a:lnTo>
                        <a:pt x="513" y="124"/>
                      </a:lnTo>
                      <a:lnTo>
                        <a:pt x="518" y="125"/>
                      </a:lnTo>
                      <a:lnTo>
                        <a:pt x="522" y="125"/>
                      </a:lnTo>
                      <a:lnTo>
                        <a:pt x="526" y="127"/>
                      </a:lnTo>
                      <a:lnTo>
                        <a:pt x="527" y="129"/>
                      </a:lnTo>
                      <a:lnTo>
                        <a:pt x="529" y="131"/>
                      </a:lnTo>
                      <a:lnTo>
                        <a:pt x="529" y="131"/>
                      </a:lnTo>
                      <a:lnTo>
                        <a:pt x="533" y="133"/>
                      </a:lnTo>
                      <a:lnTo>
                        <a:pt x="533" y="133"/>
                      </a:lnTo>
                      <a:lnTo>
                        <a:pt x="535" y="127"/>
                      </a:lnTo>
                      <a:lnTo>
                        <a:pt x="537" y="122"/>
                      </a:lnTo>
                      <a:lnTo>
                        <a:pt x="540" y="124"/>
                      </a:lnTo>
                      <a:lnTo>
                        <a:pt x="546" y="124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44" y="125"/>
                      </a:lnTo>
                      <a:lnTo>
                        <a:pt x="544" y="127"/>
                      </a:lnTo>
                      <a:lnTo>
                        <a:pt x="544" y="131"/>
                      </a:lnTo>
                      <a:lnTo>
                        <a:pt x="544" y="133"/>
                      </a:lnTo>
                      <a:lnTo>
                        <a:pt x="544" y="133"/>
                      </a:lnTo>
                      <a:lnTo>
                        <a:pt x="544" y="137"/>
                      </a:lnTo>
                      <a:lnTo>
                        <a:pt x="544" y="137"/>
                      </a:lnTo>
                      <a:lnTo>
                        <a:pt x="546" y="138"/>
                      </a:lnTo>
                      <a:lnTo>
                        <a:pt x="546" y="140"/>
                      </a:lnTo>
                      <a:lnTo>
                        <a:pt x="546" y="140"/>
                      </a:lnTo>
                      <a:lnTo>
                        <a:pt x="548" y="142"/>
                      </a:lnTo>
                      <a:lnTo>
                        <a:pt x="550" y="144"/>
                      </a:lnTo>
                      <a:lnTo>
                        <a:pt x="551" y="144"/>
                      </a:lnTo>
                      <a:lnTo>
                        <a:pt x="544" y="144"/>
                      </a:lnTo>
                      <a:lnTo>
                        <a:pt x="540" y="144"/>
                      </a:lnTo>
                      <a:lnTo>
                        <a:pt x="535" y="144"/>
                      </a:lnTo>
                      <a:lnTo>
                        <a:pt x="531" y="146"/>
                      </a:lnTo>
                      <a:lnTo>
                        <a:pt x="531" y="146"/>
                      </a:lnTo>
                      <a:lnTo>
                        <a:pt x="527" y="146"/>
                      </a:lnTo>
                      <a:lnTo>
                        <a:pt x="527" y="146"/>
                      </a:lnTo>
                      <a:lnTo>
                        <a:pt x="526" y="148"/>
                      </a:lnTo>
                      <a:lnTo>
                        <a:pt x="526" y="148"/>
                      </a:lnTo>
                      <a:lnTo>
                        <a:pt x="522" y="149"/>
                      </a:lnTo>
                      <a:lnTo>
                        <a:pt x="518" y="151"/>
                      </a:lnTo>
                      <a:lnTo>
                        <a:pt x="516" y="148"/>
                      </a:lnTo>
                      <a:lnTo>
                        <a:pt x="515" y="142"/>
                      </a:lnTo>
                      <a:lnTo>
                        <a:pt x="515" y="142"/>
                      </a:lnTo>
                      <a:lnTo>
                        <a:pt x="503" y="140"/>
                      </a:lnTo>
                      <a:lnTo>
                        <a:pt x="492" y="140"/>
                      </a:lnTo>
                      <a:lnTo>
                        <a:pt x="485" y="138"/>
                      </a:lnTo>
                      <a:lnTo>
                        <a:pt x="478" y="137"/>
                      </a:lnTo>
                      <a:lnTo>
                        <a:pt x="474" y="137"/>
                      </a:lnTo>
                      <a:lnTo>
                        <a:pt x="468" y="135"/>
                      </a:lnTo>
                      <a:lnTo>
                        <a:pt x="465" y="135"/>
                      </a:lnTo>
                      <a:lnTo>
                        <a:pt x="465" y="135"/>
                      </a:lnTo>
                      <a:lnTo>
                        <a:pt x="461" y="135"/>
                      </a:lnTo>
                      <a:lnTo>
                        <a:pt x="459" y="135"/>
                      </a:lnTo>
                      <a:lnTo>
                        <a:pt x="459" y="142"/>
                      </a:lnTo>
                      <a:lnTo>
                        <a:pt x="459" y="146"/>
                      </a:lnTo>
                      <a:lnTo>
                        <a:pt x="459" y="144"/>
                      </a:lnTo>
                      <a:lnTo>
                        <a:pt x="459" y="144"/>
                      </a:lnTo>
                      <a:lnTo>
                        <a:pt x="457" y="144"/>
                      </a:lnTo>
                      <a:lnTo>
                        <a:pt x="455" y="142"/>
                      </a:lnTo>
                      <a:lnTo>
                        <a:pt x="455" y="142"/>
                      </a:lnTo>
                      <a:lnTo>
                        <a:pt x="452" y="142"/>
                      </a:lnTo>
                      <a:lnTo>
                        <a:pt x="452" y="142"/>
                      </a:lnTo>
                      <a:lnTo>
                        <a:pt x="448" y="140"/>
                      </a:lnTo>
                      <a:lnTo>
                        <a:pt x="448" y="140"/>
                      </a:lnTo>
                      <a:lnTo>
                        <a:pt x="444" y="140"/>
                      </a:lnTo>
                      <a:lnTo>
                        <a:pt x="444" y="140"/>
                      </a:lnTo>
                      <a:lnTo>
                        <a:pt x="435" y="140"/>
                      </a:lnTo>
                      <a:lnTo>
                        <a:pt x="426" y="142"/>
                      </a:lnTo>
                      <a:lnTo>
                        <a:pt x="426" y="148"/>
                      </a:lnTo>
                      <a:lnTo>
                        <a:pt x="426" y="153"/>
                      </a:lnTo>
                      <a:lnTo>
                        <a:pt x="426" y="155"/>
                      </a:lnTo>
                      <a:lnTo>
                        <a:pt x="431" y="153"/>
                      </a:lnTo>
                      <a:lnTo>
                        <a:pt x="437" y="153"/>
                      </a:lnTo>
                      <a:lnTo>
                        <a:pt x="443" y="153"/>
                      </a:lnTo>
                      <a:lnTo>
                        <a:pt x="444" y="153"/>
                      </a:lnTo>
                      <a:lnTo>
                        <a:pt x="443" y="153"/>
                      </a:lnTo>
                      <a:lnTo>
                        <a:pt x="439" y="157"/>
                      </a:lnTo>
                      <a:lnTo>
                        <a:pt x="433" y="159"/>
                      </a:lnTo>
                      <a:lnTo>
                        <a:pt x="430" y="161"/>
                      </a:lnTo>
                      <a:lnTo>
                        <a:pt x="424" y="159"/>
                      </a:lnTo>
                      <a:lnTo>
                        <a:pt x="420" y="157"/>
                      </a:lnTo>
                      <a:lnTo>
                        <a:pt x="420" y="157"/>
                      </a:lnTo>
                      <a:lnTo>
                        <a:pt x="417" y="157"/>
                      </a:lnTo>
                      <a:lnTo>
                        <a:pt x="413" y="155"/>
                      </a:lnTo>
                      <a:lnTo>
                        <a:pt x="413" y="153"/>
                      </a:lnTo>
                      <a:lnTo>
                        <a:pt x="411" y="159"/>
                      </a:lnTo>
                      <a:lnTo>
                        <a:pt x="409" y="162"/>
                      </a:lnTo>
                      <a:lnTo>
                        <a:pt x="407" y="166"/>
                      </a:lnTo>
                      <a:lnTo>
                        <a:pt x="406" y="172"/>
                      </a:lnTo>
                      <a:lnTo>
                        <a:pt x="398" y="172"/>
                      </a:lnTo>
                      <a:lnTo>
                        <a:pt x="391" y="173"/>
                      </a:lnTo>
                      <a:lnTo>
                        <a:pt x="383" y="175"/>
                      </a:lnTo>
                      <a:lnTo>
                        <a:pt x="376" y="177"/>
                      </a:lnTo>
                      <a:lnTo>
                        <a:pt x="376" y="179"/>
                      </a:lnTo>
                      <a:lnTo>
                        <a:pt x="374" y="181"/>
                      </a:lnTo>
                      <a:lnTo>
                        <a:pt x="374" y="181"/>
                      </a:lnTo>
                      <a:lnTo>
                        <a:pt x="372" y="185"/>
                      </a:lnTo>
                      <a:lnTo>
                        <a:pt x="371" y="188"/>
                      </a:lnTo>
                      <a:lnTo>
                        <a:pt x="369" y="192"/>
                      </a:lnTo>
                      <a:lnTo>
                        <a:pt x="367" y="188"/>
                      </a:lnTo>
                      <a:lnTo>
                        <a:pt x="363" y="186"/>
                      </a:lnTo>
                      <a:lnTo>
                        <a:pt x="363" y="186"/>
                      </a:lnTo>
                      <a:lnTo>
                        <a:pt x="359" y="192"/>
                      </a:lnTo>
                      <a:lnTo>
                        <a:pt x="359" y="192"/>
                      </a:lnTo>
                      <a:lnTo>
                        <a:pt x="358" y="197"/>
                      </a:lnTo>
                      <a:lnTo>
                        <a:pt x="356" y="194"/>
                      </a:lnTo>
                      <a:lnTo>
                        <a:pt x="352" y="192"/>
                      </a:lnTo>
                      <a:lnTo>
                        <a:pt x="352" y="190"/>
                      </a:lnTo>
                      <a:lnTo>
                        <a:pt x="350" y="196"/>
                      </a:lnTo>
                      <a:lnTo>
                        <a:pt x="350" y="199"/>
                      </a:lnTo>
                      <a:lnTo>
                        <a:pt x="348" y="205"/>
                      </a:lnTo>
                      <a:lnTo>
                        <a:pt x="348" y="209"/>
                      </a:lnTo>
                      <a:lnTo>
                        <a:pt x="341" y="209"/>
                      </a:lnTo>
                      <a:lnTo>
                        <a:pt x="332" y="210"/>
                      </a:lnTo>
                      <a:lnTo>
                        <a:pt x="326" y="212"/>
                      </a:lnTo>
                      <a:lnTo>
                        <a:pt x="321" y="214"/>
                      </a:lnTo>
                      <a:lnTo>
                        <a:pt x="315" y="216"/>
                      </a:lnTo>
                      <a:lnTo>
                        <a:pt x="312" y="216"/>
                      </a:lnTo>
                      <a:lnTo>
                        <a:pt x="306" y="218"/>
                      </a:lnTo>
                      <a:lnTo>
                        <a:pt x="300" y="220"/>
                      </a:lnTo>
                      <a:lnTo>
                        <a:pt x="300" y="220"/>
                      </a:lnTo>
                      <a:lnTo>
                        <a:pt x="300" y="225"/>
                      </a:lnTo>
                      <a:lnTo>
                        <a:pt x="300" y="231"/>
                      </a:lnTo>
                      <a:lnTo>
                        <a:pt x="297" y="231"/>
                      </a:lnTo>
                      <a:lnTo>
                        <a:pt x="291" y="231"/>
                      </a:lnTo>
                      <a:lnTo>
                        <a:pt x="291" y="231"/>
                      </a:lnTo>
                      <a:lnTo>
                        <a:pt x="288" y="233"/>
                      </a:lnTo>
                      <a:lnTo>
                        <a:pt x="284" y="233"/>
                      </a:lnTo>
                      <a:lnTo>
                        <a:pt x="282" y="233"/>
                      </a:lnTo>
                      <a:lnTo>
                        <a:pt x="286" y="236"/>
                      </a:lnTo>
                      <a:lnTo>
                        <a:pt x="288" y="238"/>
                      </a:lnTo>
                      <a:lnTo>
                        <a:pt x="282" y="238"/>
                      </a:lnTo>
                      <a:lnTo>
                        <a:pt x="276" y="240"/>
                      </a:lnTo>
                      <a:lnTo>
                        <a:pt x="269" y="240"/>
                      </a:lnTo>
                      <a:lnTo>
                        <a:pt x="262" y="242"/>
                      </a:lnTo>
                      <a:lnTo>
                        <a:pt x="262" y="242"/>
                      </a:lnTo>
                      <a:lnTo>
                        <a:pt x="260" y="245"/>
                      </a:lnTo>
                      <a:lnTo>
                        <a:pt x="258" y="249"/>
                      </a:lnTo>
                      <a:lnTo>
                        <a:pt x="252" y="255"/>
                      </a:lnTo>
                      <a:lnTo>
                        <a:pt x="249" y="258"/>
                      </a:lnTo>
                      <a:lnTo>
                        <a:pt x="243" y="264"/>
                      </a:lnTo>
                      <a:lnTo>
                        <a:pt x="238" y="269"/>
                      </a:lnTo>
                      <a:lnTo>
                        <a:pt x="232" y="275"/>
                      </a:lnTo>
                      <a:lnTo>
                        <a:pt x="225" y="280"/>
                      </a:lnTo>
                      <a:lnTo>
                        <a:pt x="217" y="286"/>
                      </a:lnTo>
                      <a:lnTo>
                        <a:pt x="212" y="292"/>
                      </a:lnTo>
                      <a:lnTo>
                        <a:pt x="204" y="295"/>
                      </a:lnTo>
                      <a:lnTo>
                        <a:pt x="199" y="301"/>
                      </a:lnTo>
                      <a:lnTo>
                        <a:pt x="193" y="304"/>
                      </a:lnTo>
                      <a:lnTo>
                        <a:pt x="188" y="306"/>
                      </a:lnTo>
                      <a:lnTo>
                        <a:pt x="182" y="310"/>
                      </a:lnTo>
                      <a:lnTo>
                        <a:pt x="179" y="310"/>
                      </a:lnTo>
                      <a:lnTo>
                        <a:pt x="179" y="312"/>
                      </a:lnTo>
                      <a:lnTo>
                        <a:pt x="173" y="325"/>
                      </a:lnTo>
                      <a:lnTo>
                        <a:pt x="168" y="340"/>
                      </a:lnTo>
                      <a:lnTo>
                        <a:pt x="162" y="352"/>
                      </a:lnTo>
                      <a:lnTo>
                        <a:pt x="158" y="367"/>
                      </a:lnTo>
                      <a:lnTo>
                        <a:pt x="155" y="367"/>
                      </a:lnTo>
                      <a:lnTo>
                        <a:pt x="151" y="367"/>
                      </a:lnTo>
                      <a:lnTo>
                        <a:pt x="145" y="367"/>
                      </a:lnTo>
                      <a:lnTo>
                        <a:pt x="142" y="367"/>
                      </a:lnTo>
                      <a:lnTo>
                        <a:pt x="142" y="367"/>
                      </a:lnTo>
                      <a:lnTo>
                        <a:pt x="142" y="373"/>
                      </a:lnTo>
                      <a:lnTo>
                        <a:pt x="144" y="378"/>
                      </a:lnTo>
                      <a:lnTo>
                        <a:pt x="144" y="380"/>
                      </a:lnTo>
                      <a:lnTo>
                        <a:pt x="147" y="378"/>
                      </a:lnTo>
                      <a:lnTo>
                        <a:pt x="147" y="376"/>
                      </a:lnTo>
                      <a:lnTo>
                        <a:pt x="147" y="378"/>
                      </a:lnTo>
                      <a:lnTo>
                        <a:pt x="149" y="378"/>
                      </a:lnTo>
                      <a:lnTo>
                        <a:pt x="147" y="380"/>
                      </a:lnTo>
                      <a:lnTo>
                        <a:pt x="147" y="380"/>
                      </a:lnTo>
                      <a:lnTo>
                        <a:pt x="147" y="380"/>
                      </a:lnTo>
                      <a:lnTo>
                        <a:pt x="144" y="382"/>
                      </a:lnTo>
                      <a:lnTo>
                        <a:pt x="144" y="382"/>
                      </a:lnTo>
                      <a:lnTo>
                        <a:pt x="140" y="382"/>
                      </a:lnTo>
                      <a:lnTo>
                        <a:pt x="134" y="384"/>
                      </a:lnTo>
                      <a:lnTo>
                        <a:pt x="131" y="384"/>
                      </a:lnTo>
                      <a:lnTo>
                        <a:pt x="131" y="384"/>
                      </a:lnTo>
                      <a:lnTo>
                        <a:pt x="129" y="389"/>
                      </a:lnTo>
                      <a:lnTo>
                        <a:pt x="127" y="393"/>
                      </a:lnTo>
                      <a:lnTo>
                        <a:pt x="125" y="397"/>
                      </a:lnTo>
                      <a:lnTo>
                        <a:pt x="123" y="400"/>
                      </a:lnTo>
                      <a:lnTo>
                        <a:pt x="118" y="406"/>
                      </a:lnTo>
                      <a:lnTo>
                        <a:pt x="112" y="412"/>
                      </a:lnTo>
                      <a:lnTo>
                        <a:pt x="107" y="417"/>
                      </a:lnTo>
                      <a:lnTo>
                        <a:pt x="101" y="423"/>
                      </a:lnTo>
                      <a:lnTo>
                        <a:pt x="94" y="430"/>
                      </a:lnTo>
                      <a:lnTo>
                        <a:pt x="86" y="436"/>
                      </a:lnTo>
                      <a:lnTo>
                        <a:pt x="94" y="439"/>
                      </a:lnTo>
                      <a:lnTo>
                        <a:pt x="101" y="443"/>
                      </a:lnTo>
                      <a:lnTo>
                        <a:pt x="107" y="447"/>
                      </a:lnTo>
                      <a:lnTo>
                        <a:pt x="114" y="450"/>
                      </a:lnTo>
                      <a:lnTo>
                        <a:pt x="114" y="454"/>
                      </a:lnTo>
                      <a:lnTo>
                        <a:pt x="114" y="458"/>
                      </a:lnTo>
                      <a:lnTo>
                        <a:pt x="114" y="461"/>
                      </a:lnTo>
                      <a:lnTo>
                        <a:pt x="114" y="467"/>
                      </a:lnTo>
                      <a:lnTo>
                        <a:pt x="114" y="467"/>
                      </a:lnTo>
                      <a:lnTo>
                        <a:pt x="120" y="467"/>
                      </a:lnTo>
                      <a:lnTo>
                        <a:pt x="125" y="467"/>
                      </a:lnTo>
                      <a:lnTo>
                        <a:pt x="127" y="467"/>
                      </a:lnTo>
                      <a:lnTo>
                        <a:pt x="127" y="461"/>
                      </a:lnTo>
                      <a:lnTo>
                        <a:pt x="127" y="456"/>
                      </a:lnTo>
                      <a:lnTo>
                        <a:pt x="136" y="458"/>
                      </a:lnTo>
                      <a:lnTo>
                        <a:pt x="147" y="461"/>
                      </a:lnTo>
                      <a:lnTo>
                        <a:pt x="160" y="463"/>
                      </a:lnTo>
                      <a:lnTo>
                        <a:pt x="171" y="465"/>
                      </a:lnTo>
                      <a:lnTo>
                        <a:pt x="173" y="471"/>
                      </a:lnTo>
                      <a:lnTo>
                        <a:pt x="175" y="476"/>
                      </a:lnTo>
                      <a:lnTo>
                        <a:pt x="177" y="482"/>
                      </a:lnTo>
                      <a:lnTo>
                        <a:pt x="180" y="489"/>
                      </a:lnTo>
                      <a:lnTo>
                        <a:pt x="180" y="489"/>
                      </a:lnTo>
                      <a:lnTo>
                        <a:pt x="186" y="489"/>
                      </a:lnTo>
                      <a:lnTo>
                        <a:pt x="192" y="489"/>
                      </a:lnTo>
                      <a:lnTo>
                        <a:pt x="192" y="489"/>
                      </a:lnTo>
                      <a:lnTo>
                        <a:pt x="192" y="491"/>
                      </a:lnTo>
                      <a:lnTo>
                        <a:pt x="190" y="491"/>
                      </a:lnTo>
                      <a:lnTo>
                        <a:pt x="190" y="493"/>
                      </a:lnTo>
                      <a:lnTo>
                        <a:pt x="186" y="495"/>
                      </a:lnTo>
                      <a:lnTo>
                        <a:pt x="177" y="498"/>
                      </a:lnTo>
                      <a:lnTo>
                        <a:pt x="179" y="502"/>
                      </a:lnTo>
                      <a:lnTo>
                        <a:pt x="179" y="502"/>
                      </a:lnTo>
                      <a:lnTo>
                        <a:pt x="180" y="506"/>
                      </a:lnTo>
                      <a:lnTo>
                        <a:pt x="173" y="506"/>
                      </a:lnTo>
                      <a:lnTo>
                        <a:pt x="164" y="504"/>
                      </a:lnTo>
                      <a:lnTo>
                        <a:pt x="156" y="504"/>
                      </a:lnTo>
                      <a:lnTo>
                        <a:pt x="147" y="504"/>
                      </a:lnTo>
                      <a:lnTo>
                        <a:pt x="147" y="504"/>
                      </a:lnTo>
                      <a:lnTo>
                        <a:pt x="147" y="509"/>
                      </a:lnTo>
                      <a:lnTo>
                        <a:pt x="147" y="515"/>
                      </a:lnTo>
                      <a:lnTo>
                        <a:pt x="136" y="515"/>
                      </a:lnTo>
                      <a:lnTo>
                        <a:pt x="123" y="515"/>
                      </a:lnTo>
                      <a:lnTo>
                        <a:pt x="110" y="515"/>
                      </a:lnTo>
                      <a:lnTo>
                        <a:pt x="99" y="515"/>
                      </a:lnTo>
                      <a:lnTo>
                        <a:pt x="101" y="513"/>
                      </a:lnTo>
                      <a:lnTo>
                        <a:pt x="101" y="509"/>
                      </a:lnTo>
                      <a:lnTo>
                        <a:pt x="103" y="506"/>
                      </a:lnTo>
                      <a:lnTo>
                        <a:pt x="103" y="504"/>
                      </a:lnTo>
                      <a:lnTo>
                        <a:pt x="107" y="502"/>
                      </a:lnTo>
                      <a:lnTo>
                        <a:pt x="108" y="502"/>
                      </a:lnTo>
                      <a:lnTo>
                        <a:pt x="112" y="500"/>
                      </a:lnTo>
                      <a:lnTo>
                        <a:pt x="116" y="500"/>
                      </a:lnTo>
                      <a:lnTo>
                        <a:pt x="116" y="498"/>
                      </a:lnTo>
                      <a:lnTo>
                        <a:pt x="116" y="493"/>
                      </a:lnTo>
                      <a:lnTo>
                        <a:pt x="116" y="489"/>
                      </a:lnTo>
                      <a:lnTo>
                        <a:pt x="116" y="487"/>
                      </a:lnTo>
                      <a:lnTo>
                        <a:pt x="110" y="487"/>
                      </a:lnTo>
                      <a:lnTo>
                        <a:pt x="105" y="487"/>
                      </a:lnTo>
                      <a:lnTo>
                        <a:pt x="103" y="485"/>
                      </a:lnTo>
                      <a:lnTo>
                        <a:pt x="101" y="480"/>
                      </a:lnTo>
                      <a:lnTo>
                        <a:pt x="99" y="478"/>
                      </a:lnTo>
                      <a:lnTo>
                        <a:pt x="97" y="474"/>
                      </a:lnTo>
                      <a:lnTo>
                        <a:pt x="96" y="472"/>
                      </a:lnTo>
                      <a:lnTo>
                        <a:pt x="90" y="476"/>
                      </a:lnTo>
                      <a:lnTo>
                        <a:pt x="83" y="478"/>
                      </a:lnTo>
                      <a:lnTo>
                        <a:pt x="77" y="482"/>
                      </a:lnTo>
                      <a:lnTo>
                        <a:pt x="72" y="485"/>
                      </a:lnTo>
                      <a:lnTo>
                        <a:pt x="70" y="485"/>
                      </a:lnTo>
                      <a:lnTo>
                        <a:pt x="73" y="489"/>
                      </a:lnTo>
                      <a:lnTo>
                        <a:pt x="73" y="489"/>
                      </a:lnTo>
                      <a:lnTo>
                        <a:pt x="75" y="491"/>
                      </a:lnTo>
                      <a:lnTo>
                        <a:pt x="72" y="491"/>
                      </a:lnTo>
                      <a:lnTo>
                        <a:pt x="72" y="491"/>
                      </a:lnTo>
                      <a:lnTo>
                        <a:pt x="66" y="493"/>
                      </a:lnTo>
                      <a:lnTo>
                        <a:pt x="66" y="493"/>
                      </a:lnTo>
                      <a:lnTo>
                        <a:pt x="66" y="498"/>
                      </a:lnTo>
                      <a:lnTo>
                        <a:pt x="66" y="502"/>
                      </a:lnTo>
                      <a:lnTo>
                        <a:pt x="66" y="506"/>
                      </a:lnTo>
                      <a:lnTo>
                        <a:pt x="66" y="509"/>
                      </a:lnTo>
                      <a:lnTo>
                        <a:pt x="66" y="511"/>
                      </a:lnTo>
                      <a:lnTo>
                        <a:pt x="70" y="513"/>
                      </a:lnTo>
                      <a:lnTo>
                        <a:pt x="75" y="515"/>
                      </a:lnTo>
                      <a:lnTo>
                        <a:pt x="75" y="522"/>
                      </a:lnTo>
                      <a:lnTo>
                        <a:pt x="75" y="530"/>
                      </a:lnTo>
                      <a:lnTo>
                        <a:pt x="75" y="537"/>
                      </a:lnTo>
                      <a:lnTo>
                        <a:pt x="75" y="544"/>
                      </a:lnTo>
                      <a:lnTo>
                        <a:pt x="73" y="552"/>
                      </a:lnTo>
                      <a:lnTo>
                        <a:pt x="72" y="557"/>
                      </a:lnTo>
                      <a:lnTo>
                        <a:pt x="70" y="565"/>
                      </a:lnTo>
                      <a:lnTo>
                        <a:pt x="66" y="570"/>
                      </a:lnTo>
                      <a:lnTo>
                        <a:pt x="62" y="574"/>
                      </a:lnTo>
                      <a:lnTo>
                        <a:pt x="59" y="579"/>
                      </a:lnTo>
                      <a:lnTo>
                        <a:pt x="55" y="585"/>
                      </a:lnTo>
                      <a:lnTo>
                        <a:pt x="49" y="589"/>
                      </a:lnTo>
                      <a:lnTo>
                        <a:pt x="42" y="592"/>
                      </a:lnTo>
                      <a:lnTo>
                        <a:pt x="37" y="594"/>
                      </a:lnTo>
                      <a:lnTo>
                        <a:pt x="29" y="598"/>
                      </a:lnTo>
                      <a:lnTo>
                        <a:pt x="20" y="600"/>
                      </a:lnTo>
                      <a:lnTo>
                        <a:pt x="20" y="605"/>
                      </a:lnTo>
                      <a:lnTo>
                        <a:pt x="20" y="611"/>
                      </a:lnTo>
                      <a:lnTo>
                        <a:pt x="22" y="615"/>
                      </a:lnTo>
                      <a:lnTo>
                        <a:pt x="22" y="618"/>
                      </a:lnTo>
                      <a:lnTo>
                        <a:pt x="16" y="618"/>
                      </a:lnTo>
                      <a:lnTo>
                        <a:pt x="11" y="618"/>
                      </a:lnTo>
                      <a:lnTo>
                        <a:pt x="11" y="618"/>
                      </a:lnTo>
                      <a:lnTo>
                        <a:pt x="9" y="627"/>
                      </a:lnTo>
                      <a:lnTo>
                        <a:pt x="5" y="635"/>
                      </a:lnTo>
                      <a:lnTo>
                        <a:pt x="3" y="644"/>
                      </a:lnTo>
                      <a:lnTo>
                        <a:pt x="0" y="651"/>
                      </a:lnTo>
                      <a:lnTo>
                        <a:pt x="0" y="651"/>
                      </a:lnTo>
                      <a:lnTo>
                        <a:pt x="0" y="653"/>
                      </a:lnTo>
                      <a:lnTo>
                        <a:pt x="0" y="653"/>
                      </a:lnTo>
                      <a:lnTo>
                        <a:pt x="9" y="653"/>
                      </a:lnTo>
                      <a:lnTo>
                        <a:pt x="16" y="655"/>
                      </a:lnTo>
                      <a:lnTo>
                        <a:pt x="25" y="657"/>
                      </a:lnTo>
                      <a:lnTo>
                        <a:pt x="33" y="659"/>
                      </a:lnTo>
                      <a:lnTo>
                        <a:pt x="35" y="662"/>
                      </a:lnTo>
                      <a:lnTo>
                        <a:pt x="37" y="666"/>
                      </a:lnTo>
                      <a:lnTo>
                        <a:pt x="40" y="670"/>
                      </a:lnTo>
                      <a:lnTo>
                        <a:pt x="40" y="670"/>
                      </a:lnTo>
                      <a:lnTo>
                        <a:pt x="44" y="674"/>
                      </a:lnTo>
                      <a:lnTo>
                        <a:pt x="48" y="677"/>
                      </a:lnTo>
                      <a:lnTo>
                        <a:pt x="49" y="679"/>
                      </a:lnTo>
                      <a:lnTo>
                        <a:pt x="55" y="683"/>
                      </a:lnTo>
                      <a:lnTo>
                        <a:pt x="55" y="683"/>
                      </a:lnTo>
                      <a:lnTo>
                        <a:pt x="59" y="685"/>
                      </a:lnTo>
                      <a:lnTo>
                        <a:pt x="62" y="686"/>
                      </a:lnTo>
                      <a:lnTo>
                        <a:pt x="66" y="690"/>
                      </a:lnTo>
                      <a:lnTo>
                        <a:pt x="70" y="692"/>
                      </a:lnTo>
                      <a:lnTo>
                        <a:pt x="73" y="696"/>
                      </a:lnTo>
                      <a:lnTo>
                        <a:pt x="75" y="699"/>
                      </a:lnTo>
                      <a:lnTo>
                        <a:pt x="77" y="703"/>
                      </a:lnTo>
                      <a:lnTo>
                        <a:pt x="79" y="705"/>
                      </a:lnTo>
                      <a:lnTo>
                        <a:pt x="79" y="707"/>
                      </a:lnTo>
                      <a:lnTo>
                        <a:pt x="79" y="709"/>
                      </a:lnTo>
                      <a:lnTo>
                        <a:pt x="79" y="710"/>
                      </a:lnTo>
                      <a:lnTo>
                        <a:pt x="75" y="714"/>
                      </a:lnTo>
                      <a:lnTo>
                        <a:pt x="70" y="720"/>
                      </a:lnTo>
                      <a:lnTo>
                        <a:pt x="64" y="723"/>
                      </a:lnTo>
                      <a:lnTo>
                        <a:pt x="64" y="723"/>
                      </a:lnTo>
                      <a:lnTo>
                        <a:pt x="59" y="727"/>
                      </a:lnTo>
                      <a:lnTo>
                        <a:pt x="59" y="733"/>
                      </a:lnTo>
                      <a:lnTo>
                        <a:pt x="57" y="736"/>
                      </a:lnTo>
                      <a:lnTo>
                        <a:pt x="57" y="740"/>
                      </a:lnTo>
                      <a:lnTo>
                        <a:pt x="57" y="742"/>
                      </a:lnTo>
                      <a:lnTo>
                        <a:pt x="55" y="749"/>
                      </a:lnTo>
                      <a:lnTo>
                        <a:pt x="53" y="755"/>
                      </a:lnTo>
                      <a:lnTo>
                        <a:pt x="49" y="762"/>
                      </a:lnTo>
                      <a:lnTo>
                        <a:pt x="48" y="768"/>
                      </a:lnTo>
                      <a:lnTo>
                        <a:pt x="44" y="773"/>
                      </a:lnTo>
                      <a:lnTo>
                        <a:pt x="40" y="779"/>
                      </a:lnTo>
                      <a:lnTo>
                        <a:pt x="38" y="784"/>
                      </a:lnTo>
                      <a:lnTo>
                        <a:pt x="35" y="792"/>
                      </a:lnTo>
                      <a:lnTo>
                        <a:pt x="33" y="797"/>
                      </a:lnTo>
                      <a:lnTo>
                        <a:pt x="31" y="803"/>
                      </a:lnTo>
                      <a:lnTo>
                        <a:pt x="29" y="810"/>
                      </a:lnTo>
                      <a:lnTo>
                        <a:pt x="27" y="818"/>
                      </a:lnTo>
                      <a:lnTo>
                        <a:pt x="27" y="821"/>
                      </a:lnTo>
                      <a:lnTo>
                        <a:pt x="27" y="825"/>
                      </a:lnTo>
                      <a:lnTo>
                        <a:pt x="27" y="829"/>
                      </a:lnTo>
                      <a:lnTo>
                        <a:pt x="29" y="832"/>
                      </a:lnTo>
                      <a:lnTo>
                        <a:pt x="29" y="832"/>
                      </a:lnTo>
                      <a:lnTo>
                        <a:pt x="35" y="832"/>
                      </a:lnTo>
                      <a:lnTo>
                        <a:pt x="40" y="832"/>
                      </a:lnTo>
                      <a:lnTo>
                        <a:pt x="38" y="838"/>
                      </a:lnTo>
                      <a:lnTo>
                        <a:pt x="38" y="843"/>
                      </a:lnTo>
                      <a:lnTo>
                        <a:pt x="38" y="849"/>
                      </a:lnTo>
                      <a:lnTo>
                        <a:pt x="38" y="854"/>
                      </a:lnTo>
                      <a:lnTo>
                        <a:pt x="38" y="856"/>
                      </a:lnTo>
                      <a:lnTo>
                        <a:pt x="48" y="860"/>
                      </a:lnTo>
                      <a:lnTo>
                        <a:pt x="57" y="862"/>
                      </a:lnTo>
                      <a:lnTo>
                        <a:pt x="66" y="865"/>
                      </a:lnTo>
                      <a:lnTo>
                        <a:pt x="73" y="865"/>
                      </a:lnTo>
                      <a:lnTo>
                        <a:pt x="83" y="867"/>
                      </a:lnTo>
                      <a:lnTo>
                        <a:pt x="92" y="867"/>
                      </a:lnTo>
                      <a:lnTo>
                        <a:pt x="101" y="869"/>
                      </a:lnTo>
                      <a:lnTo>
                        <a:pt x="112" y="869"/>
                      </a:lnTo>
                      <a:lnTo>
                        <a:pt x="114" y="873"/>
                      </a:lnTo>
                      <a:lnTo>
                        <a:pt x="116" y="877"/>
                      </a:lnTo>
                      <a:lnTo>
                        <a:pt x="118" y="878"/>
                      </a:lnTo>
                      <a:lnTo>
                        <a:pt x="118" y="882"/>
                      </a:lnTo>
                      <a:lnTo>
                        <a:pt x="120" y="889"/>
                      </a:lnTo>
                      <a:lnTo>
                        <a:pt x="121" y="902"/>
                      </a:lnTo>
                      <a:lnTo>
                        <a:pt x="127" y="902"/>
                      </a:lnTo>
                      <a:lnTo>
                        <a:pt x="131" y="902"/>
                      </a:lnTo>
                      <a:lnTo>
                        <a:pt x="134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5" y="901"/>
                      </a:lnTo>
                      <a:lnTo>
                        <a:pt x="153" y="897"/>
                      </a:lnTo>
                      <a:lnTo>
                        <a:pt x="160" y="895"/>
                      </a:lnTo>
                      <a:lnTo>
                        <a:pt x="166" y="891"/>
                      </a:lnTo>
                      <a:lnTo>
                        <a:pt x="168" y="897"/>
                      </a:lnTo>
                      <a:lnTo>
                        <a:pt x="168" y="904"/>
                      </a:lnTo>
                      <a:lnTo>
                        <a:pt x="169" y="912"/>
                      </a:lnTo>
                      <a:lnTo>
                        <a:pt x="171" y="919"/>
                      </a:lnTo>
                      <a:lnTo>
                        <a:pt x="171" y="919"/>
                      </a:lnTo>
                      <a:lnTo>
                        <a:pt x="190" y="915"/>
                      </a:lnTo>
                      <a:lnTo>
                        <a:pt x="210" y="913"/>
                      </a:lnTo>
                      <a:lnTo>
                        <a:pt x="223" y="910"/>
                      </a:lnTo>
                      <a:lnTo>
                        <a:pt x="234" y="908"/>
                      </a:lnTo>
                      <a:lnTo>
                        <a:pt x="247" y="906"/>
                      </a:lnTo>
                      <a:lnTo>
                        <a:pt x="260" y="902"/>
                      </a:lnTo>
                      <a:lnTo>
                        <a:pt x="273" y="899"/>
                      </a:lnTo>
                      <a:lnTo>
                        <a:pt x="284" y="895"/>
                      </a:lnTo>
                      <a:lnTo>
                        <a:pt x="289" y="893"/>
                      </a:lnTo>
                      <a:lnTo>
                        <a:pt x="295" y="889"/>
                      </a:lnTo>
                      <a:lnTo>
                        <a:pt x="300" y="888"/>
                      </a:lnTo>
                      <a:lnTo>
                        <a:pt x="304" y="886"/>
                      </a:lnTo>
                      <a:lnTo>
                        <a:pt x="310" y="882"/>
                      </a:lnTo>
                      <a:lnTo>
                        <a:pt x="310" y="882"/>
                      </a:lnTo>
                      <a:lnTo>
                        <a:pt x="313" y="878"/>
                      </a:lnTo>
                      <a:lnTo>
                        <a:pt x="317" y="877"/>
                      </a:lnTo>
                      <a:lnTo>
                        <a:pt x="321" y="873"/>
                      </a:lnTo>
                      <a:lnTo>
                        <a:pt x="321" y="873"/>
                      </a:lnTo>
                      <a:lnTo>
                        <a:pt x="324" y="869"/>
                      </a:lnTo>
                      <a:lnTo>
                        <a:pt x="328" y="865"/>
                      </a:lnTo>
                      <a:lnTo>
                        <a:pt x="330" y="862"/>
                      </a:lnTo>
                      <a:lnTo>
                        <a:pt x="332" y="858"/>
                      </a:lnTo>
                      <a:lnTo>
                        <a:pt x="332" y="858"/>
                      </a:lnTo>
                      <a:lnTo>
                        <a:pt x="330" y="858"/>
                      </a:lnTo>
                      <a:lnTo>
                        <a:pt x="328" y="858"/>
                      </a:lnTo>
                      <a:lnTo>
                        <a:pt x="324" y="858"/>
                      </a:lnTo>
                      <a:lnTo>
                        <a:pt x="324" y="858"/>
                      </a:lnTo>
                      <a:lnTo>
                        <a:pt x="324" y="853"/>
                      </a:lnTo>
                      <a:lnTo>
                        <a:pt x="324" y="847"/>
                      </a:lnTo>
                      <a:lnTo>
                        <a:pt x="324" y="841"/>
                      </a:lnTo>
                      <a:lnTo>
                        <a:pt x="324" y="834"/>
                      </a:lnTo>
                      <a:lnTo>
                        <a:pt x="324" y="841"/>
                      </a:lnTo>
                      <a:lnTo>
                        <a:pt x="324" y="847"/>
                      </a:lnTo>
                      <a:lnTo>
                        <a:pt x="324" y="853"/>
                      </a:lnTo>
                      <a:lnTo>
                        <a:pt x="324" y="858"/>
                      </a:lnTo>
                      <a:lnTo>
                        <a:pt x="324" y="858"/>
                      </a:lnTo>
                      <a:lnTo>
                        <a:pt x="328" y="858"/>
                      </a:lnTo>
                      <a:lnTo>
                        <a:pt x="330" y="858"/>
                      </a:lnTo>
                      <a:lnTo>
                        <a:pt x="328" y="862"/>
                      </a:lnTo>
                      <a:lnTo>
                        <a:pt x="326" y="865"/>
                      </a:lnTo>
                      <a:lnTo>
                        <a:pt x="323" y="869"/>
                      </a:lnTo>
                      <a:lnTo>
                        <a:pt x="321" y="871"/>
                      </a:lnTo>
                      <a:lnTo>
                        <a:pt x="317" y="875"/>
                      </a:lnTo>
                      <a:lnTo>
                        <a:pt x="313" y="878"/>
                      </a:lnTo>
                      <a:lnTo>
                        <a:pt x="308" y="880"/>
                      </a:lnTo>
                      <a:lnTo>
                        <a:pt x="304" y="884"/>
                      </a:lnTo>
                      <a:lnTo>
                        <a:pt x="299" y="886"/>
                      </a:lnTo>
                      <a:lnTo>
                        <a:pt x="295" y="889"/>
                      </a:lnTo>
                      <a:lnTo>
                        <a:pt x="289" y="891"/>
                      </a:lnTo>
                      <a:lnTo>
                        <a:pt x="284" y="893"/>
                      </a:lnTo>
                      <a:lnTo>
                        <a:pt x="271" y="897"/>
                      </a:lnTo>
                      <a:lnTo>
                        <a:pt x="260" y="901"/>
                      </a:lnTo>
                      <a:lnTo>
                        <a:pt x="247" y="904"/>
                      </a:lnTo>
                      <a:lnTo>
                        <a:pt x="234" y="906"/>
                      </a:lnTo>
                      <a:lnTo>
                        <a:pt x="223" y="910"/>
                      </a:lnTo>
                      <a:lnTo>
                        <a:pt x="210" y="912"/>
                      </a:lnTo>
                      <a:lnTo>
                        <a:pt x="190" y="915"/>
                      </a:lnTo>
                      <a:lnTo>
                        <a:pt x="173" y="917"/>
                      </a:lnTo>
                      <a:lnTo>
                        <a:pt x="171" y="912"/>
                      </a:lnTo>
                      <a:lnTo>
                        <a:pt x="169" y="904"/>
                      </a:lnTo>
                      <a:lnTo>
                        <a:pt x="168" y="897"/>
                      </a:lnTo>
                      <a:lnTo>
                        <a:pt x="168" y="891"/>
                      </a:lnTo>
                      <a:lnTo>
                        <a:pt x="168" y="889"/>
                      </a:lnTo>
                      <a:lnTo>
                        <a:pt x="158" y="893"/>
                      </a:lnTo>
                      <a:lnTo>
                        <a:pt x="153" y="895"/>
                      </a:lnTo>
                      <a:lnTo>
                        <a:pt x="145" y="899"/>
                      </a:lnTo>
                      <a:lnTo>
                        <a:pt x="140" y="901"/>
                      </a:lnTo>
                      <a:lnTo>
                        <a:pt x="134" y="901"/>
                      </a:lnTo>
                      <a:lnTo>
                        <a:pt x="131" y="901"/>
                      </a:lnTo>
                      <a:lnTo>
                        <a:pt x="127" y="901"/>
                      </a:lnTo>
                      <a:lnTo>
                        <a:pt x="123" y="901"/>
                      </a:lnTo>
                      <a:lnTo>
                        <a:pt x="121" y="889"/>
                      </a:lnTo>
                      <a:lnTo>
                        <a:pt x="120" y="882"/>
                      </a:lnTo>
                      <a:lnTo>
                        <a:pt x="120" y="882"/>
                      </a:lnTo>
                      <a:lnTo>
                        <a:pt x="118" y="878"/>
                      </a:lnTo>
                      <a:lnTo>
                        <a:pt x="118" y="875"/>
                      </a:lnTo>
                      <a:lnTo>
                        <a:pt x="118" y="875"/>
                      </a:lnTo>
                      <a:lnTo>
                        <a:pt x="116" y="871"/>
                      </a:lnTo>
                      <a:lnTo>
                        <a:pt x="112" y="867"/>
                      </a:lnTo>
                      <a:lnTo>
                        <a:pt x="112" y="867"/>
                      </a:lnTo>
                      <a:lnTo>
                        <a:pt x="101" y="867"/>
                      </a:lnTo>
                      <a:lnTo>
                        <a:pt x="92" y="867"/>
                      </a:lnTo>
                      <a:lnTo>
                        <a:pt x="83" y="865"/>
                      </a:lnTo>
                      <a:lnTo>
                        <a:pt x="75" y="865"/>
                      </a:lnTo>
                      <a:lnTo>
                        <a:pt x="66" y="864"/>
                      </a:lnTo>
                      <a:lnTo>
                        <a:pt x="57" y="862"/>
                      </a:lnTo>
                      <a:lnTo>
                        <a:pt x="49" y="858"/>
                      </a:lnTo>
                      <a:lnTo>
                        <a:pt x="40" y="854"/>
                      </a:lnTo>
                      <a:lnTo>
                        <a:pt x="40" y="849"/>
                      </a:lnTo>
                      <a:lnTo>
                        <a:pt x="40" y="843"/>
                      </a:lnTo>
                      <a:lnTo>
                        <a:pt x="40" y="838"/>
                      </a:lnTo>
                      <a:lnTo>
                        <a:pt x="40" y="832"/>
                      </a:lnTo>
                      <a:lnTo>
                        <a:pt x="40" y="830"/>
                      </a:lnTo>
                      <a:lnTo>
                        <a:pt x="35" y="830"/>
                      </a:lnTo>
                      <a:lnTo>
                        <a:pt x="29" y="830"/>
                      </a:lnTo>
                      <a:lnTo>
                        <a:pt x="29" y="829"/>
                      </a:lnTo>
                      <a:lnTo>
                        <a:pt x="29" y="823"/>
                      </a:lnTo>
                      <a:lnTo>
                        <a:pt x="29" y="821"/>
                      </a:lnTo>
                      <a:lnTo>
                        <a:pt x="29" y="818"/>
                      </a:lnTo>
                      <a:lnTo>
                        <a:pt x="31" y="810"/>
                      </a:lnTo>
                      <a:lnTo>
                        <a:pt x="31" y="805"/>
                      </a:lnTo>
                      <a:lnTo>
                        <a:pt x="35" y="797"/>
                      </a:lnTo>
                      <a:lnTo>
                        <a:pt x="37" y="792"/>
                      </a:lnTo>
                      <a:lnTo>
                        <a:pt x="38" y="786"/>
                      </a:lnTo>
                      <a:lnTo>
                        <a:pt x="42" y="781"/>
                      </a:lnTo>
                      <a:lnTo>
                        <a:pt x="46" y="775"/>
                      </a:lnTo>
                      <a:lnTo>
                        <a:pt x="48" y="768"/>
                      </a:lnTo>
                      <a:lnTo>
                        <a:pt x="51" y="762"/>
                      </a:lnTo>
                      <a:lnTo>
                        <a:pt x="53" y="757"/>
                      </a:lnTo>
                      <a:lnTo>
                        <a:pt x="57" y="749"/>
                      </a:lnTo>
                      <a:lnTo>
                        <a:pt x="59" y="744"/>
                      </a:lnTo>
                      <a:lnTo>
                        <a:pt x="59" y="740"/>
                      </a:lnTo>
                      <a:lnTo>
                        <a:pt x="59" y="740"/>
                      </a:lnTo>
                      <a:lnTo>
                        <a:pt x="59" y="736"/>
                      </a:lnTo>
                      <a:lnTo>
                        <a:pt x="59" y="733"/>
                      </a:lnTo>
                      <a:lnTo>
                        <a:pt x="59" y="733"/>
                      </a:lnTo>
                      <a:lnTo>
                        <a:pt x="59" y="729"/>
                      </a:lnTo>
                      <a:lnTo>
                        <a:pt x="64" y="723"/>
                      </a:lnTo>
                      <a:lnTo>
                        <a:pt x="70" y="720"/>
                      </a:lnTo>
                      <a:lnTo>
                        <a:pt x="75" y="716"/>
                      </a:lnTo>
                      <a:lnTo>
                        <a:pt x="81" y="712"/>
                      </a:lnTo>
                      <a:lnTo>
                        <a:pt x="81" y="712"/>
                      </a:lnTo>
                      <a:lnTo>
                        <a:pt x="81" y="709"/>
                      </a:lnTo>
                      <a:lnTo>
                        <a:pt x="81" y="707"/>
                      </a:lnTo>
                      <a:lnTo>
                        <a:pt x="81" y="707"/>
                      </a:lnTo>
                      <a:lnTo>
                        <a:pt x="79" y="705"/>
                      </a:lnTo>
                      <a:lnTo>
                        <a:pt x="79" y="703"/>
                      </a:lnTo>
                      <a:lnTo>
                        <a:pt x="79" y="703"/>
                      </a:lnTo>
                      <a:lnTo>
                        <a:pt x="77" y="698"/>
                      </a:lnTo>
                      <a:lnTo>
                        <a:pt x="77" y="698"/>
                      </a:lnTo>
                      <a:lnTo>
                        <a:pt x="73" y="696"/>
                      </a:lnTo>
                      <a:lnTo>
                        <a:pt x="70" y="692"/>
                      </a:lnTo>
                      <a:lnTo>
                        <a:pt x="70" y="692"/>
                      </a:lnTo>
                      <a:lnTo>
                        <a:pt x="66" y="688"/>
                      </a:lnTo>
                      <a:lnTo>
                        <a:pt x="62" y="686"/>
                      </a:lnTo>
                      <a:lnTo>
                        <a:pt x="59" y="683"/>
                      </a:lnTo>
                      <a:lnTo>
                        <a:pt x="59" y="683"/>
                      </a:lnTo>
                      <a:lnTo>
                        <a:pt x="55" y="681"/>
                      </a:lnTo>
                      <a:lnTo>
                        <a:pt x="51" y="679"/>
                      </a:lnTo>
                      <a:lnTo>
                        <a:pt x="48" y="675"/>
                      </a:lnTo>
                      <a:lnTo>
                        <a:pt x="44" y="674"/>
                      </a:lnTo>
                      <a:lnTo>
                        <a:pt x="40" y="670"/>
                      </a:lnTo>
                      <a:lnTo>
                        <a:pt x="38" y="666"/>
                      </a:lnTo>
                      <a:lnTo>
                        <a:pt x="37" y="662"/>
                      </a:lnTo>
                      <a:lnTo>
                        <a:pt x="35" y="657"/>
                      </a:lnTo>
                      <a:lnTo>
                        <a:pt x="35" y="657"/>
                      </a:lnTo>
                      <a:lnTo>
                        <a:pt x="25" y="655"/>
                      </a:lnTo>
                      <a:lnTo>
                        <a:pt x="18" y="653"/>
                      </a:lnTo>
                      <a:lnTo>
                        <a:pt x="9" y="653"/>
                      </a:lnTo>
                      <a:lnTo>
                        <a:pt x="1" y="651"/>
                      </a:lnTo>
                      <a:lnTo>
                        <a:pt x="5" y="644"/>
                      </a:lnTo>
                      <a:lnTo>
                        <a:pt x="7" y="637"/>
                      </a:lnTo>
                      <a:lnTo>
                        <a:pt x="9" y="627"/>
                      </a:lnTo>
                      <a:lnTo>
                        <a:pt x="13" y="620"/>
                      </a:lnTo>
                      <a:lnTo>
                        <a:pt x="16" y="620"/>
                      </a:lnTo>
                      <a:lnTo>
                        <a:pt x="22" y="620"/>
                      </a:lnTo>
                      <a:lnTo>
                        <a:pt x="24" y="620"/>
                      </a:lnTo>
                      <a:lnTo>
                        <a:pt x="24" y="615"/>
                      </a:lnTo>
                      <a:lnTo>
                        <a:pt x="22" y="609"/>
                      </a:lnTo>
                      <a:lnTo>
                        <a:pt x="22" y="605"/>
                      </a:lnTo>
                      <a:lnTo>
                        <a:pt x="22" y="602"/>
                      </a:lnTo>
                      <a:lnTo>
                        <a:pt x="29" y="600"/>
                      </a:lnTo>
                      <a:lnTo>
                        <a:pt x="37" y="596"/>
                      </a:lnTo>
                      <a:lnTo>
                        <a:pt x="44" y="592"/>
                      </a:lnTo>
                      <a:lnTo>
                        <a:pt x="49" y="589"/>
                      </a:lnTo>
                      <a:lnTo>
                        <a:pt x="55" y="585"/>
                      </a:lnTo>
                      <a:lnTo>
                        <a:pt x="55" y="585"/>
                      </a:lnTo>
                      <a:lnTo>
                        <a:pt x="61" y="581"/>
                      </a:lnTo>
                      <a:lnTo>
                        <a:pt x="61" y="581"/>
                      </a:lnTo>
                      <a:lnTo>
                        <a:pt x="64" y="576"/>
                      </a:lnTo>
                      <a:lnTo>
                        <a:pt x="64" y="576"/>
                      </a:lnTo>
                      <a:lnTo>
                        <a:pt x="68" y="570"/>
                      </a:lnTo>
                      <a:lnTo>
                        <a:pt x="72" y="565"/>
                      </a:lnTo>
                      <a:lnTo>
                        <a:pt x="72" y="565"/>
                      </a:lnTo>
                      <a:lnTo>
                        <a:pt x="73" y="559"/>
                      </a:lnTo>
                      <a:lnTo>
                        <a:pt x="73" y="559"/>
                      </a:lnTo>
                      <a:lnTo>
                        <a:pt x="75" y="552"/>
                      </a:lnTo>
                      <a:lnTo>
                        <a:pt x="77" y="544"/>
                      </a:lnTo>
                      <a:lnTo>
                        <a:pt x="77" y="544"/>
                      </a:lnTo>
                      <a:lnTo>
                        <a:pt x="77" y="537"/>
                      </a:lnTo>
                      <a:lnTo>
                        <a:pt x="77" y="530"/>
                      </a:lnTo>
                      <a:lnTo>
                        <a:pt x="77" y="522"/>
                      </a:lnTo>
                      <a:lnTo>
                        <a:pt x="77" y="522"/>
                      </a:lnTo>
                      <a:lnTo>
                        <a:pt x="75" y="513"/>
                      </a:lnTo>
                      <a:lnTo>
                        <a:pt x="75" y="513"/>
                      </a:lnTo>
                      <a:lnTo>
                        <a:pt x="72" y="511"/>
                      </a:lnTo>
                      <a:lnTo>
                        <a:pt x="72" y="511"/>
                      </a:lnTo>
                      <a:lnTo>
                        <a:pt x="66" y="509"/>
                      </a:lnTo>
                      <a:lnTo>
                        <a:pt x="66" y="506"/>
                      </a:lnTo>
                      <a:lnTo>
                        <a:pt x="66" y="502"/>
                      </a:lnTo>
                      <a:lnTo>
                        <a:pt x="66" y="498"/>
                      </a:lnTo>
                      <a:lnTo>
                        <a:pt x="66" y="495"/>
                      </a:lnTo>
                      <a:lnTo>
                        <a:pt x="72" y="493"/>
                      </a:lnTo>
                      <a:lnTo>
                        <a:pt x="77" y="491"/>
                      </a:lnTo>
                      <a:lnTo>
                        <a:pt x="79" y="491"/>
                      </a:lnTo>
                      <a:lnTo>
                        <a:pt x="73" y="487"/>
                      </a:lnTo>
                      <a:lnTo>
                        <a:pt x="72" y="485"/>
                      </a:lnTo>
                      <a:lnTo>
                        <a:pt x="77" y="483"/>
                      </a:lnTo>
                      <a:lnTo>
                        <a:pt x="85" y="480"/>
                      </a:lnTo>
                      <a:lnTo>
                        <a:pt x="90" y="478"/>
                      </a:lnTo>
                      <a:lnTo>
                        <a:pt x="96" y="474"/>
                      </a:lnTo>
                      <a:lnTo>
                        <a:pt x="97" y="478"/>
                      </a:lnTo>
                      <a:lnTo>
                        <a:pt x="99" y="482"/>
                      </a:lnTo>
                      <a:lnTo>
                        <a:pt x="101" y="485"/>
                      </a:lnTo>
                      <a:lnTo>
                        <a:pt x="103" y="489"/>
                      </a:lnTo>
                      <a:lnTo>
                        <a:pt x="105" y="489"/>
                      </a:lnTo>
                      <a:lnTo>
                        <a:pt x="110" y="489"/>
                      </a:lnTo>
                      <a:lnTo>
                        <a:pt x="114" y="489"/>
                      </a:lnTo>
                      <a:lnTo>
                        <a:pt x="114" y="493"/>
                      </a:lnTo>
                      <a:lnTo>
                        <a:pt x="114" y="498"/>
                      </a:lnTo>
                      <a:lnTo>
                        <a:pt x="112" y="498"/>
                      </a:lnTo>
                      <a:lnTo>
                        <a:pt x="112" y="498"/>
                      </a:lnTo>
                      <a:lnTo>
                        <a:pt x="108" y="500"/>
                      </a:lnTo>
                      <a:lnTo>
                        <a:pt x="105" y="500"/>
                      </a:lnTo>
                      <a:lnTo>
                        <a:pt x="103" y="502"/>
                      </a:lnTo>
                      <a:lnTo>
                        <a:pt x="103" y="502"/>
                      </a:lnTo>
                      <a:lnTo>
                        <a:pt x="101" y="506"/>
                      </a:lnTo>
                      <a:lnTo>
                        <a:pt x="99" y="509"/>
                      </a:lnTo>
                      <a:lnTo>
                        <a:pt x="99" y="513"/>
                      </a:lnTo>
                      <a:lnTo>
                        <a:pt x="99" y="513"/>
                      </a:lnTo>
                      <a:lnTo>
                        <a:pt x="97" y="515"/>
                      </a:lnTo>
                      <a:lnTo>
                        <a:pt x="97" y="517"/>
                      </a:lnTo>
                      <a:lnTo>
                        <a:pt x="110" y="517"/>
                      </a:lnTo>
                      <a:lnTo>
                        <a:pt x="123" y="517"/>
                      </a:lnTo>
                      <a:lnTo>
                        <a:pt x="136" y="517"/>
                      </a:lnTo>
                      <a:lnTo>
                        <a:pt x="149" y="517"/>
                      </a:lnTo>
                      <a:lnTo>
                        <a:pt x="149" y="509"/>
                      </a:lnTo>
                      <a:lnTo>
                        <a:pt x="149" y="506"/>
                      </a:lnTo>
                      <a:lnTo>
                        <a:pt x="156" y="506"/>
                      </a:lnTo>
                      <a:lnTo>
                        <a:pt x="164" y="506"/>
                      </a:lnTo>
                      <a:lnTo>
                        <a:pt x="173" y="507"/>
                      </a:lnTo>
                      <a:lnTo>
                        <a:pt x="180" y="507"/>
                      </a:lnTo>
                      <a:lnTo>
                        <a:pt x="182" y="507"/>
                      </a:lnTo>
                      <a:lnTo>
                        <a:pt x="180" y="502"/>
                      </a:lnTo>
                      <a:lnTo>
                        <a:pt x="179" y="498"/>
                      </a:lnTo>
                      <a:lnTo>
                        <a:pt x="186" y="496"/>
                      </a:lnTo>
                      <a:lnTo>
                        <a:pt x="190" y="495"/>
                      </a:lnTo>
                      <a:lnTo>
                        <a:pt x="190" y="495"/>
                      </a:lnTo>
                      <a:lnTo>
                        <a:pt x="192" y="493"/>
                      </a:lnTo>
                      <a:lnTo>
                        <a:pt x="192" y="493"/>
                      </a:lnTo>
                      <a:lnTo>
                        <a:pt x="192" y="491"/>
                      </a:lnTo>
                      <a:lnTo>
                        <a:pt x="193" y="489"/>
                      </a:lnTo>
                      <a:lnTo>
                        <a:pt x="193" y="489"/>
                      </a:lnTo>
                      <a:lnTo>
                        <a:pt x="193" y="487"/>
                      </a:lnTo>
                      <a:lnTo>
                        <a:pt x="193" y="487"/>
                      </a:lnTo>
                      <a:lnTo>
                        <a:pt x="186" y="487"/>
                      </a:lnTo>
                      <a:lnTo>
                        <a:pt x="180" y="487"/>
                      </a:lnTo>
                      <a:lnTo>
                        <a:pt x="179" y="482"/>
                      </a:lnTo>
                      <a:lnTo>
                        <a:pt x="177" y="476"/>
                      </a:lnTo>
                      <a:lnTo>
                        <a:pt x="175" y="471"/>
                      </a:lnTo>
                      <a:lnTo>
                        <a:pt x="171" y="463"/>
                      </a:lnTo>
                      <a:lnTo>
                        <a:pt x="171" y="463"/>
                      </a:lnTo>
                      <a:lnTo>
                        <a:pt x="160" y="461"/>
                      </a:lnTo>
                      <a:lnTo>
                        <a:pt x="149" y="460"/>
                      </a:lnTo>
                      <a:lnTo>
                        <a:pt x="138" y="458"/>
                      </a:lnTo>
                      <a:lnTo>
                        <a:pt x="125" y="454"/>
                      </a:lnTo>
                      <a:lnTo>
                        <a:pt x="125" y="461"/>
                      </a:lnTo>
                      <a:lnTo>
                        <a:pt x="125" y="465"/>
                      </a:lnTo>
                      <a:lnTo>
                        <a:pt x="120" y="465"/>
                      </a:lnTo>
                      <a:lnTo>
                        <a:pt x="116" y="465"/>
                      </a:lnTo>
                      <a:lnTo>
                        <a:pt x="116" y="461"/>
                      </a:lnTo>
                      <a:lnTo>
                        <a:pt x="116" y="458"/>
                      </a:lnTo>
                      <a:lnTo>
                        <a:pt x="116" y="454"/>
                      </a:lnTo>
                      <a:lnTo>
                        <a:pt x="116" y="450"/>
                      </a:lnTo>
                      <a:lnTo>
                        <a:pt x="116" y="450"/>
                      </a:lnTo>
                      <a:lnTo>
                        <a:pt x="108" y="447"/>
                      </a:lnTo>
                      <a:lnTo>
                        <a:pt x="101" y="443"/>
                      </a:lnTo>
                      <a:lnTo>
                        <a:pt x="94" y="439"/>
                      </a:lnTo>
                      <a:lnTo>
                        <a:pt x="88" y="436"/>
                      </a:lnTo>
                      <a:lnTo>
                        <a:pt x="96" y="430"/>
                      </a:lnTo>
                      <a:lnTo>
                        <a:pt x="101" y="424"/>
                      </a:lnTo>
                      <a:lnTo>
                        <a:pt x="108" y="419"/>
                      </a:lnTo>
                      <a:lnTo>
                        <a:pt x="114" y="413"/>
                      </a:lnTo>
                      <a:lnTo>
                        <a:pt x="120" y="408"/>
                      </a:lnTo>
                      <a:lnTo>
                        <a:pt x="123" y="400"/>
                      </a:lnTo>
                      <a:lnTo>
                        <a:pt x="125" y="397"/>
                      </a:lnTo>
                      <a:lnTo>
                        <a:pt x="127" y="393"/>
                      </a:lnTo>
                      <a:lnTo>
                        <a:pt x="131" y="389"/>
                      </a:lnTo>
                      <a:lnTo>
                        <a:pt x="132" y="386"/>
                      </a:lnTo>
                      <a:lnTo>
                        <a:pt x="136" y="384"/>
                      </a:lnTo>
                      <a:lnTo>
                        <a:pt x="140" y="384"/>
                      </a:lnTo>
                      <a:lnTo>
                        <a:pt x="144" y="382"/>
                      </a:lnTo>
                      <a:lnTo>
                        <a:pt x="147" y="382"/>
                      </a:lnTo>
                      <a:lnTo>
                        <a:pt x="147" y="382"/>
                      </a:lnTo>
                      <a:lnTo>
                        <a:pt x="149" y="380"/>
                      </a:lnTo>
                      <a:lnTo>
                        <a:pt x="151" y="378"/>
                      </a:lnTo>
                      <a:lnTo>
                        <a:pt x="151" y="378"/>
                      </a:lnTo>
                      <a:lnTo>
                        <a:pt x="149" y="376"/>
                      </a:lnTo>
                      <a:lnTo>
                        <a:pt x="147" y="375"/>
                      </a:lnTo>
                      <a:lnTo>
                        <a:pt x="147" y="375"/>
                      </a:lnTo>
                      <a:lnTo>
                        <a:pt x="145" y="376"/>
                      </a:lnTo>
                      <a:lnTo>
                        <a:pt x="145" y="376"/>
                      </a:lnTo>
                      <a:lnTo>
                        <a:pt x="145" y="376"/>
                      </a:lnTo>
                      <a:lnTo>
                        <a:pt x="144" y="373"/>
                      </a:lnTo>
                      <a:lnTo>
                        <a:pt x="144" y="369"/>
                      </a:lnTo>
                      <a:lnTo>
                        <a:pt x="145" y="369"/>
                      </a:lnTo>
                      <a:lnTo>
                        <a:pt x="151" y="369"/>
                      </a:lnTo>
                      <a:lnTo>
                        <a:pt x="155" y="369"/>
                      </a:lnTo>
                      <a:lnTo>
                        <a:pt x="158" y="369"/>
                      </a:lnTo>
                      <a:lnTo>
                        <a:pt x="158" y="369"/>
                      </a:lnTo>
                      <a:lnTo>
                        <a:pt x="164" y="354"/>
                      </a:lnTo>
                      <a:lnTo>
                        <a:pt x="169" y="340"/>
                      </a:lnTo>
                      <a:lnTo>
                        <a:pt x="175" y="325"/>
                      </a:lnTo>
                      <a:lnTo>
                        <a:pt x="179" y="312"/>
                      </a:lnTo>
                      <a:lnTo>
                        <a:pt x="182" y="310"/>
                      </a:lnTo>
                      <a:lnTo>
                        <a:pt x="182" y="310"/>
                      </a:lnTo>
                      <a:lnTo>
                        <a:pt x="188" y="308"/>
                      </a:lnTo>
                      <a:lnTo>
                        <a:pt x="188" y="308"/>
                      </a:lnTo>
                      <a:lnTo>
                        <a:pt x="193" y="304"/>
                      </a:lnTo>
                      <a:lnTo>
                        <a:pt x="199" y="301"/>
                      </a:lnTo>
                      <a:lnTo>
                        <a:pt x="199" y="301"/>
                      </a:lnTo>
                      <a:lnTo>
                        <a:pt x="206" y="297"/>
                      </a:lnTo>
                      <a:lnTo>
                        <a:pt x="212" y="292"/>
                      </a:lnTo>
                      <a:lnTo>
                        <a:pt x="219" y="288"/>
                      </a:lnTo>
                      <a:lnTo>
                        <a:pt x="227" y="282"/>
                      </a:lnTo>
                      <a:lnTo>
                        <a:pt x="232" y="277"/>
                      </a:lnTo>
                      <a:lnTo>
                        <a:pt x="240" y="271"/>
                      </a:lnTo>
                      <a:lnTo>
                        <a:pt x="245" y="266"/>
                      </a:lnTo>
                      <a:lnTo>
                        <a:pt x="251" y="260"/>
                      </a:lnTo>
                      <a:lnTo>
                        <a:pt x="254" y="255"/>
                      </a:lnTo>
                      <a:lnTo>
                        <a:pt x="258" y="251"/>
                      </a:lnTo>
                      <a:lnTo>
                        <a:pt x="262" y="245"/>
                      </a:lnTo>
                      <a:lnTo>
                        <a:pt x="262" y="245"/>
                      </a:lnTo>
                      <a:lnTo>
                        <a:pt x="264" y="242"/>
                      </a:lnTo>
                      <a:lnTo>
                        <a:pt x="269" y="242"/>
                      </a:lnTo>
                      <a:lnTo>
                        <a:pt x="276" y="242"/>
                      </a:lnTo>
                      <a:lnTo>
                        <a:pt x="282" y="240"/>
                      </a:lnTo>
                      <a:lnTo>
                        <a:pt x="289" y="240"/>
                      </a:lnTo>
                      <a:lnTo>
                        <a:pt x="291" y="240"/>
                      </a:lnTo>
                      <a:lnTo>
                        <a:pt x="288" y="236"/>
                      </a:lnTo>
                      <a:lnTo>
                        <a:pt x="286" y="234"/>
                      </a:lnTo>
                      <a:lnTo>
                        <a:pt x="288" y="233"/>
                      </a:lnTo>
                      <a:lnTo>
                        <a:pt x="291" y="233"/>
                      </a:lnTo>
                      <a:lnTo>
                        <a:pt x="297" y="233"/>
                      </a:lnTo>
                      <a:lnTo>
                        <a:pt x="300" y="231"/>
                      </a:lnTo>
                      <a:lnTo>
                        <a:pt x="302" y="231"/>
                      </a:lnTo>
                      <a:lnTo>
                        <a:pt x="302" y="225"/>
                      </a:lnTo>
                      <a:lnTo>
                        <a:pt x="302" y="221"/>
                      </a:lnTo>
                      <a:lnTo>
                        <a:pt x="306" y="220"/>
                      </a:lnTo>
                      <a:lnTo>
                        <a:pt x="312" y="218"/>
                      </a:lnTo>
                      <a:lnTo>
                        <a:pt x="317" y="216"/>
                      </a:lnTo>
                      <a:lnTo>
                        <a:pt x="321" y="214"/>
                      </a:lnTo>
                      <a:lnTo>
                        <a:pt x="326" y="214"/>
                      </a:lnTo>
                      <a:lnTo>
                        <a:pt x="332" y="212"/>
                      </a:lnTo>
                      <a:lnTo>
                        <a:pt x="341" y="210"/>
                      </a:lnTo>
                      <a:lnTo>
                        <a:pt x="350" y="209"/>
                      </a:lnTo>
                      <a:lnTo>
                        <a:pt x="350" y="205"/>
                      </a:lnTo>
                      <a:lnTo>
                        <a:pt x="352" y="201"/>
                      </a:lnTo>
                      <a:lnTo>
                        <a:pt x="352" y="197"/>
                      </a:lnTo>
                      <a:lnTo>
                        <a:pt x="352" y="194"/>
                      </a:lnTo>
                      <a:lnTo>
                        <a:pt x="354" y="196"/>
                      </a:lnTo>
                      <a:lnTo>
                        <a:pt x="358" y="199"/>
                      </a:lnTo>
                      <a:lnTo>
                        <a:pt x="358" y="199"/>
                      </a:lnTo>
                      <a:lnTo>
                        <a:pt x="361" y="194"/>
                      </a:lnTo>
                      <a:lnTo>
                        <a:pt x="363" y="188"/>
                      </a:lnTo>
                      <a:lnTo>
                        <a:pt x="365" y="190"/>
                      </a:lnTo>
                      <a:lnTo>
                        <a:pt x="369" y="192"/>
                      </a:lnTo>
                      <a:lnTo>
                        <a:pt x="369" y="194"/>
                      </a:lnTo>
                      <a:lnTo>
                        <a:pt x="372" y="188"/>
                      </a:lnTo>
                      <a:lnTo>
                        <a:pt x="374" y="186"/>
                      </a:lnTo>
                      <a:lnTo>
                        <a:pt x="376" y="183"/>
                      </a:lnTo>
                      <a:lnTo>
                        <a:pt x="378" y="179"/>
                      </a:lnTo>
                      <a:lnTo>
                        <a:pt x="383" y="177"/>
                      </a:lnTo>
                      <a:lnTo>
                        <a:pt x="391" y="175"/>
                      </a:lnTo>
                      <a:lnTo>
                        <a:pt x="398" y="173"/>
                      </a:lnTo>
                      <a:lnTo>
                        <a:pt x="406" y="172"/>
                      </a:lnTo>
                      <a:lnTo>
                        <a:pt x="406" y="172"/>
                      </a:lnTo>
                      <a:lnTo>
                        <a:pt x="407" y="168"/>
                      </a:lnTo>
                      <a:lnTo>
                        <a:pt x="409" y="168"/>
                      </a:lnTo>
                      <a:lnTo>
                        <a:pt x="411" y="162"/>
                      </a:lnTo>
                      <a:lnTo>
                        <a:pt x="413" y="159"/>
                      </a:lnTo>
                      <a:lnTo>
                        <a:pt x="413" y="155"/>
                      </a:lnTo>
                      <a:lnTo>
                        <a:pt x="417" y="157"/>
                      </a:lnTo>
                      <a:lnTo>
                        <a:pt x="420" y="159"/>
                      </a:lnTo>
                      <a:lnTo>
                        <a:pt x="424" y="161"/>
                      </a:lnTo>
                      <a:lnTo>
                        <a:pt x="428" y="162"/>
                      </a:lnTo>
                      <a:lnTo>
                        <a:pt x="430" y="162"/>
                      </a:lnTo>
                      <a:lnTo>
                        <a:pt x="433" y="161"/>
                      </a:lnTo>
                      <a:lnTo>
                        <a:pt x="439" y="157"/>
                      </a:lnTo>
                      <a:lnTo>
                        <a:pt x="443" y="155"/>
                      </a:lnTo>
                      <a:lnTo>
                        <a:pt x="448" y="151"/>
                      </a:lnTo>
                      <a:lnTo>
                        <a:pt x="452" y="149"/>
                      </a:lnTo>
                      <a:lnTo>
                        <a:pt x="443" y="151"/>
                      </a:lnTo>
                      <a:lnTo>
                        <a:pt x="443" y="151"/>
                      </a:lnTo>
                      <a:lnTo>
                        <a:pt x="437" y="151"/>
                      </a:lnTo>
                      <a:lnTo>
                        <a:pt x="431" y="153"/>
                      </a:lnTo>
                      <a:lnTo>
                        <a:pt x="428" y="153"/>
                      </a:lnTo>
                      <a:lnTo>
                        <a:pt x="426" y="148"/>
                      </a:lnTo>
                      <a:lnTo>
                        <a:pt x="426" y="144"/>
                      </a:lnTo>
                      <a:lnTo>
                        <a:pt x="437" y="142"/>
                      </a:lnTo>
                      <a:lnTo>
                        <a:pt x="444" y="142"/>
                      </a:lnTo>
                      <a:lnTo>
                        <a:pt x="448" y="142"/>
                      </a:lnTo>
                      <a:lnTo>
                        <a:pt x="452" y="142"/>
                      </a:lnTo>
                      <a:lnTo>
                        <a:pt x="454" y="144"/>
                      </a:lnTo>
                      <a:lnTo>
                        <a:pt x="455" y="144"/>
                      </a:lnTo>
                      <a:lnTo>
                        <a:pt x="457" y="146"/>
                      </a:lnTo>
                      <a:lnTo>
                        <a:pt x="459" y="148"/>
                      </a:lnTo>
                      <a:lnTo>
                        <a:pt x="461" y="149"/>
                      </a:lnTo>
                      <a:lnTo>
                        <a:pt x="461" y="142"/>
                      </a:lnTo>
                      <a:lnTo>
                        <a:pt x="461" y="137"/>
                      </a:lnTo>
                      <a:lnTo>
                        <a:pt x="465" y="137"/>
                      </a:lnTo>
                      <a:lnTo>
                        <a:pt x="468" y="137"/>
                      </a:lnTo>
                      <a:lnTo>
                        <a:pt x="472" y="138"/>
                      </a:lnTo>
                      <a:lnTo>
                        <a:pt x="478" y="138"/>
                      </a:lnTo>
                      <a:lnTo>
                        <a:pt x="485" y="140"/>
                      </a:lnTo>
                      <a:lnTo>
                        <a:pt x="492" y="140"/>
                      </a:lnTo>
                      <a:lnTo>
                        <a:pt x="492" y="140"/>
                      </a:lnTo>
                      <a:lnTo>
                        <a:pt x="503" y="142"/>
                      </a:lnTo>
                      <a:lnTo>
                        <a:pt x="513" y="144"/>
                      </a:lnTo>
                      <a:lnTo>
                        <a:pt x="515" y="148"/>
                      </a:lnTo>
                      <a:lnTo>
                        <a:pt x="516" y="151"/>
                      </a:lnTo>
                      <a:lnTo>
                        <a:pt x="518" y="153"/>
                      </a:lnTo>
                      <a:lnTo>
                        <a:pt x="522" y="151"/>
                      </a:lnTo>
                      <a:lnTo>
                        <a:pt x="526" y="148"/>
                      </a:lnTo>
                      <a:lnTo>
                        <a:pt x="529" y="148"/>
                      </a:lnTo>
                      <a:lnTo>
                        <a:pt x="531" y="146"/>
                      </a:lnTo>
                      <a:lnTo>
                        <a:pt x="535" y="146"/>
                      </a:lnTo>
                      <a:lnTo>
                        <a:pt x="540" y="146"/>
                      </a:lnTo>
                      <a:lnTo>
                        <a:pt x="544" y="146"/>
                      </a:lnTo>
                      <a:lnTo>
                        <a:pt x="551" y="146"/>
                      </a:lnTo>
                      <a:lnTo>
                        <a:pt x="553" y="146"/>
                      </a:lnTo>
                      <a:lnTo>
                        <a:pt x="550" y="142"/>
                      </a:lnTo>
                      <a:lnTo>
                        <a:pt x="548" y="140"/>
                      </a:lnTo>
                      <a:lnTo>
                        <a:pt x="548" y="138"/>
                      </a:lnTo>
                      <a:lnTo>
                        <a:pt x="546" y="138"/>
                      </a:lnTo>
                      <a:lnTo>
                        <a:pt x="546" y="137"/>
                      </a:lnTo>
                      <a:lnTo>
                        <a:pt x="546" y="133"/>
                      </a:lnTo>
                      <a:lnTo>
                        <a:pt x="546" y="131"/>
                      </a:lnTo>
                      <a:lnTo>
                        <a:pt x="546" y="127"/>
                      </a:lnTo>
                      <a:lnTo>
                        <a:pt x="550" y="127"/>
                      </a:lnTo>
                      <a:lnTo>
                        <a:pt x="555" y="127"/>
                      </a:lnTo>
                      <a:lnTo>
                        <a:pt x="559" y="125"/>
                      </a:lnTo>
                      <a:lnTo>
                        <a:pt x="550" y="124"/>
                      </a:lnTo>
                      <a:lnTo>
                        <a:pt x="546" y="122"/>
                      </a:lnTo>
                      <a:lnTo>
                        <a:pt x="540" y="122"/>
                      </a:lnTo>
                      <a:lnTo>
                        <a:pt x="537" y="120"/>
                      </a:lnTo>
                      <a:lnTo>
                        <a:pt x="535" y="120"/>
                      </a:lnTo>
                      <a:lnTo>
                        <a:pt x="533" y="125"/>
                      </a:lnTo>
                      <a:lnTo>
                        <a:pt x="533" y="131"/>
                      </a:lnTo>
                      <a:lnTo>
                        <a:pt x="531" y="129"/>
                      </a:lnTo>
                      <a:lnTo>
                        <a:pt x="529" y="127"/>
                      </a:lnTo>
                      <a:lnTo>
                        <a:pt x="527" y="127"/>
                      </a:lnTo>
                      <a:lnTo>
                        <a:pt x="526" y="125"/>
                      </a:lnTo>
                      <a:lnTo>
                        <a:pt x="524" y="125"/>
                      </a:lnTo>
                      <a:lnTo>
                        <a:pt x="524" y="125"/>
                      </a:lnTo>
                      <a:lnTo>
                        <a:pt x="518" y="124"/>
                      </a:lnTo>
                      <a:lnTo>
                        <a:pt x="513" y="124"/>
                      </a:lnTo>
                      <a:lnTo>
                        <a:pt x="507" y="124"/>
                      </a:lnTo>
                      <a:lnTo>
                        <a:pt x="503" y="122"/>
                      </a:lnTo>
                      <a:lnTo>
                        <a:pt x="500" y="120"/>
                      </a:lnTo>
                      <a:lnTo>
                        <a:pt x="498" y="120"/>
                      </a:lnTo>
                      <a:lnTo>
                        <a:pt x="496" y="118"/>
                      </a:lnTo>
                      <a:lnTo>
                        <a:pt x="494" y="116"/>
                      </a:lnTo>
                      <a:lnTo>
                        <a:pt x="494" y="109"/>
                      </a:lnTo>
                      <a:lnTo>
                        <a:pt x="496" y="101"/>
                      </a:lnTo>
                      <a:lnTo>
                        <a:pt x="498" y="96"/>
                      </a:lnTo>
                      <a:lnTo>
                        <a:pt x="498" y="89"/>
                      </a:lnTo>
                      <a:lnTo>
                        <a:pt x="502" y="89"/>
                      </a:lnTo>
                      <a:lnTo>
                        <a:pt x="505" y="89"/>
                      </a:lnTo>
                      <a:lnTo>
                        <a:pt x="505" y="90"/>
                      </a:lnTo>
                      <a:lnTo>
                        <a:pt x="507" y="90"/>
                      </a:lnTo>
                      <a:lnTo>
                        <a:pt x="507" y="90"/>
                      </a:lnTo>
                      <a:lnTo>
                        <a:pt x="513" y="92"/>
                      </a:lnTo>
                      <a:lnTo>
                        <a:pt x="518" y="94"/>
                      </a:lnTo>
                      <a:lnTo>
                        <a:pt x="520" y="94"/>
                      </a:lnTo>
                      <a:lnTo>
                        <a:pt x="520" y="92"/>
                      </a:lnTo>
                      <a:lnTo>
                        <a:pt x="520" y="90"/>
                      </a:lnTo>
                      <a:lnTo>
                        <a:pt x="520" y="90"/>
                      </a:lnTo>
                      <a:lnTo>
                        <a:pt x="520" y="89"/>
                      </a:lnTo>
                      <a:lnTo>
                        <a:pt x="520" y="89"/>
                      </a:lnTo>
                      <a:lnTo>
                        <a:pt x="518" y="89"/>
                      </a:lnTo>
                      <a:lnTo>
                        <a:pt x="518" y="89"/>
                      </a:lnTo>
                      <a:lnTo>
                        <a:pt x="518" y="87"/>
                      </a:lnTo>
                      <a:lnTo>
                        <a:pt x="516" y="87"/>
                      </a:lnTo>
                      <a:lnTo>
                        <a:pt x="516" y="87"/>
                      </a:lnTo>
                      <a:lnTo>
                        <a:pt x="513" y="87"/>
                      </a:lnTo>
                      <a:lnTo>
                        <a:pt x="511" y="87"/>
                      </a:lnTo>
                      <a:lnTo>
                        <a:pt x="509" y="87"/>
                      </a:lnTo>
                      <a:lnTo>
                        <a:pt x="509" y="87"/>
                      </a:lnTo>
                      <a:lnTo>
                        <a:pt x="515" y="85"/>
                      </a:lnTo>
                      <a:lnTo>
                        <a:pt x="515" y="85"/>
                      </a:lnTo>
                      <a:lnTo>
                        <a:pt x="518" y="83"/>
                      </a:lnTo>
                      <a:lnTo>
                        <a:pt x="518" y="83"/>
                      </a:lnTo>
                      <a:lnTo>
                        <a:pt x="518" y="83"/>
                      </a:lnTo>
                      <a:lnTo>
                        <a:pt x="520" y="83"/>
                      </a:lnTo>
                      <a:lnTo>
                        <a:pt x="520" y="81"/>
                      </a:lnTo>
                      <a:lnTo>
                        <a:pt x="520" y="81"/>
                      </a:lnTo>
                      <a:lnTo>
                        <a:pt x="520" y="79"/>
                      </a:lnTo>
                      <a:lnTo>
                        <a:pt x="520" y="78"/>
                      </a:lnTo>
                      <a:lnTo>
                        <a:pt x="520" y="76"/>
                      </a:lnTo>
                      <a:lnTo>
                        <a:pt x="513" y="76"/>
                      </a:lnTo>
                      <a:lnTo>
                        <a:pt x="509" y="76"/>
                      </a:lnTo>
                      <a:lnTo>
                        <a:pt x="509" y="76"/>
                      </a:lnTo>
                      <a:lnTo>
                        <a:pt x="509" y="74"/>
                      </a:lnTo>
                      <a:lnTo>
                        <a:pt x="509" y="74"/>
                      </a:lnTo>
                      <a:lnTo>
                        <a:pt x="509" y="72"/>
                      </a:lnTo>
                      <a:lnTo>
                        <a:pt x="513" y="72"/>
                      </a:lnTo>
                      <a:lnTo>
                        <a:pt x="518" y="72"/>
                      </a:lnTo>
                      <a:lnTo>
                        <a:pt x="520" y="72"/>
                      </a:lnTo>
                      <a:lnTo>
                        <a:pt x="520" y="65"/>
                      </a:lnTo>
                      <a:lnTo>
                        <a:pt x="520" y="57"/>
                      </a:lnTo>
                      <a:lnTo>
                        <a:pt x="520" y="52"/>
                      </a:lnTo>
                      <a:lnTo>
                        <a:pt x="520" y="46"/>
                      </a:lnTo>
                      <a:lnTo>
                        <a:pt x="535" y="41"/>
                      </a:lnTo>
                      <a:lnTo>
                        <a:pt x="546" y="39"/>
                      </a:lnTo>
                      <a:lnTo>
                        <a:pt x="555" y="37"/>
                      </a:lnTo>
                      <a:lnTo>
                        <a:pt x="562" y="33"/>
                      </a:lnTo>
                      <a:lnTo>
                        <a:pt x="568" y="31"/>
                      </a:lnTo>
                      <a:lnTo>
                        <a:pt x="568" y="31"/>
                      </a:lnTo>
                      <a:lnTo>
                        <a:pt x="572" y="30"/>
                      </a:lnTo>
                      <a:lnTo>
                        <a:pt x="577" y="26"/>
                      </a:lnTo>
                      <a:lnTo>
                        <a:pt x="581" y="24"/>
                      </a:lnTo>
                      <a:lnTo>
                        <a:pt x="583" y="24"/>
                      </a:lnTo>
                      <a:lnTo>
                        <a:pt x="585" y="26"/>
                      </a:lnTo>
                      <a:lnTo>
                        <a:pt x="585" y="26"/>
                      </a:lnTo>
                      <a:lnTo>
                        <a:pt x="586" y="24"/>
                      </a:lnTo>
                      <a:lnTo>
                        <a:pt x="588" y="22"/>
                      </a:lnTo>
                      <a:lnTo>
                        <a:pt x="588" y="22"/>
                      </a:lnTo>
                      <a:lnTo>
                        <a:pt x="586" y="20"/>
                      </a:lnTo>
                      <a:lnTo>
                        <a:pt x="586" y="20"/>
                      </a:lnTo>
                      <a:lnTo>
                        <a:pt x="588" y="20"/>
                      </a:lnTo>
                      <a:lnTo>
                        <a:pt x="592" y="18"/>
                      </a:lnTo>
                      <a:lnTo>
                        <a:pt x="598" y="18"/>
                      </a:lnTo>
                      <a:lnTo>
                        <a:pt x="601" y="18"/>
                      </a:lnTo>
                      <a:lnTo>
                        <a:pt x="601" y="18"/>
                      </a:lnTo>
                      <a:lnTo>
                        <a:pt x="601" y="13"/>
                      </a:lnTo>
                      <a:lnTo>
                        <a:pt x="601" y="9"/>
                      </a:lnTo>
                      <a:lnTo>
                        <a:pt x="601" y="6"/>
                      </a:lnTo>
                      <a:lnTo>
                        <a:pt x="601" y="2"/>
                      </a:lnTo>
                      <a:lnTo>
                        <a:pt x="607" y="2"/>
                      </a:lnTo>
                      <a:lnTo>
                        <a:pt x="610" y="2"/>
                      </a:lnTo>
                      <a:lnTo>
                        <a:pt x="610" y="11"/>
                      </a:lnTo>
                      <a:lnTo>
                        <a:pt x="612" y="18"/>
                      </a:lnTo>
                      <a:lnTo>
                        <a:pt x="612" y="18"/>
                      </a:lnTo>
                      <a:lnTo>
                        <a:pt x="612" y="22"/>
                      </a:lnTo>
                      <a:lnTo>
                        <a:pt x="614" y="26"/>
                      </a:lnTo>
                      <a:lnTo>
                        <a:pt x="614" y="30"/>
                      </a:lnTo>
                      <a:lnTo>
                        <a:pt x="616" y="33"/>
                      </a:lnTo>
                      <a:lnTo>
                        <a:pt x="618" y="33"/>
                      </a:lnTo>
                      <a:lnTo>
                        <a:pt x="622" y="33"/>
                      </a:lnTo>
                      <a:lnTo>
                        <a:pt x="625" y="33"/>
                      </a:lnTo>
                      <a:lnTo>
                        <a:pt x="631" y="33"/>
                      </a:lnTo>
                      <a:lnTo>
                        <a:pt x="633" y="33"/>
                      </a:lnTo>
                      <a:lnTo>
                        <a:pt x="633" y="37"/>
                      </a:lnTo>
                      <a:lnTo>
                        <a:pt x="633" y="41"/>
                      </a:lnTo>
                      <a:lnTo>
                        <a:pt x="633" y="42"/>
                      </a:lnTo>
                      <a:lnTo>
                        <a:pt x="633" y="46"/>
                      </a:lnTo>
                      <a:lnTo>
                        <a:pt x="633" y="48"/>
                      </a:lnTo>
                      <a:lnTo>
                        <a:pt x="633" y="48"/>
                      </a:lnTo>
                      <a:lnTo>
                        <a:pt x="631" y="50"/>
                      </a:lnTo>
                      <a:lnTo>
                        <a:pt x="629" y="50"/>
                      </a:lnTo>
                      <a:lnTo>
                        <a:pt x="629" y="50"/>
                      </a:lnTo>
                      <a:lnTo>
                        <a:pt x="629" y="52"/>
                      </a:lnTo>
                      <a:lnTo>
                        <a:pt x="627" y="54"/>
                      </a:lnTo>
                      <a:lnTo>
                        <a:pt x="627" y="54"/>
                      </a:lnTo>
                      <a:lnTo>
                        <a:pt x="625" y="55"/>
                      </a:lnTo>
                      <a:lnTo>
                        <a:pt x="618" y="55"/>
                      </a:lnTo>
                      <a:lnTo>
                        <a:pt x="614" y="55"/>
                      </a:lnTo>
                      <a:lnTo>
                        <a:pt x="614" y="55"/>
                      </a:lnTo>
                      <a:lnTo>
                        <a:pt x="612" y="55"/>
                      </a:lnTo>
                      <a:lnTo>
                        <a:pt x="612" y="55"/>
                      </a:lnTo>
                      <a:lnTo>
                        <a:pt x="612" y="57"/>
                      </a:lnTo>
                      <a:lnTo>
                        <a:pt x="612" y="57"/>
                      </a:lnTo>
                      <a:lnTo>
                        <a:pt x="610" y="59"/>
                      </a:lnTo>
                      <a:lnTo>
                        <a:pt x="610" y="59"/>
                      </a:lnTo>
                      <a:lnTo>
                        <a:pt x="610" y="61"/>
                      </a:lnTo>
                      <a:lnTo>
                        <a:pt x="610" y="61"/>
                      </a:lnTo>
                      <a:lnTo>
                        <a:pt x="616" y="61"/>
                      </a:lnTo>
                      <a:lnTo>
                        <a:pt x="620" y="59"/>
                      </a:lnTo>
                      <a:lnTo>
                        <a:pt x="625" y="59"/>
                      </a:lnTo>
                      <a:lnTo>
                        <a:pt x="629" y="59"/>
                      </a:lnTo>
                      <a:lnTo>
                        <a:pt x="629" y="59"/>
                      </a:lnTo>
                      <a:lnTo>
                        <a:pt x="631" y="57"/>
                      </a:lnTo>
                      <a:lnTo>
                        <a:pt x="633" y="55"/>
                      </a:lnTo>
                      <a:lnTo>
                        <a:pt x="633" y="55"/>
                      </a:lnTo>
                      <a:lnTo>
                        <a:pt x="633" y="54"/>
                      </a:lnTo>
                      <a:lnTo>
                        <a:pt x="634" y="54"/>
                      </a:lnTo>
                      <a:lnTo>
                        <a:pt x="634" y="54"/>
                      </a:lnTo>
                      <a:lnTo>
                        <a:pt x="636" y="52"/>
                      </a:lnTo>
                      <a:lnTo>
                        <a:pt x="636" y="50"/>
                      </a:lnTo>
                      <a:lnTo>
                        <a:pt x="640" y="55"/>
                      </a:lnTo>
                      <a:lnTo>
                        <a:pt x="642" y="59"/>
                      </a:lnTo>
                      <a:lnTo>
                        <a:pt x="640" y="65"/>
                      </a:lnTo>
                      <a:lnTo>
                        <a:pt x="638" y="70"/>
                      </a:lnTo>
                      <a:lnTo>
                        <a:pt x="636" y="78"/>
                      </a:lnTo>
                      <a:lnTo>
                        <a:pt x="634" y="83"/>
                      </a:lnTo>
                      <a:lnTo>
                        <a:pt x="631" y="83"/>
                      </a:lnTo>
                      <a:lnTo>
                        <a:pt x="627" y="85"/>
                      </a:lnTo>
                      <a:lnTo>
                        <a:pt x="622" y="85"/>
                      </a:lnTo>
                      <a:lnTo>
                        <a:pt x="622" y="85"/>
                      </a:lnTo>
                      <a:lnTo>
                        <a:pt x="618" y="87"/>
                      </a:lnTo>
                      <a:lnTo>
                        <a:pt x="618" y="87"/>
                      </a:lnTo>
                      <a:lnTo>
                        <a:pt x="618" y="92"/>
                      </a:lnTo>
                      <a:lnTo>
                        <a:pt x="618" y="96"/>
                      </a:lnTo>
                      <a:lnTo>
                        <a:pt x="616" y="96"/>
                      </a:lnTo>
                      <a:lnTo>
                        <a:pt x="616" y="96"/>
                      </a:lnTo>
                      <a:lnTo>
                        <a:pt x="614" y="98"/>
                      </a:lnTo>
                      <a:lnTo>
                        <a:pt x="614" y="98"/>
                      </a:lnTo>
                      <a:lnTo>
                        <a:pt x="612" y="103"/>
                      </a:lnTo>
                      <a:lnTo>
                        <a:pt x="612" y="109"/>
                      </a:lnTo>
                      <a:lnTo>
                        <a:pt x="610" y="111"/>
                      </a:lnTo>
                      <a:lnTo>
                        <a:pt x="614" y="111"/>
                      </a:lnTo>
                      <a:lnTo>
                        <a:pt x="616" y="111"/>
                      </a:lnTo>
                      <a:lnTo>
                        <a:pt x="616" y="111"/>
                      </a:lnTo>
                      <a:lnTo>
                        <a:pt x="618" y="111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7"/>
                      </a:lnTo>
                      <a:lnTo>
                        <a:pt x="618" y="103"/>
                      </a:lnTo>
                      <a:lnTo>
                        <a:pt x="618" y="101"/>
                      </a:lnTo>
                      <a:lnTo>
                        <a:pt x="620" y="100"/>
                      </a:lnTo>
                      <a:lnTo>
                        <a:pt x="622" y="100"/>
                      </a:lnTo>
                      <a:lnTo>
                        <a:pt x="634" y="100"/>
                      </a:lnTo>
                      <a:lnTo>
                        <a:pt x="647" y="98"/>
                      </a:lnTo>
                      <a:lnTo>
                        <a:pt x="653" y="100"/>
                      </a:lnTo>
                      <a:lnTo>
                        <a:pt x="658" y="100"/>
                      </a:lnTo>
                      <a:lnTo>
                        <a:pt x="666" y="101"/>
                      </a:lnTo>
                      <a:lnTo>
                        <a:pt x="671" y="103"/>
                      </a:lnTo>
                      <a:lnTo>
                        <a:pt x="671" y="124"/>
                      </a:lnTo>
                      <a:lnTo>
                        <a:pt x="673" y="133"/>
                      </a:lnTo>
                      <a:lnTo>
                        <a:pt x="673" y="135"/>
                      </a:lnTo>
                      <a:lnTo>
                        <a:pt x="673" y="135"/>
                      </a:lnTo>
                      <a:lnTo>
                        <a:pt x="675" y="137"/>
                      </a:lnTo>
                      <a:lnTo>
                        <a:pt x="675" y="137"/>
                      </a:lnTo>
                      <a:lnTo>
                        <a:pt x="677" y="137"/>
                      </a:lnTo>
                      <a:lnTo>
                        <a:pt x="677" y="137"/>
                      </a:lnTo>
                      <a:lnTo>
                        <a:pt x="679" y="137"/>
                      </a:lnTo>
                      <a:lnTo>
                        <a:pt x="679" y="137"/>
                      </a:lnTo>
                      <a:lnTo>
                        <a:pt x="681" y="131"/>
                      </a:lnTo>
                      <a:lnTo>
                        <a:pt x="682" y="127"/>
                      </a:lnTo>
                      <a:lnTo>
                        <a:pt x="682" y="129"/>
                      </a:lnTo>
                      <a:lnTo>
                        <a:pt x="682" y="133"/>
                      </a:lnTo>
                      <a:lnTo>
                        <a:pt x="682" y="137"/>
                      </a:lnTo>
                      <a:lnTo>
                        <a:pt x="682" y="137"/>
                      </a:lnTo>
                      <a:lnTo>
                        <a:pt x="690" y="135"/>
                      </a:lnTo>
                      <a:lnTo>
                        <a:pt x="695" y="135"/>
                      </a:lnTo>
                      <a:lnTo>
                        <a:pt x="695" y="135"/>
                      </a:lnTo>
                      <a:lnTo>
                        <a:pt x="697" y="133"/>
                      </a:lnTo>
                      <a:lnTo>
                        <a:pt x="697" y="131"/>
                      </a:lnTo>
                      <a:lnTo>
                        <a:pt x="699" y="131"/>
                      </a:lnTo>
                      <a:lnTo>
                        <a:pt x="699" y="127"/>
                      </a:lnTo>
                      <a:lnTo>
                        <a:pt x="699" y="125"/>
                      </a:lnTo>
                      <a:lnTo>
                        <a:pt x="699" y="125"/>
                      </a:lnTo>
                      <a:lnTo>
                        <a:pt x="697" y="124"/>
                      </a:lnTo>
                      <a:lnTo>
                        <a:pt x="697" y="124"/>
                      </a:lnTo>
                      <a:lnTo>
                        <a:pt x="697" y="124"/>
                      </a:lnTo>
                      <a:lnTo>
                        <a:pt x="699" y="122"/>
                      </a:lnTo>
                      <a:lnTo>
                        <a:pt x="705" y="120"/>
                      </a:lnTo>
                      <a:lnTo>
                        <a:pt x="708" y="118"/>
                      </a:lnTo>
                      <a:lnTo>
                        <a:pt x="708" y="118"/>
                      </a:lnTo>
                      <a:lnTo>
                        <a:pt x="712" y="116"/>
                      </a:lnTo>
                      <a:lnTo>
                        <a:pt x="712" y="120"/>
                      </a:lnTo>
                      <a:lnTo>
                        <a:pt x="714" y="124"/>
                      </a:lnTo>
                      <a:lnTo>
                        <a:pt x="714" y="127"/>
                      </a:lnTo>
                      <a:lnTo>
                        <a:pt x="716" y="131"/>
                      </a:lnTo>
                      <a:lnTo>
                        <a:pt x="710" y="131"/>
                      </a:lnTo>
                      <a:lnTo>
                        <a:pt x="706" y="131"/>
                      </a:lnTo>
                      <a:lnTo>
                        <a:pt x="706" y="131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05" y="133"/>
                      </a:lnTo>
                      <a:lnTo>
                        <a:pt x="705" y="133"/>
                      </a:lnTo>
                      <a:lnTo>
                        <a:pt x="705" y="135"/>
                      </a:lnTo>
                      <a:lnTo>
                        <a:pt x="705" y="137"/>
                      </a:lnTo>
                      <a:lnTo>
                        <a:pt x="705" y="137"/>
                      </a:lnTo>
                      <a:lnTo>
                        <a:pt x="708" y="138"/>
                      </a:lnTo>
                      <a:lnTo>
                        <a:pt x="712" y="138"/>
                      </a:lnTo>
                      <a:lnTo>
                        <a:pt x="714" y="140"/>
                      </a:lnTo>
                      <a:lnTo>
                        <a:pt x="718" y="140"/>
                      </a:lnTo>
                      <a:lnTo>
                        <a:pt x="716" y="144"/>
                      </a:lnTo>
                      <a:lnTo>
                        <a:pt x="716" y="149"/>
                      </a:lnTo>
                      <a:lnTo>
                        <a:pt x="714" y="153"/>
                      </a:lnTo>
                      <a:lnTo>
                        <a:pt x="714" y="153"/>
                      </a:lnTo>
                      <a:lnTo>
                        <a:pt x="714" y="157"/>
                      </a:lnTo>
                      <a:lnTo>
                        <a:pt x="714" y="157"/>
                      </a:lnTo>
                      <a:lnTo>
                        <a:pt x="712" y="155"/>
                      </a:lnTo>
                      <a:lnTo>
                        <a:pt x="712" y="155"/>
                      </a:lnTo>
                      <a:lnTo>
                        <a:pt x="706" y="153"/>
                      </a:lnTo>
                      <a:lnTo>
                        <a:pt x="701" y="151"/>
                      </a:lnTo>
                      <a:lnTo>
                        <a:pt x="699" y="151"/>
                      </a:lnTo>
                      <a:lnTo>
                        <a:pt x="699" y="155"/>
                      </a:lnTo>
                      <a:lnTo>
                        <a:pt x="699" y="155"/>
                      </a:lnTo>
                      <a:lnTo>
                        <a:pt x="699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3" y="159"/>
                      </a:lnTo>
                      <a:lnTo>
                        <a:pt x="703" y="159"/>
                      </a:lnTo>
                      <a:lnTo>
                        <a:pt x="705" y="159"/>
                      </a:lnTo>
                      <a:lnTo>
                        <a:pt x="706" y="159"/>
                      </a:lnTo>
                      <a:lnTo>
                        <a:pt x="706" y="159"/>
                      </a:lnTo>
                      <a:lnTo>
                        <a:pt x="708" y="159"/>
                      </a:lnTo>
                      <a:lnTo>
                        <a:pt x="710" y="161"/>
                      </a:lnTo>
                      <a:lnTo>
                        <a:pt x="710" y="161"/>
                      </a:lnTo>
                      <a:lnTo>
                        <a:pt x="710" y="161"/>
                      </a:lnTo>
                      <a:lnTo>
                        <a:pt x="708" y="162"/>
                      </a:lnTo>
                      <a:lnTo>
                        <a:pt x="708" y="164"/>
                      </a:lnTo>
                      <a:lnTo>
                        <a:pt x="706" y="166"/>
                      </a:lnTo>
                      <a:lnTo>
                        <a:pt x="705" y="168"/>
                      </a:lnTo>
                      <a:lnTo>
                        <a:pt x="701" y="172"/>
                      </a:lnTo>
                      <a:lnTo>
                        <a:pt x="695" y="173"/>
                      </a:lnTo>
                      <a:lnTo>
                        <a:pt x="686" y="175"/>
                      </a:lnTo>
                      <a:lnTo>
                        <a:pt x="675" y="179"/>
                      </a:lnTo>
                      <a:lnTo>
                        <a:pt x="668" y="188"/>
                      </a:lnTo>
                      <a:lnTo>
                        <a:pt x="660" y="197"/>
                      </a:lnTo>
                      <a:lnTo>
                        <a:pt x="657" y="201"/>
                      </a:lnTo>
                      <a:lnTo>
                        <a:pt x="655" y="205"/>
                      </a:lnTo>
                      <a:lnTo>
                        <a:pt x="651" y="207"/>
                      </a:lnTo>
                      <a:lnTo>
                        <a:pt x="647" y="210"/>
                      </a:lnTo>
                      <a:lnTo>
                        <a:pt x="646" y="212"/>
                      </a:lnTo>
                      <a:lnTo>
                        <a:pt x="642" y="214"/>
                      </a:lnTo>
                      <a:lnTo>
                        <a:pt x="638" y="214"/>
                      </a:lnTo>
                      <a:lnTo>
                        <a:pt x="634" y="216"/>
                      </a:lnTo>
                      <a:lnTo>
                        <a:pt x="629" y="214"/>
                      </a:lnTo>
                      <a:lnTo>
                        <a:pt x="623" y="214"/>
                      </a:lnTo>
                      <a:lnTo>
                        <a:pt x="618" y="212"/>
                      </a:lnTo>
                      <a:lnTo>
                        <a:pt x="610" y="209"/>
                      </a:lnTo>
                      <a:lnTo>
                        <a:pt x="605" y="216"/>
                      </a:lnTo>
                      <a:lnTo>
                        <a:pt x="599" y="220"/>
                      </a:lnTo>
                      <a:lnTo>
                        <a:pt x="596" y="225"/>
                      </a:lnTo>
                      <a:lnTo>
                        <a:pt x="592" y="231"/>
                      </a:lnTo>
                      <a:lnTo>
                        <a:pt x="592" y="231"/>
                      </a:lnTo>
                      <a:lnTo>
                        <a:pt x="590" y="234"/>
                      </a:lnTo>
                      <a:lnTo>
                        <a:pt x="588" y="240"/>
                      </a:lnTo>
                      <a:lnTo>
                        <a:pt x="585" y="244"/>
                      </a:lnTo>
                      <a:lnTo>
                        <a:pt x="583" y="249"/>
                      </a:lnTo>
                      <a:lnTo>
                        <a:pt x="583" y="253"/>
                      </a:lnTo>
                      <a:lnTo>
                        <a:pt x="581" y="258"/>
                      </a:lnTo>
                      <a:lnTo>
                        <a:pt x="579" y="262"/>
                      </a:lnTo>
                      <a:lnTo>
                        <a:pt x="579" y="268"/>
                      </a:lnTo>
                      <a:lnTo>
                        <a:pt x="575" y="280"/>
                      </a:lnTo>
                      <a:lnTo>
                        <a:pt x="574" y="293"/>
                      </a:lnTo>
                      <a:lnTo>
                        <a:pt x="562" y="293"/>
                      </a:lnTo>
                      <a:lnTo>
                        <a:pt x="550" y="292"/>
                      </a:lnTo>
                      <a:lnTo>
                        <a:pt x="539" y="290"/>
                      </a:lnTo>
                      <a:lnTo>
                        <a:pt x="526" y="290"/>
                      </a:lnTo>
                      <a:lnTo>
                        <a:pt x="524" y="284"/>
                      </a:lnTo>
                      <a:lnTo>
                        <a:pt x="522" y="280"/>
                      </a:lnTo>
                      <a:lnTo>
                        <a:pt x="518" y="275"/>
                      </a:lnTo>
                      <a:lnTo>
                        <a:pt x="516" y="271"/>
                      </a:lnTo>
                      <a:lnTo>
                        <a:pt x="516" y="271"/>
                      </a:lnTo>
                      <a:lnTo>
                        <a:pt x="511" y="271"/>
                      </a:lnTo>
                      <a:lnTo>
                        <a:pt x="505" y="273"/>
                      </a:lnTo>
                      <a:lnTo>
                        <a:pt x="503" y="273"/>
                      </a:lnTo>
                      <a:lnTo>
                        <a:pt x="509" y="279"/>
                      </a:lnTo>
                      <a:lnTo>
                        <a:pt x="513" y="280"/>
                      </a:lnTo>
                      <a:lnTo>
                        <a:pt x="509" y="282"/>
                      </a:lnTo>
                      <a:lnTo>
                        <a:pt x="503" y="284"/>
                      </a:lnTo>
                      <a:lnTo>
                        <a:pt x="498" y="284"/>
                      </a:lnTo>
                      <a:lnTo>
                        <a:pt x="492" y="286"/>
                      </a:lnTo>
                      <a:lnTo>
                        <a:pt x="491" y="288"/>
                      </a:lnTo>
                      <a:lnTo>
                        <a:pt x="496" y="290"/>
                      </a:lnTo>
                      <a:lnTo>
                        <a:pt x="500" y="292"/>
                      </a:lnTo>
                      <a:lnTo>
                        <a:pt x="503" y="293"/>
                      </a:lnTo>
                      <a:lnTo>
                        <a:pt x="507" y="295"/>
                      </a:lnTo>
                      <a:lnTo>
                        <a:pt x="507" y="299"/>
                      </a:lnTo>
                      <a:lnTo>
                        <a:pt x="507" y="304"/>
                      </a:lnTo>
                      <a:lnTo>
                        <a:pt x="507" y="308"/>
                      </a:lnTo>
                      <a:lnTo>
                        <a:pt x="507" y="312"/>
                      </a:lnTo>
                      <a:lnTo>
                        <a:pt x="507" y="314"/>
                      </a:lnTo>
                      <a:lnTo>
                        <a:pt x="539" y="319"/>
                      </a:lnTo>
                      <a:lnTo>
                        <a:pt x="555" y="321"/>
                      </a:lnTo>
                      <a:lnTo>
                        <a:pt x="559" y="323"/>
                      </a:lnTo>
                      <a:lnTo>
                        <a:pt x="561" y="323"/>
                      </a:lnTo>
                      <a:lnTo>
                        <a:pt x="562" y="325"/>
                      </a:lnTo>
                      <a:lnTo>
                        <a:pt x="562" y="325"/>
                      </a:lnTo>
                      <a:lnTo>
                        <a:pt x="562" y="327"/>
                      </a:lnTo>
                      <a:lnTo>
                        <a:pt x="562" y="327"/>
                      </a:lnTo>
                      <a:lnTo>
                        <a:pt x="561" y="328"/>
                      </a:lnTo>
                      <a:lnTo>
                        <a:pt x="561" y="328"/>
                      </a:lnTo>
                      <a:lnTo>
                        <a:pt x="559" y="332"/>
                      </a:lnTo>
                      <a:lnTo>
                        <a:pt x="559" y="336"/>
                      </a:lnTo>
                      <a:lnTo>
                        <a:pt x="559" y="340"/>
                      </a:lnTo>
                      <a:lnTo>
                        <a:pt x="559" y="340"/>
                      </a:lnTo>
                      <a:lnTo>
                        <a:pt x="557" y="345"/>
                      </a:lnTo>
                      <a:lnTo>
                        <a:pt x="557" y="345"/>
                      </a:lnTo>
                      <a:lnTo>
                        <a:pt x="561" y="345"/>
                      </a:lnTo>
                      <a:lnTo>
                        <a:pt x="564" y="345"/>
                      </a:lnTo>
                      <a:lnTo>
                        <a:pt x="564" y="345"/>
                      </a:lnTo>
                      <a:lnTo>
                        <a:pt x="564" y="341"/>
                      </a:lnTo>
                      <a:lnTo>
                        <a:pt x="564" y="338"/>
                      </a:lnTo>
                      <a:lnTo>
                        <a:pt x="564" y="334"/>
                      </a:lnTo>
                      <a:lnTo>
                        <a:pt x="564" y="330"/>
                      </a:lnTo>
                      <a:lnTo>
                        <a:pt x="566" y="330"/>
                      </a:lnTo>
                      <a:lnTo>
                        <a:pt x="568" y="328"/>
                      </a:lnTo>
                      <a:lnTo>
                        <a:pt x="572" y="328"/>
                      </a:lnTo>
                      <a:lnTo>
                        <a:pt x="574" y="328"/>
                      </a:lnTo>
                      <a:lnTo>
                        <a:pt x="577" y="338"/>
                      </a:lnTo>
                      <a:lnTo>
                        <a:pt x="579" y="347"/>
                      </a:lnTo>
                      <a:lnTo>
                        <a:pt x="583" y="356"/>
                      </a:lnTo>
                      <a:lnTo>
                        <a:pt x="585" y="367"/>
                      </a:lnTo>
                      <a:lnTo>
                        <a:pt x="592" y="365"/>
                      </a:lnTo>
                      <a:lnTo>
                        <a:pt x="596" y="365"/>
                      </a:lnTo>
                      <a:lnTo>
                        <a:pt x="596" y="378"/>
                      </a:lnTo>
                      <a:lnTo>
                        <a:pt x="596" y="388"/>
                      </a:lnTo>
                      <a:lnTo>
                        <a:pt x="594" y="397"/>
                      </a:lnTo>
                      <a:lnTo>
                        <a:pt x="594" y="402"/>
                      </a:lnTo>
                      <a:lnTo>
                        <a:pt x="592" y="410"/>
                      </a:lnTo>
                      <a:lnTo>
                        <a:pt x="590" y="417"/>
                      </a:lnTo>
                      <a:lnTo>
                        <a:pt x="588" y="426"/>
                      </a:lnTo>
                      <a:lnTo>
                        <a:pt x="586" y="436"/>
                      </a:lnTo>
                      <a:lnTo>
                        <a:pt x="568" y="436"/>
                      </a:lnTo>
                      <a:lnTo>
                        <a:pt x="557" y="437"/>
                      </a:lnTo>
                      <a:lnTo>
                        <a:pt x="555" y="437"/>
                      </a:lnTo>
                      <a:lnTo>
                        <a:pt x="555" y="437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43"/>
                      </a:lnTo>
                      <a:lnTo>
                        <a:pt x="553" y="443"/>
                      </a:lnTo>
                      <a:lnTo>
                        <a:pt x="562" y="443"/>
                      </a:lnTo>
                      <a:lnTo>
                        <a:pt x="570" y="443"/>
                      </a:lnTo>
                      <a:lnTo>
                        <a:pt x="579" y="443"/>
                      </a:lnTo>
                      <a:lnTo>
                        <a:pt x="588" y="443"/>
                      </a:lnTo>
                      <a:lnTo>
                        <a:pt x="596" y="443"/>
                      </a:lnTo>
                      <a:lnTo>
                        <a:pt x="605" y="443"/>
                      </a:lnTo>
                      <a:lnTo>
                        <a:pt x="614" y="443"/>
                      </a:lnTo>
                      <a:lnTo>
                        <a:pt x="622" y="443"/>
                      </a:lnTo>
                      <a:lnTo>
                        <a:pt x="623" y="443"/>
                      </a:lnTo>
                      <a:lnTo>
                        <a:pt x="620" y="437"/>
                      </a:lnTo>
                      <a:lnTo>
                        <a:pt x="618" y="436"/>
                      </a:lnTo>
                      <a:lnTo>
                        <a:pt x="618" y="436"/>
                      </a:lnTo>
                      <a:lnTo>
                        <a:pt x="616" y="432"/>
                      </a:lnTo>
                      <a:lnTo>
                        <a:pt x="614" y="428"/>
                      </a:lnTo>
                      <a:lnTo>
                        <a:pt x="625" y="428"/>
                      </a:lnTo>
                      <a:lnTo>
                        <a:pt x="634" y="430"/>
                      </a:lnTo>
                      <a:lnTo>
                        <a:pt x="642" y="430"/>
                      </a:lnTo>
                      <a:lnTo>
                        <a:pt x="647" y="430"/>
                      </a:lnTo>
                      <a:lnTo>
                        <a:pt x="653" y="432"/>
                      </a:lnTo>
                      <a:lnTo>
                        <a:pt x="658" y="432"/>
                      </a:lnTo>
                      <a:lnTo>
                        <a:pt x="664" y="434"/>
                      </a:lnTo>
                      <a:lnTo>
                        <a:pt x="671" y="437"/>
                      </a:lnTo>
                      <a:lnTo>
                        <a:pt x="673" y="437"/>
                      </a:lnTo>
                      <a:lnTo>
                        <a:pt x="673" y="439"/>
                      </a:lnTo>
                      <a:lnTo>
                        <a:pt x="673" y="439"/>
                      </a:lnTo>
                      <a:lnTo>
                        <a:pt x="673" y="439"/>
                      </a:lnTo>
                      <a:lnTo>
                        <a:pt x="671" y="441"/>
                      </a:lnTo>
                      <a:lnTo>
                        <a:pt x="671" y="441"/>
                      </a:lnTo>
                      <a:lnTo>
                        <a:pt x="673" y="443"/>
                      </a:lnTo>
                      <a:lnTo>
                        <a:pt x="673" y="445"/>
                      </a:lnTo>
                      <a:lnTo>
                        <a:pt x="675" y="447"/>
                      </a:lnTo>
                      <a:lnTo>
                        <a:pt x="677" y="443"/>
                      </a:lnTo>
                      <a:lnTo>
                        <a:pt x="677" y="443"/>
                      </a:lnTo>
                      <a:lnTo>
                        <a:pt x="684" y="443"/>
                      </a:lnTo>
                      <a:lnTo>
                        <a:pt x="684" y="443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2" y="439"/>
                      </a:lnTo>
                      <a:lnTo>
                        <a:pt x="692" y="439"/>
                      </a:lnTo>
                      <a:lnTo>
                        <a:pt x="692" y="439"/>
                      </a:lnTo>
                      <a:lnTo>
                        <a:pt x="692" y="436"/>
                      </a:lnTo>
                      <a:lnTo>
                        <a:pt x="692" y="436"/>
                      </a:lnTo>
                      <a:lnTo>
                        <a:pt x="688" y="436"/>
                      </a:lnTo>
                      <a:lnTo>
                        <a:pt x="684" y="436"/>
                      </a:lnTo>
                      <a:lnTo>
                        <a:pt x="681" y="436"/>
                      </a:lnTo>
                      <a:lnTo>
                        <a:pt x="677" y="436"/>
                      </a:lnTo>
                      <a:lnTo>
                        <a:pt x="677" y="434"/>
                      </a:lnTo>
                      <a:lnTo>
                        <a:pt x="677" y="434"/>
                      </a:lnTo>
                      <a:lnTo>
                        <a:pt x="675" y="434"/>
                      </a:lnTo>
                      <a:lnTo>
                        <a:pt x="688" y="432"/>
                      </a:lnTo>
                      <a:lnTo>
                        <a:pt x="701" y="430"/>
                      </a:lnTo>
                      <a:lnTo>
                        <a:pt x="716" y="428"/>
                      </a:lnTo>
                      <a:lnTo>
                        <a:pt x="729" y="426"/>
                      </a:lnTo>
                      <a:lnTo>
                        <a:pt x="729" y="430"/>
                      </a:lnTo>
                      <a:lnTo>
                        <a:pt x="729" y="434"/>
                      </a:lnTo>
                      <a:lnTo>
                        <a:pt x="727" y="434"/>
                      </a:lnTo>
                      <a:lnTo>
                        <a:pt x="727" y="434"/>
                      </a:lnTo>
                      <a:lnTo>
                        <a:pt x="725" y="436"/>
                      </a:lnTo>
                      <a:lnTo>
                        <a:pt x="725" y="436"/>
                      </a:lnTo>
                      <a:lnTo>
                        <a:pt x="725" y="443"/>
                      </a:lnTo>
                      <a:lnTo>
                        <a:pt x="725" y="443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8"/>
                      </a:lnTo>
                      <a:lnTo>
                        <a:pt x="725" y="448"/>
                      </a:lnTo>
                      <a:lnTo>
                        <a:pt x="727" y="448"/>
                      </a:lnTo>
                      <a:lnTo>
                        <a:pt x="729" y="448"/>
                      </a:lnTo>
                      <a:lnTo>
                        <a:pt x="730" y="448"/>
                      </a:lnTo>
                      <a:lnTo>
                        <a:pt x="730" y="443"/>
                      </a:lnTo>
                      <a:lnTo>
                        <a:pt x="730" y="439"/>
                      </a:lnTo>
                      <a:lnTo>
                        <a:pt x="730" y="437"/>
                      </a:lnTo>
                      <a:lnTo>
                        <a:pt x="732" y="437"/>
                      </a:lnTo>
                      <a:lnTo>
                        <a:pt x="738" y="436"/>
                      </a:lnTo>
                      <a:lnTo>
                        <a:pt x="745" y="436"/>
                      </a:lnTo>
                      <a:lnTo>
                        <a:pt x="751" y="436"/>
                      </a:lnTo>
                      <a:lnTo>
                        <a:pt x="756" y="436"/>
                      </a:lnTo>
                      <a:lnTo>
                        <a:pt x="758" y="439"/>
                      </a:lnTo>
                      <a:lnTo>
                        <a:pt x="758" y="443"/>
                      </a:lnTo>
                      <a:lnTo>
                        <a:pt x="760" y="447"/>
                      </a:lnTo>
                      <a:lnTo>
                        <a:pt x="762" y="448"/>
                      </a:lnTo>
                      <a:lnTo>
                        <a:pt x="762" y="448"/>
                      </a:lnTo>
                      <a:lnTo>
                        <a:pt x="764" y="452"/>
                      </a:lnTo>
                      <a:lnTo>
                        <a:pt x="764" y="452"/>
                      </a:lnTo>
                      <a:lnTo>
                        <a:pt x="765" y="454"/>
                      </a:lnTo>
                      <a:lnTo>
                        <a:pt x="767" y="456"/>
                      </a:lnTo>
                      <a:lnTo>
                        <a:pt x="769" y="456"/>
                      </a:lnTo>
                      <a:lnTo>
                        <a:pt x="773" y="458"/>
                      </a:lnTo>
                      <a:lnTo>
                        <a:pt x="769" y="461"/>
                      </a:lnTo>
                      <a:lnTo>
                        <a:pt x="767" y="465"/>
                      </a:lnTo>
                      <a:lnTo>
                        <a:pt x="767" y="465"/>
                      </a:lnTo>
                      <a:lnTo>
                        <a:pt x="765" y="469"/>
                      </a:lnTo>
                      <a:lnTo>
                        <a:pt x="764" y="472"/>
                      </a:lnTo>
                      <a:lnTo>
                        <a:pt x="758" y="478"/>
                      </a:lnTo>
                      <a:lnTo>
                        <a:pt x="753" y="483"/>
                      </a:lnTo>
                      <a:lnTo>
                        <a:pt x="747" y="489"/>
                      </a:lnTo>
                      <a:lnTo>
                        <a:pt x="743" y="495"/>
                      </a:lnTo>
                      <a:lnTo>
                        <a:pt x="742" y="498"/>
                      </a:lnTo>
                      <a:lnTo>
                        <a:pt x="738" y="504"/>
                      </a:lnTo>
                      <a:lnTo>
                        <a:pt x="736" y="507"/>
                      </a:lnTo>
                      <a:lnTo>
                        <a:pt x="736" y="507"/>
                      </a:lnTo>
                      <a:lnTo>
                        <a:pt x="734" y="511"/>
                      </a:lnTo>
                      <a:lnTo>
                        <a:pt x="730" y="511"/>
                      </a:lnTo>
                      <a:lnTo>
                        <a:pt x="727" y="509"/>
                      </a:lnTo>
                      <a:lnTo>
                        <a:pt x="727" y="509"/>
                      </a:lnTo>
                      <a:lnTo>
                        <a:pt x="725" y="509"/>
                      </a:lnTo>
                      <a:lnTo>
                        <a:pt x="721" y="509"/>
                      </a:lnTo>
                      <a:lnTo>
                        <a:pt x="721" y="509"/>
                      </a:lnTo>
                      <a:lnTo>
                        <a:pt x="719" y="511"/>
                      </a:lnTo>
                      <a:lnTo>
                        <a:pt x="719" y="511"/>
                      </a:lnTo>
                      <a:lnTo>
                        <a:pt x="718" y="511"/>
                      </a:lnTo>
                      <a:lnTo>
                        <a:pt x="718" y="511"/>
                      </a:lnTo>
                      <a:lnTo>
                        <a:pt x="716" y="513"/>
                      </a:lnTo>
                      <a:lnTo>
                        <a:pt x="712" y="515"/>
                      </a:lnTo>
                      <a:lnTo>
                        <a:pt x="712" y="517"/>
                      </a:lnTo>
                      <a:lnTo>
                        <a:pt x="718" y="517"/>
                      </a:lnTo>
                      <a:lnTo>
                        <a:pt x="721" y="517"/>
                      </a:lnTo>
                      <a:lnTo>
                        <a:pt x="725" y="519"/>
                      </a:lnTo>
                      <a:lnTo>
                        <a:pt x="729" y="519"/>
                      </a:lnTo>
                      <a:lnTo>
                        <a:pt x="729" y="526"/>
                      </a:lnTo>
                      <a:lnTo>
                        <a:pt x="727" y="533"/>
                      </a:lnTo>
                      <a:lnTo>
                        <a:pt x="727" y="533"/>
                      </a:lnTo>
                      <a:lnTo>
                        <a:pt x="727" y="541"/>
                      </a:lnTo>
                      <a:lnTo>
                        <a:pt x="727" y="548"/>
                      </a:lnTo>
                      <a:lnTo>
                        <a:pt x="729" y="565"/>
                      </a:lnTo>
                      <a:lnTo>
                        <a:pt x="730" y="579"/>
                      </a:lnTo>
                      <a:lnTo>
                        <a:pt x="732" y="596"/>
                      </a:lnTo>
                      <a:lnTo>
                        <a:pt x="734" y="613"/>
                      </a:lnTo>
                      <a:lnTo>
                        <a:pt x="734" y="620"/>
                      </a:lnTo>
                      <a:lnTo>
                        <a:pt x="736" y="627"/>
                      </a:lnTo>
                      <a:lnTo>
                        <a:pt x="736" y="635"/>
                      </a:lnTo>
                      <a:lnTo>
                        <a:pt x="736" y="637"/>
                      </a:lnTo>
                      <a:lnTo>
                        <a:pt x="736" y="637"/>
                      </a:lnTo>
                      <a:lnTo>
                        <a:pt x="736" y="639"/>
                      </a:lnTo>
                      <a:lnTo>
                        <a:pt x="736" y="640"/>
                      </a:lnTo>
                      <a:lnTo>
                        <a:pt x="736" y="644"/>
                      </a:lnTo>
                      <a:lnTo>
                        <a:pt x="736" y="644"/>
                      </a:lnTo>
                      <a:lnTo>
                        <a:pt x="736" y="637"/>
                      </a:lnTo>
                      <a:lnTo>
                        <a:pt x="736" y="635"/>
                      </a:lnTo>
                      <a:lnTo>
                        <a:pt x="736" y="627"/>
                      </a:lnTo>
                      <a:lnTo>
                        <a:pt x="736" y="620"/>
                      </a:lnTo>
                      <a:lnTo>
                        <a:pt x="736" y="613"/>
                      </a:lnTo>
                      <a:lnTo>
                        <a:pt x="736" y="613"/>
                      </a:lnTo>
                      <a:lnTo>
                        <a:pt x="734" y="596"/>
                      </a:lnTo>
                      <a:lnTo>
                        <a:pt x="732" y="579"/>
                      </a:lnTo>
                      <a:lnTo>
                        <a:pt x="730" y="565"/>
                      </a:lnTo>
                      <a:lnTo>
                        <a:pt x="729" y="548"/>
                      </a:lnTo>
                      <a:lnTo>
                        <a:pt x="729" y="541"/>
                      </a:lnTo>
                      <a:lnTo>
                        <a:pt x="729" y="533"/>
                      </a:lnTo>
                      <a:lnTo>
                        <a:pt x="729" y="526"/>
                      </a:lnTo>
                      <a:lnTo>
                        <a:pt x="730" y="519"/>
                      </a:lnTo>
                      <a:lnTo>
                        <a:pt x="730" y="517"/>
                      </a:lnTo>
                      <a:lnTo>
                        <a:pt x="725" y="517"/>
                      </a:lnTo>
                      <a:lnTo>
                        <a:pt x="721" y="515"/>
                      </a:lnTo>
                      <a:lnTo>
                        <a:pt x="718" y="515"/>
                      </a:lnTo>
                      <a:lnTo>
                        <a:pt x="718" y="515"/>
                      </a:lnTo>
                      <a:lnTo>
                        <a:pt x="716" y="515"/>
                      </a:lnTo>
                      <a:lnTo>
                        <a:pt x="716" y="515"/>
                      </a:lnTo>
                      <a:lnTo>
                        <a:pt x="718" y="513"/>
                      </a:lnTo>
                      <a:lnTo>
                        <a:pt x="719" y="511"/>
                      </a:lnTo>
                      <a:lnTo>
                        <a:pt x="721" y="511"/>
                      </a:lnTo>
                      <a:lnTo>
                        <a:pt x="725" y="511"/>
                      </a:lnTo>
                      <a:lnTo>
                        <a:pt x="727" y="511"/>
                      </a:lnTo>
                      <a:lnTo>
                        <a:pt x="730" y="513"/>
                      </a:lnTo>
                      <a:lnTo>
                        <a:pt x="734" y="513"/>
                      </a:lnTo>
                      <a:lnTo>
                        <a:pt x="736" y="513"/>
                      </a:lnTo>
                      <a:lnTo>
                        <a:pt x="738" y="507"/>
                      </a:lnTo>
                      <a:lnTo>
                        <a:pt x="740" y="504"/>
                      </a:lnTo>
                      <a:lnTo>
                        <a:pt x="742" y="500"/>
                      </a:lnTo>
                      <a:lnTo>
                        <a:pt x="745" y="496"/>
                      </a:lnTo>
                      <a:lnTo>
                        <a:pt x="749" y="491"/>
                      </a:lnTo>
                      <a:lnTo>
                        <a:pt x="754" y="483"/>
                      </a:lnTo>
                      <a:lnTo>
                        <a:pt x="758" y="480"/>
                      </a:lnTo>
                      <a:lnTo>
                        <a:pt x="764" y="472"/>
                      </a:lnTo>
                      <a:lnTo>
                        <a:pt x="767" y="471"/>
                      </a:lnTo>
                      <a:lnTo>
                        <a:pt x="767" y="471"/>
                      </a:lnTo>
                      <a:lnTo>
                        <a:pt x="769" y="467"/>
                      </a:lnTo>
                      <a:lnTo>
                        <a:pt x="771" y="463"/>
                      </a:lnTo>
                      <a:lnTo>
                        <a:pt x="771" y="463"/>
                      </a:lnTo>
                      <a:lnTo>
                        <a:pt x="773" y="458"/>
                      </a:lnTo>
                      <a:lnTo>
                        <a:pt x="775" y="458"/>
                      </a:lnTo>
                      <a:lnTo>
                        <a:pt x="769" y="456"/>
                      </a:lnTo>
                      <a:lnTo>
                        <a:pt x="767" y="452"/>
                      </a:lnTo>
                      <a:lnTo>
                        <a:pt x="764" y="450"/>
                      </a:lnTo>
                      <a:lnTo>
                        <a:pt x="762" y="448"/>
                      </a:lnTo>
                      <a:lnTo>
                        <a:pt x="762" y="445"/>
                      </a:lnTo>
                      <a:lnTo>
                        <a:pt x="762" y="445"/>
                      </a:lnTo>
                      <a:lnTo>
                        <a:pt x="760" y="443"/>
                      </a:lnTo>
                      <a:lnTo>
                        <a:pt x="760" y="439"/>
                      </a:lnTo>
                      <a:lnTo>
                        <a:pt x="758" y="434"/>
                      </a:lnTo>
                      <a:lnTo>
                        <a:pt x="758" y="434"/>
                      </a:lnTo>
                      <a:lnTo>
                        <a:pt x="751" y="434"/>
                      </a:lnTo>
                      <a:lnTo>
                        <a:pt x="745" y="434"/>
                      </a:lnTo>
                      <a:lnTo>
                        <a:pt x="738" y="436"/>
                      </a:lnTo>
                      <a:lnTo>
                        <a:pt x="732" y="436"/>
                      </a:lnTo>
                      <a:lnTo>
                        <a:pt x="732" y="436"/>
                      </a:lnTo>
                      <a:lnTo>
                        <a:pt x="730" y="437"/>
                      </a:lnTo>
                      <a:lnTo>
                        <a:pt x="730" y="437"/>
                      </a:lnTo>
                      <a:lnTo>
                        <a:pt x="729" y="439"/>
                      </a:lnTo>
                      <a:lnTo>
                        <a:pt x="729" y="439"/>
                      </a:lnTo>
                      <a:lnTo>
                        <a:pt x="729" y="443"/>
                      </a:lnTo>
                      <a:lnTo>
                        <a:pt x="729" y="447"/>
                      </a:lnTo>
                      <a:lnTo>
                        <a:pt x="727" y="447"/>
                      </a:lnTo>
                      <a:lnTo>
                        <a:pt x="727" y="447"/>
                      </a:lnTo>
                      <a:lnTo>
                        <a:pt x="725" y="447"/>
                      </a:lnTo>
                      <a:lnTo>
                        <a:pt x="725" y="445"/>
                      </a:lnTo>
                      <a:lnTo>
                        <a:pt x="725" y="443"/>
                      </a:lnTo>
                      <a:lnTo>
                        <a:pt x="727" y="436"/>
                      </a:lnTo>
                      <a:lnTo>
                        <a:pt x="729" y="436"/>
                      </a:lnTo>
                      <a:lnTo>
                        <a:pt x="729" y="434"/>
                      </a:lnTo>
                      <a:lnTo>
                        <a:pt x="730" y="434"/>
                      </a:lnTo>
                      <a:lnTo>
                        <a:pt x="730" y="430"/>
                      </a:lnTo>
                      <a:lnTo>
                        <a:pt x="730" y="424"/>
                      </a:lnTo>
                      <a:lnTo>
                        <a:pt x="730" y="424"/>
                      </a:lnTo>
                      <a:lnTo>
                        <a:pt x="716" y="426"/>
                      </a:lnTo>
                      <a:lnTo>
                        <a:pt x="701" y="428"/>
                      </a:lnTo>
                      <a:lnTo>
                        <a:pt x="688" y="430"/>
                      </a:lnTo>
                      <a:lnTo>
                        <a:pt x="673" y="434"/>
                      </a:lnTo>
                      <a:lnTo>
                        <a:pt x="675" y="436"/>
                      </a:lnTo>
                      <a:lnTo>
                        <a:pt x="677" y="437"/>
                      </a:lnTo>
                      <a:lnTo>
                        <a:pt x="677" y="437"/>
                      </a:lnTo>
                      <a:lnTo>
                        <a:pt x="681" y="437"/>
                      </a:lnTo>
                      <a:lnTo>
                        <a:pt x="684" y="437"/>
                      </a:lnTo>
                      <a:lnTo>
                        <a:pt x="688" y="437"/>
                      </a:lnTo>
                      <a:lnTo>
                        <a:pt x="690" y="437"/>
                      </a:lnTo>
                      <a:lnTo>
                        <a:pt x="690" y="437"/>
                      </a:lnTo>
                      <a:lnTo>
                        <a:pt x="690" y="439"/>
                      </a:lnTo>
                      <a:lnTo>
                        <a:pt x="690" y="439"/>
                      </a:lnTo>
                      <a:lnTo>
                        <a:pt x="688" y="441"/>
                      </a:lnTo>
                      <a:lnTo>
                        <a:pt x="684" y="441"/>
                      </a:lnTo>
                      <a:lnTo>
                        <a:pt x="677" y="441"/>
                      </a:lnTo>
                      <a:lnTo>
                        <a:pt x="677" y="441"/>
                      </a:lnTo>
                      <a:lnTo>
                        <a:pt x="675" y="443"/>
                      </a:lnTo>
                      <a:lnTo>
                        <a:pt x="675" y="443"/>
                      </a:lnTo>
                      <a:lnTo>
                        <a:pt x="673" y="443"/>
                      </a:lnTo>
                      <a:lnTo>
                        <a:pt x="673" y="441"/>
                      </a:lnTo>
                      <a:lnTo>
                        <a:pt x="673" y="441"/>
                      </a:lnTo>
                      <a:lnTo>
                        <a:pt x="675" y="439"/>
                      </a:lnTo>
                      <a:lnTo>
                        <a:pt x="675" y="439"/>
                      </a:lnTo>
                      <a:lnTo>
                        <a:pt x="673" y="437"/>
                      </a:lnTo>
                      <a:lnTo>
                        <a:pt x="671" y="436"/>
                      </a:lnTo>
                      <a:lnTo>
                        <a:pt x="671" y="436"/>
                      </a:lnTo>
                      <a:lnTo>
                        <a:pt x="664" y="434"/>
                      </a:lnTo>
                      <a:lnTo>
                        <a:pt x="658" y="432"/>
                      </a:lnTo>
                      <a:lnTo>
                        <a:pt x="653" y="430"/>
                      </a:lnTo>
                      <a:lnTo>
                        <a:pt x="647" y="428"/>
                      </a:lnTo>
                      <a:lnTo>
                        <a:pt x="647" y="428"/>
                      </a:lnTo>
                      <a:lnTo>
                        <a:pt x="642" y="428"/>
                      </a:lnTo>
                      <a:lnTo>
                        <a:pt x="642" y="428"/>
                      </a:lnTo>
                      <a:lnTo>
                        <a:pt x="634" y="428"/>
                      </a:lnTo>
                      <a:lnTo>
                        <a:pt x="625" y="428"/>
                      </a:lnTo>
                      <a:lnTo>
                        <a:pt x="612" y="428"/>
                      </a:lnTo>
                      <a:lnTo>
                        <a:pt x="614" y="432"/>
                      </a:lnTo>
                      <a:lnTo>
                        <a:pt x="614" y="432"/>
                      </a:lnTo>
                      <a:lnTo>
                        <a:pt x="618" y="436"/>
                      </a:lnTo>
                      <a:lnTo>
                        <a:pt x="620" y="439"/>
                      </a:lnTo>
                      <a:lnTo>
                        <a:pt x="620" y="439"/>
                      </a:lnTo>
                      <a:lnTo>
                        <a:pt x="622" y="441"/>
                      </a:lnTo>
                      <a:lnTo>
                        <a:pt x="614" y="441"/>
                      </a:lnTo>
                      <a:lnTo>
                        <a:pt x="605" y="441"/>
                      </a:lnTo>
                      <a:lnTo>
                        <a:pt x="596" y="441"/>
                      </a:lnTo>
                      <a:lnTo>
                        <a:pt x="588" y="441"/>
                      </a:lnTo>
                      <a:lnTo>
                        <a:pt x="579" y="441"/>
                      </a:lnTo>
                      <a:lnTo>
                        <a:pt x="570" y="441"/>
                      </a:lnTo>
                      <a:lnTo>
                        <a:pt x="562" y="441"/>
                      </a:lnTo>
                      <a:lnTo>
                        <a:pt x="555" y="441"/>
                      </a:lnTo>
                      <a:lnTo>
                        <a:pt x="555" y="441"/>
                      </a:lnTo>
                      <a:lnTo>
                        <a:pt x="555" y="439"/>
                      </a:lnTo>
                      <a:lnTo>
                        <a:pt x="555" y="439"/>
                      </a:lnTo>
                      <a:lnTo>
                        <a:pt x="559" y="439"/>
                      </a:lnTo>
                      <a:lnTo>
                        <a:pt x="568" y="437"/>
                      </a:lnTo>
                      <a:lnTo>
                        <a:pt x="586" y="437"/>
                      </a:lnTo>
                      <a:lnTo>
                        <a:pt x="590" y="426"/>
                      </a:lnTo>
                      <a:lnTo>
                        <a:pt x="592" y="417"/>
                      </a:lnTo>
                      <a:lnTo>
                        <a:pt x="594" y="410"/>
                      </a:lnTo>
                      <a:lnTo>
                        <a:pt x="594" y="402"/>
                      </a:lnTo>
                      <a:lnTo>
                        <a:pt x="596" y="397"/>
                      </a:lnTo>
                      <a:lnTo>
                        <a:pt x="596" y="388"/>
                      </a:lnTo>
                      <a:lnTo>
                        <a:pt x="598" y="378"/>
                      </a:lnTo>
                      <a:lnTo>
                        <a:pt x="598" y="365"/>
                      </a:lnTo>
                      <a:lnTo>
                        <a:pt x="592" y="365"/>
                      </a:lnTo>
                      <a:lnTo>
                        <a:pt x="586" y="365"/>
                      </a:lnTo>
                      <a:lnTo>
                        <a:pt x="585" y="356"/>
                      </a:lnTo>
                      <a:lnTo>
                        <a:pt x="581" y="347"/>
                      </a:lnTo>
                      <a:lnTo>
                        <a:pt x="579" y="338"/>
                      </a:lnTo>
                      <a:lnTo>
                        <a:pt x="575" y="327"/>
                      </a:lnTo>
                      <a:lnTo>
                        <a:pt x="572" y="327"/>
                      </a:lnTo>
                      <a:lnTo>
                        <a:pt x="566" y="327"/>
                      </a:lnTo>
                      <a:lnTo>
                        <a:pt x="566" y="327"/>
                      </a:lnTo>
                      <a:lnTo>
                        <a:pt x="564" y="328"/>
                      </a:lnTo>
                      <a:lnTo>
                        <a:pt x="564" y="328"/>
                      </a:lnTo>
                      <a:lnTo>
                        <a:pt x="564" y="330"/>
                      </a:lnTo>
                      <a:lnTo>
                        <a:pt x="564" y="330"/>
                      </a:lnTo>
                      <a:lnTo>
                        <a:pt x="564" y="334"/>
                      </a:lnTo>
                      <a:lnTo>
                        <a:pt x="564" y="338"/>
                      </a:lnTo>
                      <a:lnTo>
                        <a:pt x="564" y="341"/>
                      </a:lnTo>
                      <a:lnTo>
                        <a:pt x="564" y="343"/>
                      </a:lnTo>
                      <a:lnTo>
                        <a:pt x="561" y="343"/>
                      </a:lnTo>
                      <a:lnTo>
                        <a:pt x="559" y="343"/>
                      </a:lnTo>
                      <a:lnTo>
                        <a:pt x="559" y="340"/>
                      </a:lnTo>
                      <a:lnTo>
                        <a:pt x="561" y="336"/>
                      </a:lnTo>
                      <a:lnTo>
                        <a:pt x="561" y="332"/>
                      </a:lnTo>
                      <a:lnTo>
                        <a:pt x="562" y="328"/>
                      </a:lnTo>
                      <a:lnTo>
                        <a:pt x="562" y="327"/>
                      </a:lnTo>
                      <a:lnTo>
                        <a:pt x="564" y="325"/>
                      </a:lnTo>
                      <a:lnTo>
                        <a:pt x="566" y="325"/>
                      </a:lnTo>
                      <a:lnTo>
                        <a:pt x="564" y="323"/>
                      </a:lnTo>
                      <a:lnTo>
                        <a:pt x="564" y="323"/>
                      </a:lnTo>
                      <a:lnTo>
                        <a:pt x="562" y="321"/>
                      </a:lnTo>
                      <a:lnTo>
                        <a:pt x="562" y="321"/>
                      </a:lnTo>
                      <a:lnTo>
                        <a:pt x="559" y="321"/>
                      </a:lnTo>
                      <a:lnTo>
                        <a:pt x="555" y="319"/>
                      </a:lnTo>
                      <a:lnTo>
                        <a:pt x="539" y="317"/>
                      </a:lnTo>
                      <a:lnTo>
                        <a:pt x="509" y="312"/>
                      </a:lnTo>
                      <a:lnTo>
                        <a:pt x="509" y="308"/>
                      </a:lnTo>
                      <a:lnTo>
                        <a:pt x="509" y="304"/>
                      </a:lnTo>
                      <a:lnTo>
                        <a:pt x="509" y="299"/>
                      </a:lnTo>
                      <a:lnTo>
                        <a:pt x="509" y="295"/>
                      </a:lnTo>
                      <a:lnTo>
                        <a:pt x="509" y="295"/>
                      </a:lnTo>
                      <a:lnTo>
                        <a:pt x="505" y="292"/>
                      </a:lnTo>
                      <a:lnTo>
                        <a:pt x="502" y="290"/>
                      </a:lnTo>
                      <a:lnTo>
                        <a:pt x="496" y="288"/>
                      </a:lnTo>
                      <a:lnTo>
                        <a:pt x="494" y="288"/>
                      </a:lnTo>
                      <a:lnTo>
                        <a:pt x="498" y="286"/>
                      </a:lnTo>
                      <a:lnTo>
                        <a:pt x="503" y="284"/>
                      </a:lnTo>
                      <a:lnTo>
                        <a:pt x="509" y="284"/>
                      </a:lnTo>
                      <a:lnTo>
                        <a:pt x="515" y="282"/>
                      </a:lnTo>
                      <a:lnTo>
                        <a:pt x="516" y="282"/>
                      </a:lnTo>
                      <a:lnTo>
                        <a:pt x="511" y="277"/>
                      </a:lnTo>
                      <a:lnTo>
                        <a:pt x="507" y="273"/>
                      </a:lnTo>
                      <a:lnTo>
                        <a:pt x="511" y="273"/>
                      </a:lnTo>
                      <a:lnTo>
                        <a:pt x="515" y="273"/>
                      </a:lnTo>
                      <a:lnTo>
                        <a:pt x="516" y="277"/>
                      </a:lnTo>
                      <a:lnTo>
                        <a:pt x="520" y="280"/>
                      </a:lnTo>
                      <a:lnTo>
                        <a:pt x="522" y="286"/>
                      </a:lnTo>
                      <a:lnTo>
                        <a:pt x="526" y="290"/>
                      </a:lnTo>
                      <a:lnTo>
                        <a:pt x="526" y="292"/>
                      </a:lnTo>
                      <a:lnTo>
                        <a:pt x="539" y="292"/>
                      </a:lnTo>
                      <a:lnTo>
                        <a:pt x="550" y="293"/>
                      </a:lnTo>
                      <a:lnTo>
                        <a:pt x="562" y="295"/>
                      </a:lnTo>
                      <a:lnTo>
                        <a:pt x="575" y="295"/>
                      </a:lnTo>
                      <a:lnTo>
                        <a:pt x="577" y="280"/>
                      </a:lnTo>
                      <a:lnTo>
                        <a:pt x="579" y="269"/>
                      </a:lnTo>
                      <a:lnTo>
                        <a:pt x="581" y="262"/>
                      </a:lnTo>
                      <a:lnTo>
                        <a:pt x="583" y="258"/>
                      </a:lnTo>
                      <a:lnTo>
                        <a:pt x="583" y="253"/>
                      </a:lnTo>
                      <a:lnTo>
                        <a:pt x="585" y="249"/>
                      </a:lnTo>
                      <a:lnTo>
                        <a:pt x="586" y="244"/>
                      </a:lnTo>
                      <a:lnTo>
                        <a:pt x="588" y="240"/>
                      </a:lnTo>
                      <a:lnTo>
                        <a:pt x="592" y="236"/>
                      </a:lnTo>
                      <a:lnTo>
                        <a:pt x="594" y="231"/>
                      </a:lnTo>
                      <a:lnTo>
                        <a:pt x="598" y="227"/>
                      </a:lnTo>
                      <a:lnTo>
                        <a:pt x="601" y="221"/>
                      </a:lnTo>
                      <a:lnTo>
                        <a:pt x="605" y="216"/>
                      </a:lnTo>
                      <a:lnTo>
                        <a:pt x="610" y="210"/>
                      </a:lnTo>
                      <a:lnTo>
                        <a:pt x="618" y="214"/>
                      </a:lnTo>
                      <a:lnTo>
                        <a:pt x="623" y="216"/>
                      </a:lnTo>
                      <a:lnTo>
                        <a:pt x="623" y="216"/>
                      </a:lnTo>
                      <a:lnTo>
                        <a:pt x="629" y="216"/>
                      </a:lnTo>
                      <a:lnTo>
                        <a:pt x="629" y="216"/>
                      </a:lnTo>
                      <a:lnTo>
                        <a:pt x="634" y="216"/>
                      </a:lnTo>
                      <a:lnTo>
                        <a:pt x="634" y="216"/>
                      </a:lnTo>
                      <a:lnTo>
                        <a:pt x="638" y="216"/>
                      </a:lnTo>
                      <a:lnTo>
                        <a:pt x="638" y="216"/>
                      </a:lnTo>
                      <a:lnTo>
                        <a:pt x="642" y="214"/>
                      </a:lnTo>
                      <a:lnTo>
                        <a:pt x="642" y="214"/>
                      </a:lnTo>
                      <a:lnTo>
                        <a:pt x="646" y="214"/>
                      </a:lnTo>
                      <a:lnTo>
                        <a:pt x="646" y="214"/>
                      </a:lnTo>
                      <a:lnTo>
                        <a:pt x="649" y="210"/>
                      </a:lnTo>
                      <a:lnTo>
                        <a:pt x="649" y="210"/>
                      </a:lnTo>
                      <a:lnTo>
                        <a:pt x="653" y="209"/>
                      </a:lnTo>
                      <a:lnTo>
                        <a:pt x="655" y="205"/>
                      </a:lnTo>
                      <a:lnTo>
                        <a:pt x="655" y="205"/>
                      </a:lnTo>
                      <a:lnTo>
                        <a:pt x="658" y="201"/>
                      </a:lnTo>
                      <a:lnTo>
                        <a:pt x="662" y="197"/>
                      </a:lnTo>
                      <a:lnTo>
                        <a:pt x="668" y="190"/>
                      </a:lnTo>
                      <a:lnTo>
                        <a:pt x="675" y="181"/>
                      </a:lnTo>
                      <a:lnTo>
                        <a:pt x="686" y="177"/>
                      </a:lnTo>
                      <a:lnTo>
                        <a:pt x="697" y="173"/>
                      </a:lnTo>
                      <a:lnTo>
                        <a:pt x="701" y="172"/>
                      </a:lnTo>
                      <a:lnTo>
                        <a:pt x="701" y="172"/>
                      </a:lnTo>
                      <a:lnTo>
                        <a:pt x="705" y="170"/>
                      </a:lnTo>
                      <a:lnTo>
                        <a:pt x="706" y="168"/>
                      </a:lnTo>
                      <a:lnTo>
                        <a:pt x="706" y="168"/>
                      </a:lnTo>
                      <a:lnTo>
                        <a:pt x="708" y="166"/>
                      </a:lnTo>
                      <a:lnTo>
                        <a:pt x="710" y="164"/>
                      </a:lnTo>
                      <a:lnTo>
                        <a:pt x="712" y="161"/>
                      </a:lnTo>
                      <a:lnTo>
                        <a:pt x="712" y="161"/>
                      </a:lnTo>
                      <a:lnTo>
                        <a:pt x="710" y="159"/>
                      </a:lnTo>
                      <a:lnTo>
                        <a:pt x="710" y="159"/>
                      </a:lnTo>
                      <a:lnTo>
                        <a:pt x="708" y="157"/>
                      </a:lnTo>
                      <a:lnTo>
                        <a:pt x="706" y="157"/>
                      </a:lnTo>
                      <a:lnTo>
                        <a:pt x="705" y="157"/>
                      </a:lnTo>
                      <a:lnTo>
                        <a:pt x="705" y="157"/>
                      </a:lnTo>
                      <a:lnTo>
                        <a:pt x="703" y="157"/>
                      </a:lnTo>
                      <a:lnTo>
                        <a:pt x="703" y="157"/>
                      </a:lnTo>
                      <a:lnTo>
                        <a:pt x="701" y="157"/>
                      </a:lnTo>
                      <a:lnTo>
                        <a:pt x="701" y="155"/>
                      </a:lnTo>
                      <a:lnTo>
                        <a:pt x="701" y="155"/>
                      </a:lnTo>
                      <a:lnTo>
                        <a:pt x="701" y="153"/>
                      </a:lnTo>
                      <a:lnTo>
                        <a:pt x="706" y="155"/>
                      </a:lnTo>
                      <a:lnTo>
                        <a:pt x="710" y="155"/>
                      </a:lnTo>
                      <a:lnTo>
                        <a:pt x="712" y="157"/>
                      </a:lnTo>
                      <a:lnTo>
                        <a:pt x="712" y="157"/>
                      </a:lnTo>
                      <a:lnTo>
                        <a:pt x="714" y="159"/>
                      </a:lnTo>
                      <a:lnTo>
                        <a:pt x="714" y="161"/>
                      </a:lnTo>
                      <a:lnTo>
                        <a:pt x="716" y="153"/>
                      </a:lnTo>
                      <a:lnTo>
                        <a:pt x="716" y="149"/>
                      </a:lnTo>
                      <a:lnTo>
                        <a:pt x="716" y="149"/>
                      </a:lnTo>
                      <a:lnTo>
                        <a:pt x="718" y="144"/>
                      </a:lnTo>
                      <a:lnTo>
                        <a:pt x="718" y="140"/>
                      </a:lnTo>
                      <a:lnTo>
                        <a:pt x="719" y="140"/>
                      </a:lnTo>
                      <a:lnTo>
                        <a:pt x="716" y="138"/>
                      </a:lnTo>
                      <a:lnTo>
                        <a:pt x="712" y="137"/>
                      </a:lnTo>
                      <a:lnTo>
                        <a:pt x="712" y="137"/>
                      </a:lnTo>
                      <a:lnTo>
                        <a:pt x="708" y="137"/>
                      </a:lnTo>
                      <a:lnTo>
                        <a:pt x="706" y="137"/>
                      </a:lnTo>
                      <a:lnTo>
                        <a:pt x="706" y="135"/>
                      </a:lnTo>
                      <a:lnTo>
                        <a:pt x="706" y="135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10" y="133"/>
                      </a:lnTo>
                      <a:lnTo>
                        <a:pt x="716" y="131"/>
                      </a:lnTo>
                      <a:lnTo>
                        <a:pt x="718" y="131"/>
                      </a:lnTo>
                      <a:lnTo>
                        <a:pt x="716" y="127"/>
                      </a:lnTo>
                      <a:lnTo>
                        <a:pt x="716" y="124"/>
                      </a:lnTo>
                      <a:lnTo>
                        <a:pt x="714" y="120"/>
                      </a:lnTo>
                      <a:lnTo>
                        <a:pt x="714" y="120"/>
                      </a:lnTo>
                      <a:lnTo>
                        <a:pt x="714" y="114"/>
                      </a:lnTo>
                      <a:lnTo>
                        <a:pt x="712" y="114"/>
                      </a:lnTo>
                      <a:lnTo>
                        <a:pt x="708" y="116"/>
                      </a:lnTo>
                      <a:lnTo>
                        <a:pt x="703" y="118"/>
                      </a:lnTo>
                      <a:lnTo>
                        <a:pt x="699" y="120"/>
                      </a:lnTo>
                      <a:lnTo>
                        <a:pt x="695" y="122"/>
                      </a:lnTo>
                      <a:lnTo>
                        <a:pt x="694" y="124"/>
                      </a:lnTo>
                      <a:lnTo>
                        <a:pt x="695" y="124"/>
                      </a:lnTo>
                      <a:lnTo>
                        <a:pt x="697" y="125"/>
                      </a:lnTo>
                      <a:lnTo>
                        <a:pt x="697" y="127"/>
                      </a:lnTo>
                      <a:lnTo>
                        <a:pt x="697" y="131"/>
                      </a:lnTo>
                      <a:lnTo>
                        <a:pt x="695" y="131"/>
                      </a:lnTo>
                      <a:lnTo>
                        <a:pt x="695" y="131"/>
                      </a:lnTo>
                      <a:lnTo>
                        <a:pt x="695" y="133"/>
                      </a:lnTo>
                      <a:lnTo>
                        <a:pt x="690" y="135"/>
                      </a:lnTo>
                      <a:lnTo>
                        <a:pt x="684" y="135"/>
                      </a:lnTo>
                      <a:lnTo>
                        <a:pt x="684" y="133"/>
                      </a:lnTo>
                      <a:lnTo>
                        <a:pt x="684" y="127"/>
                      </a:lnTo>
                      <a:lnTo>
                        <a:pt x="684" y="127"/>
                      </a:lnTo>
                      <a:lnTo>
                        <a:pt x="682" y="125"/>
                      </a:lnTo>
                      <a:lnTo>
                        <a:pt x="682" y="125"/>
                      </a:lnTo>
                      <a:lnTo>
                        <a:pt x="681" y="124"/>
                      </a:lnTo>
                      <a:lnTo>
                        <a:pt x="679" y="131"/>
                      </a:lnTo>
                      <a:lnTo>
                        <a:pt x="679" y="131"/>
                      </a:lnTo>
                      <a:lnTo>
                        <a:pt x="677" y="137"/>
                      </a:lnTo>
                      <a:lnTo>
                        <a:pt x="677" y="137"/>
                      </a:lnTo>
                      <a:lnTo>
                        <a:pt x="675" y="135"/>
                      </a:lnTo>
                      <a:lnTo>
                        <a:pt x="675" y="135"/>
                      </a:lnTo>
                      <a:lnTo>
                        <a:pt x="673" y="133"/>
                      </a:lnTo>
                      <a:lnTo>
                        <a:pt x="673" y="122"/>
                      </a:lnTo>
                      <a:lnTo>
                        <a:pt x="673" y="103"/>
                      </a:lnTo>
                      <a:lnTo>
                        <a:pt x="666" y="101"/>
                      </a:lnTo>
                      <a:lnTo>
                        <a:pt x="658" y="100"/>
                      </a:lnTo>
                      <a:lnTo>
                        <a:pt x="653" y="98"/>
                      </a:lnTo>
                      <a:lnTo>
                        <a:pt x="647" y="98"/>
                      </a:lnTo>
                      <a:lnTo>
                        <a:pt x="634" y="98"/>
                      </a:lnTo>
                      <a:lnTo>
                        <a:pt x="620" y="98"/>
                      </a:lnTo>
                      <a:lnTo>
                        <a:pt x="618" y="100"/>
                      </a:lnTo>
                      <a:lnTo>
                        <a:pt x="618" y="100"/>
                      </a:lnTo>
                      <a:lnTo>
                        <a:pt x="618" y="101"/>
                      </a:lnTo>
                      <a:lnTo>
                        <a:pt x="618" y="101"/>
                      </a:lnTo>
                      <a:lnTo>
                        <a:pt x="618" y="103"/>
                      </a:lnTo>
                      <a:lnTo>
                        <a:pt x="618" y="107"/>
                      </a:lnTo>
                      <a:lnTo>
                        <a:pt x="618" y="107"/>
                      </a:lnTo>
                      <a:lnTo>
                        <a:pt x="616" y="107"/>
                      </a:lnTo>
                      <a:lnTo>
                        <a:pt x="616" y="109"/>
                      </a:lnTo>
                      <a:lnTo>
                        <a:pt x="616" y="109"/>
                      </a:lnTo>
                      <a:lnTo>
                        <a:pt x="616" y="109"/>
                      </a:lnTo>
                      <a:lnTo>
                        <a:pt x="614" y="109"/>
                      </a:lnTo>
                      <a:lnTo>
                        <a:pt x="612" y="109"/>
                      </a:lnTo>
                      <a:lnTo>
                        <a:pt x="614" y="105"/>
                      </a:lnTo>
                      <a:lnTo>
                        <a:pt x="616" y="100"/>
                      </a:lnTo>
                      <a:lnTo>
                        <a:pt x="616" y="98"/>
                      </a:lnTo>
                      <a:lnTo>
                        <a:pt x="618" y="96"/>
                      </a:lnTo>
                      <a:lnTo>
                        <a:pt x="618" y="96"/>
                      </a:lnTo>
                      <a:lnTo>
                        <a:pt x="618" y="92"/>
                      </a:lnTo>
                      <a:lnTo>
                        <a:pt x="618" y="89"/>
                      </a:lnTo>
                      <a:lnTo>
                        <a:pt x="623" y="87"/>
                      </a:lnTo>
                      <a:lnTo>
                        <a:pt x="627" y="87"/>
                      </a:lnTo>
                      <a:lnTo>
                        <a:pt x="627" y="87"/>
                      </a:lnTo>
                      <a:lnTo>
                        <a:pt x="631" y="85"/>
                      </a:lnTo>
                      <a:lnTo>
                        <a:pt x="634" y="85"/>
                      </a:lnTo>
                      <a:lnTo>
                        <a:pt x="636" y="85"/>
                      </a:lnTo>
                      <a:lnTo>
                        <a:pt x="638" y="78"/>
                      </a:lnTo>
                      <a:lnTo>
                        <a:pt x="640" y="72"/>
                      </a:lnTo>
                      <a:lnTo>
                        <a:pt x="642" y="65"/>
                      </a:lnTo>
                      <a:lnTo>
                        <a:pt x="644" y="59"/>
                      </a:lnTo>
                      <a:lnTo>
                        <a:pt x="644" y="59"/>
                      </a:lnTo>
                      <a:lnTo>
                        <a:pt x="640" y="54"/>
                      </a:lnTo>
                      <a:lnTo>
                        <a:pt x="638" y="50"/>
                      </a:lnTo>
                      <a:lnTo>
                        <a:pt x="636" y="48"/>
                      </a:lnTo>
                      <a:lnTo>
                        <a:pt x="634" y="50"/>
                      </a:lnTo>
                      <a:lnTo>
                        <a:pt x="634" y="50"/>
                      </a:lnTo>
                      <a:lnTo>
                        <a:pt x="634" y="52"/>
                      </a:lnTo>
                      <a:lnTo>
                        <a:pt x="633" y="54"/>
                      </a:lnTo>
                      <a:lnTo>
                        <a:pt x="633" y="54"/>
                      </a:lnTo>
                      <a:lnTo>
                        <a:pt x="631" y="55"/>
                      </a:lnTo>
                      <a:lnTo>
                        <a:pt x="629" y="55"/>
                      </a:lnTo>
                      <a:lnTo>
                        <a:pt x="629" y="55"/>
                      </a:lnTo>
                      <a:lnTo>
                        <a:pt x="629" y="57"/>
                      </a:lnTo>
                      <a:lnTo>
                        <a:pt x="625" y="57"/>
                      </a:lnTo>
                      <a:lnTo>
                        <a:pt x="620" y="57"/>
                      </a:lnTo>
                      <a:lnTo>
                        <a:pt x="616" y="59"/>
                      </a:lnTo>
                      <a:lnTo>
                        <a:pt x="612" y="59"/>
                      </a:lnTo>
                      <a:lnTo>
                        <a:pt x="612" y="59"/>
                      </a:lnTo>
                      <a:lnTo>
                        <a:pt x="612" y="57"/>
                      </a:lnTo>
                      <a:lnTo>
                        <a:pt x="614" y="57"/>
                      </a:lnTo>
                      <a:lnTo>
                        <a:pt x="614" y="57"/>
                      </a:lnTo>
                      <a:lnTo>
                        <a:pt x="618" y="55"/>
                      </a:lnTo>
                      <a:lnTo>
                        <a:pt x="625" y="55"/>
                      </a:lnTo>
                      <a:lnTo>
                        <a:pt x="625" y="55"/>
                      </a:lnTo>
                      <a:lnTo>
                        <a:pt x="627" y="54"/>
                      </a:lnTo>
                      <a:lnTo>
                        <a:pt x="629" y="54"/>
                      </a:lnTo>
                      <a:lnTo>
                        <a:pt x="629" y="54"/>
                      </a:lnTo>
                      <a:lnTo>
                        <a:pt x="631" y="52"/>
                      </a:lnTo>
                      <a:lnTo>
                        <a:pt x="633" y="50"/>
                      </a:lnTo>
                      <a:lnTo>
                        <a:pt x="633" y="50"/>
                      </a:lnTo>
                      <a:lnTo>
                        <a:pt x="633" y="48"/>
                      </a:lnTo>
                      <a:lnTo>
                        <a:pt x="634" y="48"/>
                      </a:lnTo>
                      <a:lnTo>
                        <a:pt x="634" y="48"/>
                      </a:lnTo>
                      <a:lnTo>
                        <a:pt x="634" y="42"/>
                      </a:lnTo>
                      <a:lnTo>
                        <a:pt x="634" y="41"/>
                      </a:lnTo>
                      <a:lnTo>
                        <a:pt x="634" y="37"/>
                      </a:lnTo>
                      <a:lnTo>
                        <a:pt x="634" y="33"/>
                      </a:lnTo>
                      <a:lnTo>
                        <a:pt x="634" y="31"/>
                      </a:lnTo>
                      <a:lnTo>
                        <a:pt x="631" y="33"/>
                      </a:lnTo>
                      <a:lnTo>
                        <a:pt x="625" y="33"/>
                      </a:lnTo>
                      <a:lnTo>
                        <a:pt x="622" y="33"/>
                      </a:lnTo>
                      <a:lnTo>
                        <a:pt x="618" y="33"/>
                      </a:lnTo>
                      <a:lnTo>
                        <a:pt x="616" y="28"/>
                      </a:lnTo>
                      <a:lnTo>
                        <a:pt x="616" y="24"/>
                      </a:lnTo>
                      <a:lnTo>
                        <a:pt x="614" y="22"/>
                      </a:lnTo>
                      <a:lnTo>
                        <a:pt x="614" y="18"/>
                      </a:lnTo>
                      <a:lnTo>
                        <a:pt x="612" y="11"/>
                      </a:lnTo>
                      <a:lnTo>
                        <a:pt x="61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8" name="Freeform 3173"/>
                <p:cNvSpPr>
                  <a:spLocks/>
                </p:cNvSpPr>
                <p:nvPr/>
              </p:nvSpPr>
              <p:spPr bwMode="auto">
                <a:xfrm>
                  <a:off x="4666" y="192"/>
                  <a:ext cx="775" cy="919"/>
                </a:xfrm>
                <a:custGeom>
                  <a:avLst/>
                  <a:gdLst>
                    <a:gd name="T0" fmla="*/ 535 w 775"/>
                    <a:gd name="T1" fmla="*/ 41 h 919"/>
                    <a:gd name="T2" fmla="*/ 511 w 775"/>
                    <a:gd name="T3" fmla="*/ 89 h 919"/>
                    <a:gd name="T4" fmla="*/ 502 w 775"/>
                    <a:gd name="T5" fmla="*/ 124 h 919"/>
                    <a:gd name="T6" fmla="*/ 546 w 775"/>
                    <a:gd name="T7" fmla="*/ 140 h 919"/>
                    <a:gd name="T8" fmla="*/ 459 w 775"/>
                    <a:gd name="T9" fmla="*/ 146 h 919"/>
                    <a:gd name="T10" fmla="*/ 413 w 775"/>
                    <a:gd name="T11" fmla="*/ 155 h 919"/>
                    <a:gd name="T12" fmla="*/ 341 w 775"/>
                    <a:gd name="T13" fmla="*/ 209 h 919"/>
                    <a:gd name="T14" fmla="*/ 238 w 775"/>
                    <a:gd name="T15" fmla="*/ 269 h 919"/>
                    <a:gd name="T16" fmla="*/ 147 w 775"/>
                    <a:gd name="T17" fmla="*/ 380 h 919"/>
                    <a:gd name="T18" fmla="*/ 127 w 775"/>
                    <a:gd name="T19" fmla="*/ 467 h 919"/>
                    <a:gd name="T20" fmla="*/ 147 w 775"/>
                    <a:gd name="T21" fmla="*/ 515 h 919"/>
                    <a:gd name="T22" fmla="*/ 73 w 775"/>
                    <a:gd name="T23" fmla="*/ 489 h 919"/>
                    <a:gd name="T24" fmla="*/ 20 w 775"/>
                    <a:gd name="T25" fmla="*/ 600 h 919"/>
                    <a:gd name="T26" fmla="*/ 62 w 775"/>
                    <a:gd name="T27" fmla="*/ 686 h 919"/>
                    <a:gd name="T28" fmla="*/ 29 w 775"/>
                    <a:gd name="T29" fmla="*/ 810 h 919"/>
                    <a:gd name="T30" fmla="*/ 131 w 775"/>
                    <a:gd name="T31" fmla="*/ 902 h 919"/>
                    <a:gd name="T32" fmla="*/ 310 w 775"/>
                    <a:gd name="T33" fmla="*/ 882 h 919"/>
                    <a:gd name="T34" fmla="*/ 317 w 775"/>
                    <a:gd name="T35" fmla="*/ 875 h 919"/>
                    <a:gd name="T36" fmla="*/ 121 w 775"/>
                    <a:gd name="T37" fmla="*/ 889 h 919"/>
                    <a:gd name="T38" fmla="*/ 31 w 775"/>
                    <a:gd name="T39" fmla="*/ 805 h 919"/>
                    <a:gd name="T40" fmla="*/ 77 w 775"/>
                    <a:gd name="T41" fmla="*/ 698 h 919"/>
                    <a:gd name="T42" fmla="*/ 22 w 775"/>
                    <a:gd name="T43" fmla="*/ 609 h 919"/>
                    <a:gd name="T44" fmla="*/ 66 w 775"/>
                    <a:gd name="T45" fmla="*/ 509 h 919"/>
                    <a:gd name="T46" fmla="*/ 101 w 775"/>
                    <a:gd name="T47" fmla="*/ 506 h 919"/>
                    <a:gd name="T48" fmla="*/ 186 w 775"/>
                    <a:gd name="T49" fmla="*/ 487 h 919"/>
                    <a:gd name="T50" fmla="*/ 123 w 775"/>
                    <a:gd name="T51" fmla="*/ 400 h 919"/>
                    <a:gd name="T52" fmla="*/ 179 w 775"/>
                    <a:gd name="T53" fmla="*/ 312 h 919"/>
                    <a:gd name="T54" fmla="*/ 291 w 775"/>
                    <a:gd name="T55" fmla="*/ 233 h 919"/>
                    <a:gd name="T56" fmla="*/ 378 w 775"/>
                    <a:gd name="T57" fmla="*/ 179 h 919"/>
                    <a:gd name="T58" fmla="*/ 444 w 775"/>
                    <a:gd name="T59" fmla="*/ 142 h 919"/>
                    <a:gd name="T60" fmla="*/ 551 w 775"/>
                    <a:gd name="T61" fmla="*/ 146 h 919"/>
                    <a:gd name="T62" fmla="*/ 503 w 775"/>
                    <a:gd name="T63" fmla="*/ 122 h 919"/>
                    <a:gd name="T64" fmla="*/ 509 w 775"/>
                    <a:gd name="T65" fmla="*/ 87 h 919"/>
                    <a:gd name="T66" fmla="*/ 562 w 775"/>
                    <a:gd name="T67" fmla="*/ 33 h 919"/>
                    <a:gd name="T68" fmla="*/ 614 w 775"/>
                    <a:gd name="T69" fmla="*/ 26 h 919"/>
                    <a:gd name="T70" fmla="*/ 610 w 775"/>
                    <a:gd name="T71" fmla="*/ 59 h 919"/>
                    <a:gd name="T72" fmla="*/ 618 w 775"/>
                    <a:gd name="T73" fmla="*/ 96 h 919"/>
                    <a:gd name="T74" fmla="*/ 673 w 775"/>
                    <a:gd name="T75" fmla="*/ 135 h 919"/>
                    <a:gd name="T76" fmla="*/ 708 w 775"/>
                    <a:gd name="T77" fmla="*/ 118 h 919"/>
                    <a:gd name="T78" fmla="*/ 701 w 775"/>
                    <a:gd name="T79" fmla="*/ 151 h 919"/>
                    <a:gd name="T80" fmla="*/ 655 w 775"/>
                    <a:gd name="T81" fmla="*/ 205 h 919"/>
                    <a:gd name="T82" fmla="*/ 526 w 775"/>
                    <a:gd name="T83" fmla="*/ 290 h 919"/>
                    <a:gd name="T84" fmla="*/ 562 w 775"/>
                    <a:gd name="T85" fmla="*/ 325 h 919"/>
                    <a:gd name="T86" fmla="*/ 596 w 775"/>
                    <a:gd name="T87" fmla="*/ 378 h 919"/>
                    <a:gd name="T88" fmla="*/ 618 w 775"/>
                    <a:gd name="T89" fmla="*/ 436 h 919"/>
                    <a:gd name="T90" fmla="*/ 692 w 775"/>
                    <a:gd name="T91" fmla="*/ 439 h 919"/>
                    <a:gd name="T92" fmla="*/ 727 w 775"/>
                    <a:gd name="T93" fmla="*/ 448 h 919"/>
                    <a:gd name="T94" fmla="*/ 747 w 775"/>
                    <a:gd name="T95" fmla="*/ 489 h 919"/>
                    <a:gd name="T96" fmla="*/ 729 w 775"/>
                    <a:gd name="T97" fmla="*/ 565 h 919"/>
                    <a:gd name="T98" fmla="*/ 721 w 775"/>
                    <a:gd name="T99" fmla="*/ 515 h 919"/>
                    <a:gd name="T100" fmla="*/ 767 w 775"/>
                    <a:gd name="T101" fmla="*/ 452 h 919"/>
                    <a:gd name="T102" fmla="*/ 730 w 775"/>
                    <a:gd name="T103" fmla="*/ 430 h 919"/>
                    <a:gd name="T104" fmla="*/ 671 w 775"/>
                    <a:gd name="T105" fmla="*/ 436 h 919"/>
                    <a:gd name="T106" fmla="*/ 559 w 775"/>
                    <a:gd name="T107" fmla="*/ 439 h 919"/>
                    <a:gd name="T108" fmla="*/ 559 w 775"/>
                    <a:gd name="T109" fmla="*/ 343 h 919"/>
                    <a:gd name="T110" fmla="*/ 516 w 775"/>
                    <a:gd name="T111" fmla="*/ 282 h 919"/>
                    <a:gd name="T112" fmla="*/ 623 w 775"/>
                    <a:gd name="T113" fmla="*/ 216 h 919"/>
                    <a:gd name="T114" fmla="*/ 710 w 775"/>
                    <a:gd name="T115" fmla="*/ 164 h 919"/>
                    <a:gd name="T116" fmla="*/ 712 w 775"/>
                    <a:gd name="T117" fmla="*/ 137 h 919"/>
                    <a:gd name="T118" fmla="*/ 690 w 775"/>
                    <a:gd name="T119" fmla="*/ 135 h 919"/>
                    <a:gd name="T120" fmla="*/ 618 w 775"/>
                    <a:gd name="T121" fmla="*/ 107 h 919"/>
                    <a:gd name="T122" fmla="*/ 634 w 775"/>
                    <a:gd name="T123" fmla="*/ 50 h 919"/>
                    <a:gd name="T124" fmla="*/ 634 w 775"/>
                    <a:gd name="T125" fmla="*/ 41 h 9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75" h="919">
                      <a:moveTo>
                        <a:pt x="612" y="0"/>
                      </a:moveTo>
                      <a:lnTo>
                        <a:pt x="607" y="0"/>
                      </a:lnTo>
                      <a:lnTo>
                        <a:pt x="601" y="0"/>
                      </a:lnTo>
                      <a:lnTo>
                        <a:pt x="601" y="0"/>
                      </a:lnTo>
                      <a:lnTo>
                        <a:pt x="601" y="6"/>
                      </a:lnTo>
                      <a:lnTo>
                        <a:pt x="601" y="9"/>
                      </a:lnTo>
                      <a:lnTo>
                        <a:pt x="601" y="13"/>
                      </a:lnTo>
                      <a:lnTo>
                        <a:pt x="601" y="17"/>
                      </a:lnTo>
                      <a:lnTo>
                        <a:pt x="598" y="17"/>
                      </a:lnTo>
                      <a:lnTo>
                        <a:pt x="598" y="17"/>
                      </a:lnTo>
                      <a:lnTo>
                        <a:pt x="592" y="18"/>
                      </a:lnTo>
                      <a:lnTo>
                        <a:pt x="588" y="18"/>
                      </a:lnTo>
                      <a:lnTo>
                        <a:pt x="585" y="18"/>
                      </a:lnTo>
                      <a:lnTo>
                        <a:pt x="583" y="20"/>
                      </a:lnTo>
                      <a:lnTo>
                        <a:pt x="585" y="22"/>
                      </a:lnTo>
                      <a:lnTo>
                        <a:pt x="586" y="22"/>
                      </a:lnTo>
                      <a:lnTo>
                        <a:pt x="585" y="22"/>
                      </a:lnTo>
                      <a:lnTo>
                        <a:pt x="585" y="22"/>
                      </a:lnTo>
                      <a:lnTo>
                        <a:pt x="585" y="24"/>
                      </a:lnTo>
                      <a:lnTo>
                        <a:pt x="583" y="22"/>
                      </a:lnTo>
                      <a:lnTo>
                        <a:pt x="583" y="22"/>
                      </a:lnTo>
                      <a:lnTo>
                        <a:pt x="581" y="22"/>
                      </a:lnTo>
                      <a:lnTo>
                        <a:pt x="575" y="26"/>
                      </a:lnTo>
                      <a:lnTo>
                        <a:pt x="572" y="28"/>
                      </a:lnTo>
                      <a:lnTo>
                        <a:pt x="566" y="31"/>
                      </a:lnTo>
                      <a:lnTo>
                        <a:pt x="561" y="33"/>
                      </a:lnTo>
                      <a:lnTo>
                        <a:pt x="555" y="35"/>
                      </a:lnTo>
                      <a:lnTo>
                        <a:pt x="546" y="37"/>
                      </a:lnTo>
                      <a:lnTo>
                        <a:pt x="535" y="41"/>
                      </a:lnTo>
                      <a:lnTo>
                        <a:pt x="518" y="44"/>
                      </a:lnTo>
                      <a:lnTo>
                        <a:pt x="518" y="52"/>
                      </a:lnTo>
                      <a:lnTo>
                        <a:pt x="518" y="57"/>
                      </a:lnTo>
                      <a:lnTo>
                        <a:pt x="518" y="65"/>
                      </a:lnTo>
                      <a:lnTo>
                        <a:pt x="518" y="72"/>
                      </a:lnTo>
                      <a:lnTo>
                        <a:pt x="513" y="72"/>
                      </a:lnTo>
                      <a:lnTo>
                        <a:pt x="507" y="72"/>
                      </a:lnTo>
                      <a:lnTo>
                        <a:pt x="507" y="72"/>
                      </a:lnTo>
                      <a:lnTo>
                        <a:pt x="507" y="74"/>
                      </a:lnTo>
                      <a:lnTo>
                        <a:pt x="507" y="74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7" y="76"/>
                      </a:lnTo>
                      <a:lnTo>
                        <a:pt x="509" y="78"/>
                      </a:lnTo>
                      <a:lnTo>
                        <a:pt x="509" y="78"/>
                      </a:lnTo>
                      <a:lnTo>
                        <a:pt x="513" y="78"/>
                      </a:lnTo>
                      <a:lnTo>
                        <a:pt x="513" y="78"/>
                      </a:lnTo>
                      <a:lnTo>
                        <a:pt x="518" y="78"/>
                      </a:lnTo>
                      <a:lnTo>
                        <a:pt x="518" y="79"/>
                      </a:lnTo>
                      <a:lnTo>
                        <a:pt x="518" y="81"/>
                      </a:lnTo>
                      <a:lnTo>
                        <a:pt x="518" y="81"/>
                      </a:lnTo>
                      <a:lnTo>
                        <a:pt x="516" y="81"/>
                      </a:lnTo>
                      <a:lnTo>
                        <a:pt x="515" y="83"/>
                      </a:lnTo>
                      <a:lnTo>
                        <a:pt x="507" y="85"/>
                      </a:lnTo>
                      <a:lnTo>
                        <a:pt x="505" y="85"/>
                      </a:lnTo>
                      <a:lnTo>
                        <a:pt x="509" y="87"/>
                      </a:lnTo>
                      <a:lnTo>
                        <a:pt x="511" y="89"/>
                      </a:lnTo>
                      <a:lnTo>
                        <a:pt x="511" y="89"/>
                      </a:lnTo>
                      <a:lnTo>
                        <a:pt x="515" y="89"/>
                      </a:lnTo>
                      <a:lnTo>
                        <a:pt x="516" y="89"/>
                      </a:lnTo>
                      <a:lnTo>
                        <a:pt x="516" y="89"/>
                      </a:lnTo>
                      <a:lnTo>
                        <a:pt x="518" y="89"/>
                      </a:lnTo>
                      <a:lnTo>
                        <a:pt x="518" y="90"/>
                      </a:lnTo>
                      <a:lnTo>
                        <a:pt x="518" y="90"/>
                      </a:lnTo>
                      <a:lnTo>
                        <a:pt x="518" y="92"/>
                      </a:lnTo>
                      <a:lnTo>
                        <a:pt x="518" y="92"/>
                      </a:lnTo>
                      <a:lnTo>
                        <a:pt x="515" y="92"/>
                      </a:lnTo>
                      <a:lnTo>
                        <a:pt x="509" y="90"/>
                      </a:lnTo>
                      <a:lnTo>
                        <a:pt x="507" y="89"/>
                      </a:lnTo>
                      <a:lnTo>
                        <a:pt x="507" y="89"/>
                      </a:lnTo>
                      <a:lnTo>
                        <a:pt x="505" y="89"/>
                      </a:lnTo>
                      <a:lnTo>
                        <a:pt x="505" y="87"/>
                      </a:lnTo>
                      <a:lnTo>
                        <a:pt x="502" y="87"/>
                      </a:lnTo>
                      <a:lnTo>
                        <a:pt x="498" y="87"/>
                      </a:lnTo>
                      <a:lnTo>
                        <a:pt x="496" y="87"/>
                      </a:lnTo>
                      <a:lnTo>
                        <a:pt x="496" y="96"/>
                      </a:lnTo>
                      <a:lnTo>
                        <a:pt x="494" y="101"/>
                      </a:lnTo>
                      <a:lnTo>
                        <a:pt x="494" y="109"/>
                      </a:lnTo>
                      <a:lnTo>
                        <a:pt x="492" y="116"/>
                      </a:lnTo>
                      <a:lnTo>
                        <a:pt x="492" y="116"/>
                      </a:lnTo>
                      <a:lnTo>
                        <a:pt x="494" y="120"/>
                      </a:lnTo>
                      <a:lnTo>
                        <a:pt x="494" y="120"/>
                      </a:lnTo>
                      <a:lnTo>
                        <a:pt x="498" y="120"/>
                      </a:lnTo>
                      <a:lnTo>
                        <a:pt x="498" y="120"/>
                      </a:lnTo>
                      <a:lnTo>
                        <a:pt x="500" y="122"/>
                      </a:lnTo>
                      <a:lnTo>
                        <a:pt x="502" y="124"/>
                      </a:lnTo>
                      <a:lnTo>
                        <a:pt x="502" y="124"/>
                      </a:lnTo>
                      <a:lnTo>
                        <a:pt x="507" y="124"/>
                      </a:lnTo>
                      <a:lnTo>
                        <a:pt x="507" y="124"/>
                      </a:lnTo>
                      <a:lnTo>
                        <a:pt x="513" y="124"/>
                      </a:lnTo>
                      <a:lnTo>
                        <a:pt x="518" y="125"/>
                      </a:lnTo>
                      <a:lnTo>
                        <a:pt x="522" y="125"/>
                      </a:lnTo>
                      <a:lnTo>
                        <a:pt x="526" y="127"/>
                      </a:lnTo>
                      <a:lnTo>
                        <a:pt x="527" y="129"/>
                      </a:lnTo>
                      <a:lnTo>
                        <a:pt x="529" y="131"/>
                      </a:lnTo>
                      <a:lnTo>
                        <a:pt x="529" y="131"/>
                      </a:lnTo>
                      <a:lnTo>
                        <a:pt x="533" y="133"/>
                      </a:lnTo>
                      <a:lnTo>
                        <a:pt x="533" y="133"/>
                      </a:lnTo>
                      <a:lnTo>
                        <a:pt x="535" y="127"/>
                      </a:lnTo>
                      <a:lnTo>
                        <a:pt x="537" y="122"/>
                      </a:lnTo>
                      <a:lnTo>
                        <a:pt x="540" y="124"/>
                      </a:lnTo>
                      <a:lnTo>
                        <a:pt x="546" y="124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50" y="125"/>
                      </a:lnTo>
                      <a:lnTo>
                        <a:pt x="544" y="125"/>
                      </a:lnTo>
                      <a:lnTo>
                        <a:pt x="544" y="127"/>
                      </a:lnTo>
                      <a:lnTo>
                        <a:pt x="544" y="131"/>
                      </a:lnTo>
                      <a:lnTo>
                        <a:pt x="544" y="133"/>
                      </a:lnTo>
                      <a:lnTo>
                        <a:pt x="544" y="133"/>
                      </a:lnTo>
                      <a:lnTo>
                        <a:pt x="544" y="137"/>
                      </a:lnTo>
                      <a:lnTo>
                        <a:pt x="544" y="137"/>
                      </a:lnTo>
                      <a:lnTo>
                        <a:pt x="546" y="138"/>
                      </a:lnTo>
                      <a:lnTo>
                        <a:pt x="546" y="140"/>
                      </a:lnTo>
                      <a:lnTo>
                        <a:pt x="546" y="140"/>
                      </a:lnTo>
                      <a:lnTo>
                        <a:pt x="548" y="142"/>
                      </a:lnTo>
                      <a:lnTo>
                        <a:pt x="550" y="144"/>
                      </a:lnTo>
                      <a:lnTo>
                        <a:pt x="551" y="144"/>
                      </a:lnTo>
                      <a:lnTo>
                        <a:pt x="544" y="144"/>
                      </a:lnTo>
                      <a:lnTo>
                        <a:pt x="540" y="144"/>
                      </a:lnTo>
                      <a:lnTo>
                        <a:pt x="535" y="144"/>
                      </a:lnTo>
                      <a:lnTo>
                        <a:pt x="531" y="146"/>
                      </a:lnTo>
                      <a:lnTo>
                        <a:pt x="531" y="146"/>
                      </a:lnTo>
                      <a:lnTo>
                        <a:pt x="527" y="146"/>
                      </a:lnTo>
                      <a:lnTo>
                        <a:pt x="527" y="146"/>
                      </a:lnTo>
                      <a:lnTo>
                        <a:pt x="526" y="148"/>
                      </a:lnTo>
                      <a:lnTo>
                        <a:pt x="526" y="148"/>
                      </a:lnTo>
                      <a:lnTo>
                        <a:pt x="522" y="149"/>
                      </a:lnTo>
                      <a:lnTo>
                        <a:pt x="518" y="151"/>
                      </a:lnTo>
                      <a:lnTo>
                        <a:pt x="516" y="148"/>
                      </a:lnTo>
                      <a:lnTo>
                        <a:pt x="515" y="142"/>
                      </a:lnTo>
                      <a:lnTo>
                        <a:pt x="515" y="142"/>
                      </a:lnTo>
                      <a:lnTo>
                        <a:pt x="503" y="140"/>
                      </a:lnTo>
                      <a:lnTo>
                        <a:pt x="492" y="140"/>
                      </a:lnTo>
                      <a:lnTo>
                        <a:pt x="485" y="138"/>
                      </a:lnTo>
                      <a:lnTo>
                        <a:pt x="478" y="137"/>
                      </a:lnTo>
                      <a:lnTo>
                        <a:pt x="474" y="137"/>
                      </a:lnTo>
                      <a:lnTo>
                        <a:pt x="468" y="135"/>
                      </a:lnTo>
                      <a:lnTo>
                        <a:pt x="465" y="135"/>
                      </a:lnTo>
                      <a:lnTo>
                        <a:pt x="465" y="135"/>
                      </a:lnTo>
                      <a:lnTo>
                        <a:pt x="461" y="135"/>
                      </a:lnTo>
                      <a:lnTo>
                        <a:pt x="459" y="135"/>
                      </a:lnTo>
                      <a:lnTo>
                        <a:pt x="459" y="142"/>
                      </a:lnTo>
                      <a:lnTo>
                        <a:pt x="459" y="146"/>
                      </a:lnTo>
                      <a:lnTo>
                        <a:pt x="459" y="144"/>
                      </a:lnTo>
                      <a:lnTo>
                        <a:pt x="459" y="144"/>
                      </a:lnTo>
                      <a:lnTo>
                        <a:pt x="457" y="144"/>
                      </a:lnTo>
                      <a:lnTo>
                        <a:pt x="455" y="142"/>
                      </a:lnTo>
                      <a:lnTo>
                        <a:pt x="455" y="142"/>
                      </a:lnTo>
                      <a:lnTo>
                        <a:pt x="452" y="142"/>
                      </a:lnTo>
                      <a:lnTo>
                        <a:pt x="452" y="142"/>
                      </a:lnTo>
                      <a:lnTo>
                        <a:pt x="448" y="140"/>
                      </a:lnTo>
                      <a:lnTo>
                        <a:pt x="448" y="140"/>
                      </a:lnTo>
                      <a:lnTo>
                        <a:pt x="444" y="140"/>
                      </a:lnTo>
                      <a:lnTo>
                        <a:pt x="444" y="140"/>
                      </a:lnTo>
                      <a:lnTo>
                        <a:pt x="435" y="140"/>
                      </a:lnTo>
                      <a:lnTo>
                        <a:pt x="426" y="142"/>
                      </a:lnTo>
                      <a:lnTo>
                        <a:pt x="426" y="148"/>
                      </a:lnTo>
                      <a:lnTo>
                        <a:pt x="426" y="153"/>
                      </a:lnTo>
                      <a:lnTo>
                        <a:pt x="426" y="155"/>
                      </a:lnTo>
                      <a:lnTo>
                        <a:pt x="431" y="153"/>
                      </a:lnTo>
                      <a:lnTo>
                        <a:pt x="437" y="153"/>
                      </a:lnTo>
                      <a:lnTo>
                        <a:pt x="443" y="153"/>
                      </a:lnTo>
                      <a:lnTo>
                        <a:pt x="444" y="153"/>
                      </a:lnTo>
                      <a:lnTo>
                        <a:pt x="443" y="153"/>
                      </a:lnTo>
                      <a:lnTo>
                        <a:pt x="439" y="157"/>
                      </a:lnTo>
                      <a:lnTo>
                        <a:pt x="433" y="159"/>
                      </a:lnTo>
                      <a:lnTo>
                        <a:pt x="430" y="161"/>
                      </a:lnTo>
                      <a:lnTo>
                        <a:pt x="424" y="159"/>
                      </a:lnTo>
                      <a:lnTo>
                        <a:pt x="420" y="157"/>
                      </a:lnTo>
                      <a:lnTo>
                        <a:pt x="420" y="157"/>
                      </a:lnTo>
                      <a:lnTo>
                        <a:pt x="417" y="157"/>
                      </a:lnTo>
                      <a:lnTo>
                        <a:pt x="413" y="155"/>
                      </a:lnTo>
                      <a:lnTo>
                        <a:pt x="413" y="153"/>
                      </a:lnTo>
                      <a:lnTo>
                        <a:pt x="411" y="159"/>
                      </a:lnTo>
                      <a:lnTo>
                        <a:pt x="409" y="162"/>
                      </a:lnTo>
                      <a:lnTo>
                        <a:pt x="407" y="166"/>
                      </a:lnTo>
                      <a:lnTo>
                        <a:pt x="406" y="172"/>
                      </a:lnTo>
                      <a:lnTo>
                        <a:pt x="398" y="172"/>
                      </a:lnTo>
                      <a:lnTo>
                        <a:pt x="391" y="173"/>
                      </a:lnTo>
                      <a:lnTo>
                        <a:pt x="383" y="175"/>
                      </a:lnTo>
                      <a:lnTo>
                        <a:pt x="376" y="177"/>
                      </a:lnTo>
                      <a:lnTo>
                        <a:pt x="376" y="179"/>
                      </a:lnTo>
                      <a:lnTo>
                        <a:pt x="374" y="181"/>
                      </a:lnTo>
                      <a:lnTo>
                        <a:pt x="374" y="181"/>
                      </a:lnTo>
                      <a:lnTo>
                        <a:pt x="372" y="185"/>
                      </a:lnTo>
                      <a:lnTo>
                        <a:pt x="371" y="188"/>
                      </a:lnTo>
                      <a:lnTo>
                        <a:pt x="369" y="192"/>
                      </a:lnTo>
                      <a:lnTo>
                        <a:pt x="367" y="188"/>
                      </a:lnTo>
                      <a:lnTo>
                        <a:pt x="363" y="186"/>
                      </a:lnTo>
                      <a:lnTo>
                        <a:pt x="363" y="186"/>
                      </a:lnTo>
                      <a:lnTo>
                        <a:pt x="359" y="192"/>
                      </a:lnTo>
                      <a:lnTo>
                        <a:pt x="359" y="192"/>
                      </a:lnTo>
                      <a:lnTo>
                        <a:pt x="358" y="197"/>
                      </a:lnTo>
                      <a:lnTo>
                        <a:pt x="356" y="194"/>
                      </a:lnTo>
                      <a:lnTo>
                        <a:pt x="352" y="192"/>
                      </a:lnTo>
                      <a:lnTo>
                        <a:pt x="352" y="190"/>
                      </a:lnTo>
                      <a:lnTo>
                        <a:pt x="350" y="196"/>
                      </a:lnTo>
                      <a:lnTo>
                        <a:pt x="350" y="199"/>
                      </a:lnTo>
                      <a:lnTo>
                        <a:pt x="348" y="205"/>
                      </a:lnTo>
                      <a:lnTo>
                        <a:pt x="348" y="209"/>
                      </a:lnTo>
                      <a:lnTo>
                        <a:pt x="341" y="209"/>
                      </a:lnTo>
                      <a:lnTo>
                        <a:pt x="332" y="210"/>
                      </a:lnTo>
                      <a:lnTo>
                        <a:pt x="326" y="212"/>
                      </a:lnTo>
                      <a:lnTo>
                        <a:pt x="321" y="214"/>
                      </a:lnTo>
                      <a:lnTo>
                        <a:pt x="315" y="216"/>
                      </a:lnTo>
                      <a:lnTo>
                        <a:pt x="312" y="216"/>
                      </a:lnTo>
                      <a:lnTo>
                        <a:pt x="306" y="218"/>
                      </a:lnTo>
                      <a:lnTo>
                        <a:pt x="300" y="220"/>
                      </a:lnTo>
                      <a:lnTo>
                        <a:pt x="300" y="220"/>
                      </a:lnTo>
                      <a:lnTo>
                        <a:pt x="300" y="225"/>
                      </a:lnTo>
                      <a:lnTo>
                        <a:pt x="300" y="231"/>
                      </a:lnTo>
                      <a:lnTo>
                        <a:pt x="297" y="231"/>
                      </a:lnTo>
                      <a:lnTo>
                        <a:pt x="291" y="231"/>
                      </a:lnTo>
                      <a:lnTo>
                        <a:pt x="291" y="231"/>
                      </a:lnTo>
                      <a:lnTo>
                        <a:pt x="288" y="233"/>
                      </a:lnTo>
                      <a:lnTo>
                        <a:pt x="284" y="233"/>
                      </a:lnTo>
                      <a:lnTo>
                        <a:pt x="282" y="233"/>
                      </a:lnTo>
                      <a:lnTo>
                        <a:pt x="286" y="236"/>
                      </a:lnTo>
                      <a:lnTo>
                        <a:pt x="288" y="238"/>
                      </a:lnTo>
                      <a:lnTo>
                        <a:pt x="282" y="238"/>
                      </a:lnTo>
                      <a:lnTo>
                        <a:pt x="276" y="240"/>
                      </a:lnTo>
                      <a:lnTo>
                        <a:pt x="269" y="240"/>
                      </a:lnTo>
                      <a:lnTo>
                        <a:pt x="262" y="242"/>
                      </a:lnTo>
                      <a:lnTo>
                        <a:pt x="262" y="242"/>
                      </a:lnTo>
                      <a:lnTo>
                        <a:pt x="260" y="245"/>
                      </a:lnTo>
                      <a:lnTo>
                        <a:pt x="258" y="249"/>
                      </a:lnTo>
                      <a:lnTo>
                        <a:pt x="252" y="255"/>
                      </a:lnTo>
                      <a:lnTo>
                        <a:pt x="249" y="258"/>
                      </a:lnTo>
                      <a:lnTo>
                        <a:pt x="243" y="264"/>
                      </a:lnTo>
                      <a:lnTo>
                        <a:pt x="238" y="269"/>
                      </a:lnTo>
                      <a:lnTo>
                        <a:pt x="232" y="275"/>
                      </a:lnTo>
                      <a:lnTo>
                        <a:pt x="225" y="280"/>
                      </a:lnTo>
                      <a:lnTo>
                        <a:pt x="217" y="286"/>
                      </a:lnTo>
                      <a:lnTo>
                        <a:pt x="212" y="292"/>
                      </a:lnTo>
                      <a:lnTo>
                        <a:pt x="204" y="295"/>
                      </a:lnTo>
                      <a:lnTo>
                        <a:pt x="199" y="301"/>
                      </a:lnTo>
                      <a:lnTo>
                        <a:pt x="193" y="304"/>
                      </a:lnTo>
                      <a:lnTo>
                        <a:pt x="188" y="306"/>
                      </a:lnTo>
                      <a:lnTo>
                        <a:pt x="182" y="310"/>
                      </a:lnTo>
                      <a:lnTo>
                        <a:pt x="179" y="310"/>
                      </a:lnTo>
                      <a:lnTo>
                        <a:pt x="179" y="312"/>
                      </a:lnTo>
                      <a:lnTo>
                        <a:pt x="173" y="325"/>
                      </a:lnTo>
                      <a:lnTo>
                        <a:pt x="168" y="340"/>
                      </a:lnTo>
                      <a:lnTo>
                        <a:pt x="162" y="352"/>
                      </a:lnTo>
                      <a:lnTo>
                        <a:pt x="158" y="367"/>
                      </a:lnTo>
                      <a:lnTo>
                        <a:pt x="155" y="367"/>
                      </a:lnTo>
                      <a:lnTo>
                        <a:pt x="151" y="367"/>
                      </a:lnTo>
                      <a:lnTo>
                        <a:pt x="145" y="367"/>
                      </a:lnTo>
                      <a:lnTo>
                        <a:pt x="142" y="367"/>
                      </a:lnTo>
                      <a:lnTo>
                        <a:pt x="142" y="367"/>
                      </a:lnTo>
                      <a:lnTo>
                        <a:pt x="142" y="373"/>
                      </a:lnTo>
                      <a:lnTo>
                        <a:pt x="144" y="378"/>
                      </a:lnTo>
                      <a:lnTo>
                        <a:pt x="144" y="380"/>
                      </a:lnTo>
                      <a:lnTo>
                        <a:pt x="147" y="378"/>
                      </a:lnTo>
                      <a:lnTo>
                        <a:pt x="147" y="376"/>
                      </a:lnTo>
                      <a:lnTo>
                        <a:pt x="147" y="378"/>
                      </a:lnTo>
                      <a:lnTo>
                        <a:pt x="149" y="378"/>
                      </a:lnTo>
                      <a:lnTo>
                        <a:pt x="147" y="380"/>
                      </a:lnTo>
                      <a:lnTo>
                        <a:pt x="147" y="380"/>
                      </a:lnTo>
                      <a:lnTo>
                        <a:pt x="147" y="380"/>
                      </a:lnTo>
                      <a:lnTo>
                        <a:pt x="144" y="382"/>
                      </a:lnTo>
                      <a:lnTo>
                        <a:pt x="144" y="382"/>
                      </a:lnTo>
                      <a:lnTo>
                        <a:pt x="140" y="382"/>
                      </a:lnTo>
                      <a:lnTo>
                        <a:pt x="134" y="384"/>
                      </a:lnTo>
                      <a:lnTo>
                        <a:pt x="131" y="384"/>
                      </a:lnTo>
                      <a:lnTo>
                        <a:pt x="131" y="384"/>
                      </a:lnTo>
                      <a:lnTo>
                        <a:pt x="129" y="389"/>
                      </a:lnTo>
                      <a:lnTo>
                        <a:pt x="127" y="393"/>
                      </a:lnTo>
                      <a:lnTo>
                        <a:pt x="125" y="397"/>
                      </a:lnTo>
                      <a:lnTo>
                        <a:pt x="123" y="400"/>
                      </a:lnTo>
                      <a:lnTo>
                        <a:pt x="118" y="406"/>
                      </a:lnTo>
                      <a:lnTo>
                        <a:pt x="112" y="412"/>
                      </a:lnTo>
                      <a:lnTo>
                        <a:pt x="107" y="417"/>
                      </a:lnTo>
                      <a:lnTo>
                        <a:pt x="101" y="423"/>
                      </a:lnTo>
                      <a:lnTo>
                        <a:pt x="94" y="430"/>
                      </a:lnTo>
                      <a:lnTo>
                        <a:pt x="86" y="436"/>
                      </a:lnTo>
                      <a:lnTo>
                        <a:pt x="94" y="439"/>
                      </a:lnTo>
                      <a:lnTo>
                        <a:pt x="101" y="443"/>
                      </a:lnTo>
                      <a:lnTo>
                        <a:pt x="107" y="447"/>
                      </a:lnTo>
                      <a:lnTo>
                        <a:pt x="114" y="450"/>
                      </a:lnTo>
                      <a:lnTo>
                        <a:pt x="114" y="454"/>
                      </a:lnTo>
                      <a:lnTo>
                        <a:pt x="114" y="458"/>
                      </a:lnTo>
                      <a:lnTo>
                        <a:pt x="114" y="461"/>
                      </a:lnTo>
                      <a:lnTo>
                        <a:pt x="114" y="467"/>
                      </a:lnTo>
                      <a:lnTo>
                        <a:pt x="114" y="467"/>
                      </a:lnTo>
                      <a:lnTo>
                        <a:pt x="120" y="467"/>
                      </a:lnTo>
                      <a:lnTo>
                        <a:pt x="125" y="467"/>
                      </a:lnTo>
                      <a:lnTo>
                        <a:pt x="127" y="467"/>
                      </a:lnTo>
                      <a:lnTo>
                        <a:pt x="127" y="461"/>
                      </a:lnTo>
                      <a:lnTo>
                        <a:pt x="127" y="456"/>
                      </a:lnTo>
                      <a:lnTo>
                        <a:pt x="136" y="458"/>
                      </a:lnTo>
                      <a:lnTo>
                        <a:pt x="147" y="461"/>
                      </a:lnTo>
                      <a:lnTo>
                        <a:pt x="160" y="463"/>
                      </a:lnTo>
                      <a:lnTo>
                        <a:pt x="171" y="465"/>
                      </a:lnTo>
                      <a:lnTo>
                        <a:pt x="173" y="471"/>
                      </a:lnTo>
                      <a:lnTo>
                        <a:pt x="175" y="476"/>
                      </a:lnTo>
                      <a:lnTo>
                        <a:pt x="177" y="482"/>
                      </a:lnTo>
                      <a:lnTo>
                        <a:pt x="180" y="489"/>
                      </a:lnTo>
                      <a:lnTo>
                        <a:pt x="180" y="489"/>
                      </a:lnTo>
                      <a:lnTo>
                        <a:pt x="186" y="489"/>
                      </a:lnTo>
                      <a:lnTo>
                        <a:pt x="192" y="489"/>
                      </a:lnTo>
                      <a:lnTo>
                        <a:pt x="192" y="489"/>
                      </a:lnTo>
                      <a:lnTo>
                        <a:pt x="192" y="491"/>
                      </a:lnTo>
                      <a:lnTo>
                        <a:pt x="190" y="491"/>
                      </a:lnTo>
                      <a:lnTo>
                        <a:pt x="190" y="493"/>
                      </a:lnTo>
                      <a:lnTo>
                        <a:pt x="186" y="495"/>
                      </a:lnTo>
                      <a:lnTo>
                        <a:pt x="177" y="498"/>
                      </a:lnTo>
                      <a:lnTo>
                        <a:pt x="179" y="502"/>
                      </a:lnTo>
                      <a:lnTo>
                        <a:pt x="179" y="502"/>
                      </a:lnTo>
                      <a:lnTo>
                        <a:pt x="180" y="506"/>
                      </a:lnTo>
                      <a:lnTo>
                        <a:pt x="173" y="506"/>
                      </a:lnTo>
                      <a:lnTo>
                        <a:pt x="164" y="504"/>
                      </a:lnTo>
                      <a:lnTo>
                        <a:pt x="156" y="504"/>
                      </a:lnTo>
                      <a:lnTo>
                        <a:pt x="147" y="504"/>
                      </a:lnTo>
                      <a:lnTo>
                        <a:pt x="147" y="504"/>
                      </a:lnTo>
                      <a:lnTo>
                        <a:pt x="147" y="509"/>
                      </a:lnTo>
                      <a:lnTo>
                        <a:pt x="147" y="515"/>
                      </a:lnTo>
                      <a:lnTo>
                        <a:pt x="136" y="515"/>
                      </a:lnTo>
                      <a:lnTo>
                        <a:pt x="123" y="515"/>
                      </a:lnTo>
                      <a:lnTo>
                        <a:pt x="110" y="515"/>
                      </a:lnTo>
                      <a:lnTo>
                        <a:pt x="99" y="515"/>
                      </a:lnTo>
                      <a:lnTo>
                        <a:pt x="101" y="513"/>
                      </a:lnTo>
                      <a:lnTo>
                        <a:pt x="101" y="509"/>
                      </a:lnTo>
                      <a:lnTo>
                        <a:pt x="103" y="506"/>
                      </a:lnTo>
                      <a:lnTo>
                        <a:pt x="103" y="504"/>
                      </a:lnTo>
                      <a:lnTo>
                        <a:pt x="107" y="502"/>
                      </a:lnTo>
                      <a:lnTo>
                        <a:pt x="108" y="502"/>
                      </a:lnTo>
                      <a:lnTo>
                        <a:pt x="112" y="500"/>
                      </a:lnTo>
                      <a:lnTo>
                        <a:pt x="116" y="500"/>
                      </a:lnTo>
                      <a:lnTo>
                        <a:pt x="116" y="498"/>
                      </a:lnTo>
                      <a:lnTo>
                        <a:pt x="116" y="493"/>
                      </a:lnTo>
                      <a:lnTo>
                        <a:pt x="116" y="489"/>
                      </a:lnTo>
                      <a:lnTo>
                        <a:pt x="116" y="487"/>
                      </a:lnTo>
                      <a:lnTo>
                        <a:pt x="110" y="487"/>
                      </a:lnTo>
                      <a:lnTo>
                        <a:pt x="105" y="487"/>
                      </a:lnTo>
                      <a:lnTo>
                        <a:pt x="103" y="485"/>
                      </a:lnTo>
                      <a:lnTo>
                        <a:pt x="101" y="480"/>
                      </a:lnTo>
                      <a:lnTo>
                        <a:pt x="99" y="478"/>
                      </a:lnTo>
                      <a:lnTo>
                        <a:pt x="97" y="474"/>
                      </a:lnTo>
                      <a:lnTo>
                        <a:pt x="96" y="472"/>
                      </a:lnTo>
                      <a:lnTo>
                        <a:pt x="90" y="476"/>
                      </a:lnTo>
                      <a:lnTo>
                        <a:pt x="83" y="478"/>
                      </a:lnTo>
                      <a:lnTo>
                        <a:pt x="77" y="482"/>
                      </a:lnTo>
                      <a:lnTo>
                        <a:pt x="72" y="485"/>
                      </a:lnTo>
                      <a:lnTo>
                        <a:pt x="70" y="485"/>
                      </a:lnTo>
                      <a:lnTo>
                        <a:pt x="73" y="489"/>
                      </a:lnTo>
                      <a:lnTo>
                        <a:pt x="73" y="489"/>
                      </a:lnTo>
                      <a:lnTo>
                        <a:pt x="75" y="491"/>
                      </a:lnTo>
                      <a:lnTo>
                        <a:pt x="72" y="491"/>
                      </a:lnTo>
                      <a:lnTo>
                        <a:pt x="72" y="491"/>
                      </a:lnTo>
                      <a:lnTo>
                        <a:pt x="66" y="493"/>
                      </a:lnTo>
                      <a:lnTo>
                        <a:pt x="66" y="493"/>
                      </a:lnTo>
                      <a:lnTo>
                        <a:pt x="66" y="498"/>
                      </a:lnTo>
                      <a:lnTo>
                        <a:pt x="66" y="502"/>
                      </a:lnTo>
                      <a:lnTo>
                        <a:pt x="66" y="506"/>
                      </a:lnTo>
                      <a:lnTo>
                        <a:pt x="66" y="509"/>
                      </a:lnTo>
                      <a:lnTo>
                        <a:pt x="66" y="511"/>
                      </a:lnTo>
                      <a:lnTo>
                        <a:pt x="70" y="513"/>
                      </a:lnTo>
                      <a:lnTo>
                        <a:pt x="75" y="515"/>
                      </a:lnTo>
                      <a:lnTo>
                        <a:pt x="75" y="522"/>
                      </a:lnTo>
                      <a:lnTo>
                        <a:pt x="75" y="530"/>
                      </a:lnTo>
                      <a:lnTo>
                        <a:pt x="75" y="537"/>
                      </a:lnTo>
                      <a:lnTo>
                        <a:pt x="75" y="544"/>
                      </a:lnTo>
                      <a:lnTo>
                        <a:pt x="73" y="552"/>
                      </a:lnTo>
                      <a:lnTo>
                        <a:pt x="72" y="557"/>
                      </a:lnTo>
                      <a:lnTo>
                        <a:pt x="70" y="565"/>
                      </a:lnTo>
                      <a:lnTo>
                        <a:pt x="66" y="570"/>
                      </a:lnTo>
                      <a:lnTo>
                        <a:pt x="62" y="574"/>
                      </a:lnTo>
                      <a:lnTo>
                        <a:pt x="59" y="579"/>
                      </a:lnTo>
                      <a:lnTo>
                        <a:pt x="55" y="585"/>
                      </a:lnTo>
                      <a:lnTo>
                        <a:pt x="49" y="589"/>
                      </a:lnTo>
                      <a:lnTo>
                        <a:pt x="42" y="592"/>
                      </a:lnTo>
                      <a:lnTo>
                        <a:pt x="37" y="594"/>
                      </a:lnTo>
                      <a:lnTo>
                        <a:pt x="29" y="598"/>
                      </a:lnTo>
                      <a:lnTo>
                        <a:pt x="20" y="600"/>
                      </a:lnTo>
                      <a:lnTo>
                        <a:pt x="20" y="605"/>
                      </a:lnTo>
                      <a:lnTo>
                        <a:pt x="20" y="611"/>
                      </a:lnTo>
                      <a:lnTo>
                        <a:pt x="22" y="615"/>
                      </a:lnTo>
                      <a:lnTo>
                        <a:pt x="22" y="618"/>
                      </a:lnTo>
                      <a:lnTo>
                        <a:pt x="16" y="618"/>
                      </a:lnTo>
                      <a:lnTo>
                        <a:pt x="11" y="618"/>
                      </a:lnTo>
                      <a:lnTo>
                        <a:pt x="11" y="618"/>
                      </a:lnTo>
                      <a:lnTo>
                        <a:pt x="9" y="627"/>
                      </a:lnTo>
                      <a:lnTo>
                        <a:pt x="5" y="635"/>
                      </a:lnTo>
                      <a:lnTo>
                        <a:pt x="3" y="644"/>
                      </a:lnTo>
                      <a:lnTo>
                        <a:pt x="0" y="651"/>
                      </a:lnTo>
                      <a:lnTo>
                        <a:pt x="0" y="651"/>
                      </a:lnTo>
                      <a:lnTo>
                        <a:pt x="0" y="653"/>
                      </a:lnTo>
                      <a:lnTo>
                        <a:pt x="0" y="653"/>
                      </a:lnTo>
                      <a:lnTo>
                        <a:pt x="9" y="653"/>
                      </a:lnTo>
                      <a:lnTo>
                        <a:pt x="16" y="655"/>
                      </a:lnTo>
                      <a:lnTo>
                        <a:pt x="25" y="657"/>
                      </a:lnTo>
                      <a:lnTo>
                        <a:pt x="33" y="659"/>
                      </a:lnTo>
                      <a:lnTo>
                        <a:pt x="35" y="662"/>
                      </a:lnTo>
                      <a:lnTo>
                        <a:pt x="37" y="666"/>
                      </a:lnTo>
                      <a:lnTo>
                        <a:pt x="40" y="670"/>
                      </a:lnTo>
                      <a:lnTo>
                        <a:pt x="40" y="670"/>
                      </a:lnTo>
                      <a:lnTo>
                        <a:pt x="44" y="674"/>
                      </a:lnTo>
                      <a:lnTo>
                        <a:pt x="48" y="677"/>
                      </a:lnTo>
                      <a:lnTo>
                        <a:pt x="49" y="679"/>
                      </a:lnTo>
                      <a:lnTo>
                        <a:pt x="55" y="683"/>
                      </a:lnTo>
                      <a:lnTo>
                        <a:pt x="55" y="683"/>
                      </a:lnTo>
                      <a:lnTo>
                        <a:pt x="59" y="685"/>
                      </a:lnTo>
                      <a:lnTo>
                        <a:pt x="62" y="686"/>
                      </a:lnTo>
                      <a:lnTo>
                        <a:pt x="66" y="690"/>
                      </a:lnTo>
                      <a:lnTo>
                        <a:pt x="70" y="692"/>
                      </a:lnTo>
                      <a:lnTo>
                        <a:pt x="73" y="696"/>
                      </a:lnTo>
                      <a:lnTo>
                        <a:pt x="75" y="699"/>
                      </a:lnTo>
                      <a:lnTo>
                        <a:pt x="77" y="703"/>
                      </a:lnTo>
                      <a:lnTo>
                        <a:pt x="79" y="705"/>
                      </a:lnTo>
                      <a:lnTo>
                        <a:pt x="79" y="707"/>
                      </a:lnTo>
                      <a:lnTo>
                        <a:pt x="79" y="709"/>
                      </a:lnTo>
                      <a:lnTo>
                        <a:pt x="79" y="710"/>
                      </a:lnTo>
                      <a:lnTo>
                        <a:pt x="75" y="714"/>
                      </a:lnTo>
                      <a:lnTo>
                        <a:pt x="70" y="720"/>
                      </a:lnTo>
                      <a:lnTo>
                        <a:pt x="64" y="723"/>
                      </a:lnTo>
                      <a:lnTo>
                        <a:pt x="64" y="723"/>
                      </a:lnTo>
                      <a:lnTo>
                        <a:pt x="59" y="727"/>
                      </a:lnTo>
                      <a:lnTo>
                        <a:pt x="59" y="733"/>
                      </a:lnTo>
                      <a:lnTo>
                        <a:pt x="57" y="736"/>
                      </a:lnTo>
                      <a:lnTo>
                        <a:pt x="57" y="740"/>
                      </a:lnTo>
                      <a:lnTo>
                        <a:pt x="57" y="742"/>
                      </a:lnTo>
                      <a:lnTo>
                        <a:pt x="55" y="749"/>
                      </a:lnTo>
                      <a:lnTo>
                        <a:pt x="53" y="755"/>
                      </a:lnTo>
                      <a:lnTo>
                        <a:pt x="49" y="762"/>
                      </a:lnTo>
                      <a:lnTo>
                        <a:pt x="48" y="768"/>
                      </a:lnTo>
                      <a:lnTo>
                        <a:pt x="44" y="773"/>
                      </a:lnTo>
                      <a:lnTo>
                        <a:pt x="40" y="779"/>
                      </a:lnTo>
                      <a:lnTo>
                        <a:pt x="38" y="784"/>
                      </a:lnTo>
                      <a:lnTo>
                        <a:pt x="35" y="792"/>
                      </a:lnTo>
                      <a:lnTo>
                        <a:pt x="33" y="797"/>
                      </a:lnTo>
                      <a:lnTo>
                        <a:pt x="31" y="803"/>
                      </a:lnTo>
                      <a:lnTo>
                        <a:pt x="29" y="810"/>
                      </a:lnTo>
                      <a:lnTo>
                        <a:pt x="27" y="818"/>
                      </a:lnTo>
                      <a:lnTo>
                        <a:pt x="27" y="821"/>
                      </a:lnTo>
                      <a:lnTo>
                        <a:pt x="27" y="825"/>
                      </a:lnTo>
                      <a:lnTo>
                        <a:pt x="27" y="829"/>
                      </a:lnTo>
                      <a:lnTo>
                        <a:pt x="29" y="832"/>
                      </a:lnTo>
                      <a:lnTo>
                        <a:pt x="29" y="832"/>
                      </a:lnTo>
                      <a:lnTo>
                        <a:pt x="35" y="832"/>
                      </a:lnTo>
                      <a:lnTo>
                        <a:pt x="40" y="832"/>
                      </a:lnTo>
                      <a:lnTo>
                        <a:pt x="38" y="838"/>
                      </a:lnTo>
                      <a:lnTo>
                        <a:pt x="38" y="843"/>
                      </a:lnTo>
                      <a:lnTo>
                        <a:pt x="38" y="849"/>
                      </a:lnTo>
                      <a:lnTo>
                        <a:pt x="38" y="854"/>
                      </a:lnTo>
                      <a:lnTo>
                        <a:pt x="38" y="856"/>
                      </a:lnTo>
                      <a:lnTo>
                        <a:pt x="48" y="860"/>
                      </a:lnTo>
                      <a:lnTo>
                        <a:pt x="57" y="862"/>
                      </a:lnTo>
                      <a:lnTo>
                        <a:pt x="66" y="865"/>
                      </a:lnTo>
                      <a:lnTo>
                        <a:pt x="73" y="865"/>
                      </a:lnTo>
                      <a:lnTo>
                        <a:pt x="83" y="867"/>
                      </a:lnTo>
                      <a:lnTo>
                        <a:pt x="92" y="867"/>
                      </a:lnTo>
                      <a:lnTo>
                        <a:pt x="101" y="869"/>
                      </a:lnTo>
                      <a:lnTo>
                        <a:pt x="112" y="869"/>
                      </a:lnTo>
                      <a:lnTo>
                        <a:pt x="114" y="873"/>
                      </a:lnTo>
                      <a:lnTo>
                        <a:pt x="116" y="877"/>
                      </a:lnTo>
                      <a:lnTo>
                        <a:pt x="118" y="878"/>
                      </a:lnTo>
                      <a:lnTo>
                        <a:pt x="118" y="882"/>
                      </a:lnTo>
                      <a:lnTo>
                        <a:pt x="120" y="889"/>
                      </a:lnTo>
                      <a:lnTo>
                        <a:pt x="121" y="902"/>
                      </a:lnTo>
                      <a:lnTo>
                        <a:pt x="127" y="902"/>
                      </a:lnTo>
                      <a:lnTo>
                        <a:pt x="131" y="902"/>
                      </a:lnTo>
                      <a:lnTo>
                        <a:pt x="134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0" y="902"/>
                      </a:lnTo>
                      <a:lnTo>
                        <a:pt x="145" y="901"/>
                      </a:lnTo>
                      <a:lnTo>
                        <a:pt x="153" y="897"/>
                      </a:lnTo>
                      <a:lnTo>
                        <a:pt x="160" y="895"/>
                      </a:lnTo>
                      <a:lnTo>
                        <a:pt x="166" y="891"/>
                      </a:lnTo>
                      <a:lnTo>
                        <a:pt x="168" y="897"/>
                      </a:lnTo>
                      <a:lnTo>
                        <a:pt x="168" y="904"/>
                      </a:lnTo>
                      <a:lnTo>
                        <a:pt x="169" y="912"/>
                      </a:lnTo>
                      <a:lnTo>
                        <a:pt x="171" y="919"/>
                      </a:lnTo>
                      <a:lnTo>
                        <a:pt x="171" y="919"/>
                      </a:lnTo>
                      <a:lnTo>
                        <a:pt x="190" y="915"/>
                      </a:lnTo>
                      <a:lnTo>
                        <a:pt x="210" y="913"/>
                      </a:lnTo>
                      <a:lnTo>
                        <a:pt x="223" y="910"/>
                      </a:lnTo>
                      <a:lnTo>
                        <a:pt x="234" y="908"/>
                      </a:lnTo>
                      <a:lnTo>
                        <a:pt x="247" y="906"/>
                      </a:lnTo>
                      <a:lnTo>
                        <a:pt x="260" y="902"/>
                      </a:lnTo>
                      <a:lnTo>
                        <a:pt x="273" y="899"/>
                      </a:lnTo>
                      <a:lnTo>
                        <a:pt x="284" y="895"/>
                      </a:lnTo>
                      <a:lnTo>
                        <a:pt x="289" y="893"/>
                      </a:lnTo>
                      <a:lnTo>
                        <a:pt x="295" y="889"/>
                      </a:lnTo>
                      <a:lnTo>
                        <a:pt x="300" y="888"/>
                      </a:lnTo>
                      <a:lnTo>
                        <a:pt x="304" y="886"/>
                      </a:lnTo>
                      <a:lnTo>
                        <a:pt x="310" y="882"/>
                      </a:lnTo>
                      <a:lnTo>
                        <a:pt x="310" y="882"/>
                      </a:lnTo>
                      <a:lnTo>
                        <a:pt x="313" y="878"/>
                      </a:lnTo>
                      <a:lnTo>
                        <a:pt x="317" y="877"/>
                      </a:lnTo>
                      <a:lnTo>
                        <a:pt x="321" y="873"/>
                      </a:lnTo>
                      <a:lnTo>
                        <a:pt x="321" y="873"/>
                      </a:lnTo>
                      <a:lnTo>
                        <a:pt x="324" y="869"/>
                      </a:lnTo>
                      <a:lnTo>
                        <a:pt x="328" y="865"/>
                      </a:lnTo>
                      <a:lnTo>
                        <a:pt x="330" y="862"/>
                      </a:lnTo>
                      <a:lnTo>
                        <a:pt x="332" y="858"/>
                      </a:lnTo>
                      <a:lnTo>
                        <a:pt x="332" y="858"/>
                      </a:lnTo>
                      <a:lnTo>
                        <a:pt x="330" y="858"/>
                      </a:lnTo>
                      <a:lnTo>
                        <a:pt x="328" y="858"/>
                      </a:lnTo>
                      <a:lnTo>
                        <a:pt x="324" y="858"/>
                      </a:lnTo>
                      <a:lnTo>
                        <a:pt x="324" y="858"/>
                      </a:lnTo>
                      <a:lnTo>
                        <a:pt x="324" y="853"/>
                      </a:lnTo>
                      <a:lnTo>
                        <a:pt x="324" y="847"/>
                      </a:lnTo>
                      <a:lnTo>
                        <a:pt x="324" y="841"/>
                      </a:lnTo>
                      <a:lnTo>
                        <a:pt x="324" y="834"/>
                      </a:lnTo>
                      <a:lnTo>
                        <a:pt x="324" y="841"/>
                      </a:lnTo>
                      <a:lnTo>
                        <a:pt x="324" y="847"/>
                      </a:lnTo>
                      <a:lnTo>
                        <a:pt x="324" y="853"/>
                      </a:lnTo>
                      <a:lnTo>
                        <a:pt x="324" y="858"/>
                      </a:lnTo>
                      <a:lnTo>
                        <a:pt x="324" y="858"/>
                      </a:lnTo>
                      <a:lnTo>
                        <a:pt x="328" y="858"/>
                      </a:lnTo>
                      <a:lnTo>
                        <a:pt x="330" y="858"/>
                      </a:lnTo>
                      <a:lnTo>
                        <a:pt x="328" y="862"/>
                      </a:lnTo>
                      <a:lnTo>
                        <a:pt x="326" y="865"/>
                      </a:lnTo>
                      <a:lnTo>
                        <a:pt x="323" y="869"/>
                      </a:lnTo>
                      <a:lnTo>
                        <a:pt x="321" y="871"/>
                      </a:lnTo>
                      <a:lnTo>
                        <a:pt x="317" y="875"/>
                      </a:lnTo>
                      <a:lnTo>
                        <a:pt x="313" y="878"/>
                      </a:lnTo>
                      <a:lnTo>
                        <a:pt x="308" y="880"/>
                      </a:lnTo>
                      <a:lnTo>
                        <a:pt x="304" y="884"/>
                      </a:lnTo>
                      <a:lnTo>
                        <a:pt x="299" y="886"/>
                      </a:lnTo>
                      <a:lnTo>
                        <a:pt x="295" y="889"/>
                      </a:lnTo>
                      <a:lnTo>
                        <a:pt x="289" y="891"/>
                      </a:lnTo>
                      <a:lnTo>
                        <a:pt x="284" y="893"/>
                      </a:lnTo>
                      <a:lnTo>
                        <a:pt x="271" y="897"/>
                      </a:lnTo>
                      <a:lnTo>
                        <a:pt x="260" y="901"/>
                      </a:lnTo>
                      <a:lnTo>
                        <a:pt x="247" y="904"/>
                      </a:lnTo>
                      <a:lnTo>
                        <a:pt x="234" y="906"/>
                      </a:lnTo>
                      <a:lnTo>
                        <a:pt x="223" y="910"/>
                      </a:lnTo>
                      <a:lnTo>
                        <a:pt x="210" y="912"/>
                      </a:lnTo>
                      <a:lnTo>
                        <a:pt x="190" y="915"/>
                      </a:lnTo>
                      <a:lnTo>
                        <a:pt x="173" y="917"/>
                      </a:lnTo>
                      <a:lnTo>
                        <a:pt x="171" y="912"/>
                      </a:lnTo>
                      <a:lnTo>
                        <a:pt x="169" y="904"/>
                      </a:lnTo>
                      <a:lnTo>
                        <a:pt x="168" y="897"/>
                      </a:lnTo>
                      <a:lnTo>
                        <a:pt x="168" y="891"/>
                      </a:lnTo>
                      <a:lnTo>
                        <a:pt x="168" y="889"/>
                      </a:lnTo>
                      <a:lnTo>
                        <a:pt x="158" y="893"/>
                      </a:lnTo>
                      <a:lnTo>
                        <a:pt x="153" y="895"/>
                      </a:lnTo>
                      <a:lnTo>
                        <a:pt x="145" y="899"/>
                      </a:lnTo>
                      <a:lnTo>
                        <a:pt x="140" y="901"/>
                      </a:lnTo>
                      <a:lnTo>
                        <a:pt x="134" y="901"/>
                      </a:lnTo>
                      <a:lnTo>
                        <a:pt x="131" y="901"/>
                      </a:lnTo>
                      <a:lnTo>
                        <a:pt x="127" y="901"/>
                      </a:lnTo>
                      <a:lnTo>
                        <a:pt x="123" y="901"/>
                      </a:lnTo>
                      <a:lnTo>
                        <a:pt x="121" y="889"/>
                      </a:lnTo>
                      <a:lnTo>
                        <a:pt x="120" y="882"/>
                      </a:lnTo>
                      <a:lnTo>
                        <a:pt x="120" y="882"/>
                      </a:lnTo>
                      <a:lnTo>
                        <a:pt x="118" y="878"/>
                      </a:lnTo>
                      <a:lnTo>
                        <a:pt x="118" y="875"/>
                      </a:lnTo>
                      <a:lnTo>
                        <a:pt x="118" y="875"/>
                      </a:lnTo>
                      <a:lnTo>
                        <a:pt x="116" y="871"/>
                      </a:lnTo>
                      <a:lnTo>
                        <a:pt x="112" y="867"/>
                      </a:lnTo>
                      <a:lnTo>
                        <a:pt x="112" y="867"/>
                      </a:lnTo>
                      <a:lnTo>
                        <a:pt x="101" y="867"/>
                      </a:lnTo>
                      <a:lnTo>
                        <a:pt x="92" y="867"/>
                      </a:lnTo>
                      <a:lnTo>
                        <a:pt x="83" y="865"/>
                      </a:lnTo>
                      <a:lnTo>
                        <a:pt x="75" y="865"/>
                      </a:lnTo>
                      <a:lnTo>
                        <a:pt x="66" y="864"/>
                      </a:lnTo>
                      <a:lnTo>
                        <a:pt x="57" y="862"/>
                      </a:lnTo>
                      <a:lnTo>
                        <a:pt x="49" y="858"/>
                      </a:lnTo>
                      <a:lnTo>
                        <a:pt x="40" y="854"/>
                      </a:lnTo>
                      <a:lnTo>
                        <a:pt x="40" y="849"/>
                      </a:lnTo>
                      <a:lnTo>
                        <a:pt x="40" y="843"/>
                      </a:lnTo>
                      <a:lnTo>
                        <a:pt x="40" y="838"/>
                      </a:lnTo>
                      <a:lnTo>
                        <a:pt x="40" y="832"/>
                      </a:lnTo>
                      <a:lnTo>
                        <a:pt x="40" y="830"/>
                      </a:lnTo>
                      <a:lnTo>
                        <a:pt x="35" y="830"/>
                      </a:lnTo>
                      <a:lnTo>
                        <a:pt x="29" y="830"/>
                      </a:lnTo>
                      <a:lnTo>
                        <a:pt x="29" y="829"/>
                      </a:lnTo>
                      <a:lnTo>
                        <a:pt x="29" y="823"/>
                      </a:lnTo>
                      <a:lnTo>
                        <a:pt x="29" y="821"/>
                      </a:lnTo>
                      <a:lnTo>
                        <a:pt x="29" y="818"/>
                      </a:lnTo>
                      <a:lnTo>
                        <a:pt x="31" y="810"/>
                      </a:lnTo>
                      <a:lnTo>
                        <a:pt x="31" y="805"/>
                      </a:lnTo>
                      <a:lnTo>
                        <a:pt x="35" y="797"/>
                      </a:lnTo>
                      <a:lnTo>
                        <a:pt x="37" y="792"/>
                      </a:lnTo>
                      <a:lnTo>
                        <a:pt x="38" y="786"/>
                      </a:lnTo>
                      <a:lnTo>
                        <a:pt x="42" y="781"/>
                      </a:lnTo>
                      <a:lnTo>
                        <a:pt x="46" y="775"/>
                      </a:lnTo>
                      <a:lnTo>
                        <a:pt x="48" y="768"/>
                      </a:lnTo>
                      <a:lnTo>
                        <a:pt x="51" y="762"/>
                      </a:lnTo>
                      <a:lnTo>
                        <a:pt x="53" y="757"/>
                      </a:lnTo>
                      <a:lnTo>
                        <a:pt x="57" y="749"/>
                      </a:lnTo>
                      <a:lnTo>
                        <a:pt x="59" y="744"/>
                      </a:lnTo>
                      <a:lnTo>
                        <a:pt x="59" y="740"/>
                      </a:lnTo>
                      <a:lnTo>
                        <a:pt x="59" y="740"/>
                      </a:lnTo>
                      <a:lnTo>
                        <a:pt x="59" y="736"/>
                      </a:lnTo>
                      <a:lnTo>
                        <a:pt x="59" y="733"/>
                      </a:lnTo>
                      <a:lnTo>
                        <a:pt x="59" y="733"/>
                      </a:lnTo>
                      <a:lnTo>
                        <a:pt x="59" y="729"/>
                      </a:lnTo>
                      <a:lnTo>
                        <a:pt x="64" y="723"/>
                      </a:lnTo>
                      <a:lnTo>
                        <a:pt x="70" y="720"/>
                      </a:lnTo>
                      <a:lnTo>
                        <a:pt x="75" y="716"/>
                      </a:lnTo>
                      <a:lnTo>
                        <a:pt x="81" y="712"/>
                      </a:lnTo>
                      <a:lnTo>
                        <a:pt x="81" y="712"/>
                      </a:lnTo>
                      <a:lnTo>
                        <a:pt x="81" y="709"/>
                      </a:lnTo>
                      <a:lnTo>
                        <a:pt x="81" y="707"/>
                      </a:lnTo>
                      <a:lnTo>
                        <a:pt x="81" y="707"/>
                      </a:lnTo>
                      <a:lnTo>
                        <a:pt x="79" y="705"/>
                      </a:lnTo>
                      <a:lnTo>
                        <a:pt x="79" y="703"/>
                      </a:lnTo>
                      <a:lnTo>
                        <a:pt x="79" y="703"/>
                      </a:lnTo>
                      <a:lnTo>
                        <a:pt x="77" y="698"/>
                      </a:lnTo>
                      <a:lnTo>
                        <a:pt x="77" y="698"/>
                      </a:lnTo>
                      <a:lnTo>
                        <a:pt x="73" y="696"/>
                      </a:lnTo>
                      <a:lnTo>
                        <a:pt x="70" y="692"/>
                      </a:lnTo>
                      <a:lnTo>
                        <a:pt x="70" y="692"/>
                      </a:lnTo>
                      <a:lnTo>
                        <a:pt x="66" y="688"/>
                      </a:lnTo>
                      <a:lnTo>
                        <a:pt x="62" y="686"/>
                      </a:lnTo>
                      <a:lnTo>
                        <a:pt x="59" y="683"/>
                      </a:lnTo>
                      <a:lnTo>
                        <a:pt x="59" y="683"/>
                      </a:lnTo>
                      <a:lnTo>
                        <a:pt x="55" y="681"/>
                      </a:lnTo>
                      <a:lnTo>
                        <a:pt x="51" y="679"/>
                      </a:lnTo>
                      <a:lnTo>
                        <a:pt x="48" y="675"/>
                      </a:lnTo>
                      <a:lnTo>
                        <a:pt x="44" y="674"/>
                      </a:lnTo>
                      <a:lnTo>
                        <a:pt x="40" y="670"/>
                      </a:lnTo>
                      <a:lnTo>
                        <a:pt x="38" y="666"/>
                      </a:lnTo>
                      <a:lnTo>
                        <a:pt x="37" y="662"/>
                      </a:lnTo>
                      <a:lnTo>
                        <a:pt x="35" y="657"/>
                      </a:lnTo>
                      <a:lnTo>
                        <a:pt x="35" y="657"/>
                      </a:lnTo>
                      <a:lnTo>
                        <a:pt x="25" y="655"/>
                      </a:lnTo>
                      <a:lnTo>
                        <a:pt x="18" y="653"/>
                      </a:lnTo>
                      <a:lnTo>
                        <a:pt x="9" y="653"/>
                      </a:lnTo>
                      <a:lnTo>
                        <a:pt x="1" y="651"/>
                      </a:lnTo>
                      <a:lnTo>
                        <a:pt x="5" y="644"/>
                      </a:lnTo>
                      <a:lnTo>
                        <a:pt x="7" y="637"/>
                      </a:lnTo>
                      <a:lnTo>
                        <a:pt x="9" y="627"/>
                      </a:lnTo>
                      <a:lnTo>
                        <a:pt x="13" y="620"/>
                      </a:lnTo>
                      <a:lnTo>
                        <a:pt x="16" y="620"/>
                      </a:lnTo>
                      <a:lnTo>
                        <a:pt x="22" y="620"/>
                      </a:lnTo>
                      <a:lnTo>
                        <a:pt x="24" y="620"/>
                      </a:lnTo>
                      <a:lnTo>
                        <a:pt x="24" y="615"/>
                      </a:lnTo>
                      <a:lnTo>
                        <a:pt x="22" y="609"/>
                      </a:lnTo>
                      <a:lnTo>
                        <a:pt x="22" y="605"/>
                      </a:lnTo>
                      <a:lnTo>
                        <a:pt x="22" y="602"/>
                      </a:lnTo>
                      <a:lnTo>
                        <a:pt x="29" y="600"/>
                      </a:lnTo>
                      <a:lnTo>
                        <a:pt x="37" y="596"/>
                      </a:lnTo>
                      <a:lnTo>
                        <a:pt x="44" y="592"/>
                      </a:lnTo>
                      <a:lnTo>
                        <a:pt x="49" y="589"/>
                      </a:lnTo>
                      <a:lnTo>
                        <a:pt x="55" y="585"/>
                      </a:lnTo>
                      <a:lnTo>
                        <a:pt x="55" y="585"/>
                      </a:lnTo>
                      <a:lnTo>
                        <a:pt x="61" y="581"/>
                      </a:lnTo>
                      <a:lnTo>
                        <a:pt x="61" y="581"/>
                      </a:lnTo>
                      <a:lnTo>
                        <a:pt x="64" y="576"/>
                      </a:lnTo>
                      <a:lnTo>
                        <a:pt x="64" y="576"/>
                      </a:lnTo>
                      <a:lnTo>
                        <a:pt x="68" y="570"/>
                      </a:lnTo>
                      <a:lnTo>
                        <a:pt x="72" y="565"/>
                      </a:lnTo>
                      <a:lnTo>
                        <a:pt x="72" y="565"/>
                      </a:lnTo>
                      <a:lnTo>
                        <a:pt x="73" y="559"/>
                      </a:lnTo>
                      <a:lnTo>
                        <a:pt x="73" y="559"/>
                      </a:lnTo>
                      <a:lnTo>
                        <a:pt x="75" y="552"/>
                      </a:lnTo>
                      <a:lnTo>
                        <a:pt x="77" y="544"/>
                      </a:lnTo>
                      <a:lnTo>
                        <a:pt x="77" y="544"/>
                      </a:lnTo>
                      <a:lnTo>
                        <a:pt x="77" y="537"/>
                      </a:lnTo>
                      <a:lnTo>
                        <a:pt x="77" y="530"/>
                      </a:lnTo>
                      <a:lnTo>
                        <a:pt x="77" y="522"/>
                      </a:lnTo>
                      <a:lnTo>
                        <a:pt x="77" y="522"/>
                      </a:lnTo>
                      <a:lnTo>
                        <a:pt x="75" y="513"/>
                      </a:lnTo>
                      <a:lnTo>
                        <a:pt x="75" y="513"/>
                      </a:lnTo>
                      <a:lnTo>
                        <a:pt x="72" y="511"/>
                      </a:lnTo>
                      <a:lnTo>
                        <a:pt x="72" y="511"/>
                      </a:lnTo>
                      <a:lnTo>
                        <a:pt x="66" y="509"/>
                      </a:lnTo>
                      <a:lnTo>
                        <a:pt x="66" y="506"/>
                      </a:lnTo>
                      <a:lnTo>
                        <a:pt x="66" y="502"/>
                      </a:lnTo>
                      <a:lnTo>
                        <a:pt x="66" y="498"/>
                      </a:lnTo>
                      <a:lnTo>
                        <a:pt x="66" y="495"/>
                      </a:lnTo>
                      <a:lnTo>
                        <a:pt x="72" y="493"/>
                      </a:lnTo>
                      <a:lnTo>
                        <a:pt x="77" y="491"/>
                      </a:lnTo>
                      <a:lnTo>
                        <a:pt x="79" y="491"/>
                      </a:lnTo>
                      <a:lnTo>
                        <a:pt x="73" y="487"/>
                      </a:lnTo>
                      <a:lnTo>
                        <a:pt x="72" y="485"/>
                      </a:lnTo>
                      <a:lnTo>
                        <a:pt x="77" y="483"/>
                      </a:lnTo>
                      <a:lnTo>
                        <a:pt x="85" y="480"/>
                      </a:lnTo>
                      <a:lnTo>
                        <a:pt x="90" y="478"/>
                      </a:lnTo>
                      <a:lnTo>
                        <a:pt x="96" y="474"/>
                      </a:lnTo>
                      <a:lnTo>
                        <a:pt x="97" y="478"/>
                      </a:lnTo>
                      <a:lnTo>
                        <a:pt x="99" y="482"/>
                      </a:lnTo>
                      <a:lnTo>
                        <a:pt x="101" y="485"/>
                      </a:lnTo>
                      <a:lnTo>
                        <a:pt x="103" y="489"/>
                      </a:lnTo>
                      <a:lnTo>
                        <a:pt x="105" y="489"/>
                      </a:lnTo>
                      <a:lnTo>
                        <a:pt x="110" y="489"/>
                      </a:lnTo>
                      <a:lnTo>
                        <a:pt x="114" y="489"/>
                      </a:lnTo>
                      <a:lnTo>
                        <a:pt x="114" y="493"/>
                      </a:lnTo>
                      <a:lnTo>
                        <a:pt x="114" y="498"/>
                      </a:lnTo>
                      <a:lnTo>
                        <a:pt x="112" y="498"/>
                      </a:lnTo>
                      <a:lnTo>
                        <a:pt x="112" y="498"/>
                      </a:lnTo>
                      <a:lnTo>
                        <a:pt x="108" y="500"/>
                      </a:lnTo>
                      <a:lnTo>
                        <a:pt x="105" y="500"/>
                      </a:lnTo>
                      <a:lnTo>
                        <a:pt x="103" y="502"/>
                      </a:lnTo>
                      <a:lnTo>
                        <a:pt x="103" y="502"/>
                      </a:lnTo>
                      <a:lnTo>
                        <a:pt x="101" y="506"/>
                      </a:lnTo>
                      <a:lnTo>
                        <a:pt x="99" y="509"/>
                      </a:lnTo>
                      <a:lnTo>
                        <a:pt x="99" y="513"/>
                      </a:lnTo>
                      <a:lnTo>
                        <a:pt x="99" y="513"/>
                      </a:lnTo>
                      <a:lnTo>
                        <a:pt x="97" y="515"/>
                      </a:lnTo>
                      <a:lnTo>
                        <a:pt x="97" y="517"/>
                      </a:lnTo>
                      <a:lnTo>
                        <a:pt x="110" y="517"/>
                      </a:lnTo>
                      <a:lnTo>
                        <a:pt x="123" y="517"/>
                      </a:lnTo>
                      <a:lnTo>
                        <a:pt x="136" y="517"/>
                      </a:lnTo>
                      <a:lnTo>
                        <a:pt x="149" y="517"/>
                      </a:lnTo>
                      <a:lnTo>
                        <a:pt x="149" y="509"/>
                      </a:lnTo>
                      <a:lnTo>
                        <a:pt x="149" y="506"/>
                      </a:lnTo>
                      <a:lnTo>
                        <a:pt x="156" y="506"/>
                      </a:lnTo>
                      <a:lnTo>
                        <a:pt x="164" y="506"/>
                      </a:lnTo>
                      <a:lnTo>
                        <a:pt x="173" y="507"/>
                      </a:lnTo>
                      <a:lnTo>
                        <a:pt x="180" y="507"/>
                      </a:lnTo>
                      <a:lnTo>
                        <a:pt x="182" y="507"/>
                      </a:lnTo>
                      <a:lnTo>
                        <a:pt x="180" y="502"/>
                      </a:lnTo>
                      <a:lnTo>
                        <a:pt x="179" y="498"/>
                      </a:lnTo>
                      <a:lnTo>
                        <a:pt x="186" y="496"/>
                      </a:lnTo>
                      <a:lnTo>
                        <a:pt x="190" y="495"/>
                      </a:lnTo>
                      <a:lnTo>
                        <a:pt x="190" y="495"/>
                      </a:lnTo>
                      <a:lnTo>
                        <a:pt x="192" y="493"/>
                      </a:lnTo>
                      <a:lnTo>
                        <a:pt x="192" y="493"/>
                      </a:lnTo>
                      <a:lnTo>
                        <a:pt x="192" y="491"/>
                      </a:lnTo>
                      <a:lnTo>
                        <a:pt x="193" y="489"/>
                      </a:lnTo>
                      <a:lnTo>
                        <a:pt x="193" y="489"/>
                      </a:lnTo>
                      <a:lnTo>
                        <a:pt x="193" y="487"/>
                      </a:lnTo>
                      <a:lnTo>
                        <a:pt x="193" y="487"/>
                      </a:lnTo>
                      <a:lnTo>
                        <a:pt x="186" y="487"/>
                      </a:lnTo>
                      <a:lnTo>
                        <a:pt x="180" y="487"/>
                      </a:lnTo>
                      <a:lnTo>
                        <a:pt x="179" y="482"/>
                      </a:lnTo>
                      <a:lnTo>
                        <a:pt x="177" y="476"/>
                      </a:lnTo>
                      <a:lnTo>
                        <a:pt x="175" y="471"/>
                      </a:lnTo>
                      <a:lnTo>
                        <a:pt x="171" y="463"/>
                      </a:lnTo>
                      <a:lnTo>
                        <a:pt x="171" y="463"/>
                      </a:lnTo>
                      <a:lnTo>
                        <a:pt x="160" y="461"/>
                      </a:lnTo>
                      <a:lnTo>
                        <a:pt x="149" y="460"/>
                      </a:lnTo>
                      <a:lnTo>
                        <a:pt x="138" y="458"/>
                      </a:lnTo>
                      <a:lnTo>
                        <a:pt x="125" y="454"/>
                      </a:lnTo>
                      <a:lnTo>
                        <a:pt x="125" y="461"/>
                      </a:lnTo>
                      <a:lnTo>
                        <a:pt x="125" y="465"/>
                      </a:lnTo>
                      <a:lnTo>
                        <a:pt x="120" y="465"/>
                      </a:lnTo>
                      <a:lnTo>
                        <a:pt x="116" y="465"/>
                      </a:lnTo>
                      <a:lnTo>
                        <a:pt x="116" y="461"/>
                      </a:lnTo>
                      <a:lnTo>
                        <a:pt x="116" y="458"/>
                      </a:lnTo>
                      <a:lnTo>
                        <a:pt x="116" y="454"/>
                      </a:lnTo>
                      <a:lnTo>
                        <a:pt x="116" y="450"/>
                      </a:lnTo>
                      <a:lnTo>
                        <a:pt x="116" y="450"/>
                      </a:lnTo>
                      <a:lnTo>
                        <a:pt x="108" y="447"/>
                      </a:lnTo>
                      <a:lnTo>
                        <a:pt x="101" y="443"/>
                      </a:lnTo>
                      <a:lnTo>
                        <a:pt x="94" y="439"/>
                      </a:lnTo>
                      <a:lnTo>
                        <a:pt x="88" y="436"/>
                      </a:lnTo>
                      <a:lnTo>
                        <a:pt x="96" y="430"/>
                      </a:lnTo>
                      <a:lnTo>
                        <a:pt x="101" y="424"/>
                      </a:lnTo>
                      <a:lnTo>
                        <a:pt x="108" y="419"/>
                      </a:lnTo>
                      <a:lnTo>
                        <a:pt x="114" y="413"/>
                      </a:lnTo>
                      <a:lnTo>
                        <a:pt x="120" y="408"/>
                      </a:lnTo>
                      <a:lnTo>
                        <a:pt x="123" y="400"/>
                      </a:lnTo>
                      <a:lnTo>
                        <a:pt x="125" y="397"/>
                      </a:lnTo>
                      <a:lnTo>
                        <a:pt x="127" y="393"/>
                      </a:lnTo>
                      <a:lnTo>
                        <a:pt x="131" y="389"/>
                      </a:lnTo>
                      <a:lnTo>
                        <a:pt x="132" y="386"/>
                      </a:lnTo>
                      <a:lnTo>
                        <a:pt x="136" y="384"/>
                      </a:lnTo>
                      <a:lnTo>
                        <a:pt x="140" y="384"/>
                      </a:lnTo>
                      <a:lnTo>
                        <a:pt x="144" y="382"/>
                      </a:lnTo>
                      <a:lnTo>
                        <a:pt x="147" y="382"/>
                      </a:lnTo>
                      <a:lnTo>
                        <a:pt x="147" y="382"/>
                      </a:lnTo>
                      <a:lnTo>
                        <a:pt x="149" y="380"/>
                      </a:lnTo>
                      <a:lnTo>
                        <a:pt x="151" y="378"/>
                      </a:lnTo>
                      <a:lnTo>
                        <a:pt x="151" y="378"/>
                      </a:lnTo>
                      <a:lnTo>
                        <a:pt x="149" y="376"/>
                      </a:lnTo>
                      <a:lnTo>
                        <a:pt x="147" y="375"/>
                      </a:lnTo>
                      <a:lnTo>
                        <a:pt x="147" y="375"/>
                      </a:lnTo>
                      <a:lnTo>
                        <a:pt x="145" y="376"/>
                      </a:lnTo>
                      <a:lnTo>
                        <a:pt x="145" y="376"/>
                      </a:lnTo>
                      <a:lnTo>
                        <a:pt x="145" y="376"/>
                      </a:lnTo>
                      <a:lnTo>
                        <a:pt x="144" y="373"/>
                      </a:lnTo>
                      <a:lnTo>
                        <a:pt x="144" y="369"/>
                      </a:lnTo>
                      <a:lnTo>
                        <a:pt x="145" y="369"/>
                      </a:lnTo>
                      <a:lnTo>
                        <a:pt x="151" y="369"/>
                      </a:lnTo>
                      <a:lnTo>
                        <a:pt x="155" y="369"/>
                      </a:lnTo>
                      <a:lnTo>
                        <a:pt x="158" y="369"/>
                      </a:lnTo>
                      <a:lnTo>
                        <a:pt x="158" y="369"/>
                      </a:lnTo>
                      <a:lnTo>
                        <a:pt x="164" y="354"/>
                      </a:lnTo>
                      <a:lnTo>
                        <a:pt x="169" y="340"/>
                      </a:lnTo>
                      <a:lnTo>
                        <a:pt x="175" y="325"/>
                      </a:lnTo>
                      <a:lnTo>
                        <a:pt x="179" y="312"/>
                      </a:lnTo>
                      <a:lnTo>
                        <a:pt x="182" y="310"/>
                      </a:lnTo>
                      <a:lnTo>
                        <a:pt x="182" y="310"/>
                      </a:lnTo>
                      <a:lnTo>
                        <a:pt x="188" y="308"/>
                      </a:lnTo>
                      <a:lnTo>
                        <a:pt x="188" y="308"/>
                      </a:lnTo>
                      <a:lnTo>
                        <a:pt x="193" y="304"/>
                      </a:lnTo>
                      <a:lnTo>
                        <a:pt x="199" y="301"/>
                      </a:lnTo>
                      <a:lnTo>
                        <a:pt x="199" y="301"/>
                      </a:lnTo>
                      <a:lnTo>
                        <a:pt x="206" y="297"/>
                      </a:lnTo>
                      <a:lnTo>
                        <a:pt x="212" y="292"/>
                      </a:lnTo>
                      <a:lnTo>
                        <a:pt x="219" y="288"/>
                      </a:lnTo>
                      <a:lnTo>
                        <a:pt x="227" y="282"/>
                      </a:lnTo>
                      <a:lnTo>
                        <a:pt x="232" y="277"/>
                      </a:lnTo>
                      <a:lnTo>
                        <a:pt x="240" y="271"/>
                      </a:lnTo>
                      <a:lnTo>
                        <a:pt x="245" y="266"/>
                      </a:lnTo>
                      <a:lnTo>
                        <a:pt x="251" y="260"/>
                      </a:lnTo>
                      <a:lnTo>
                        <a:pt x="254" y="255"/>
                      </a:lnTo>
                      <a:lnTo>
                        <a:pt x="258" y="251"/>
                      </a:lnTo>
                      <a:lnTo>
                        <a:pt x="262" y="245"/>
                      </a:lnTo>
                      <a:lnTo>
                        <a:pt x="262" y="245"/>
                      </a:lnTo>
                      <a:lnTo>
                        <a:pt x="264" y="242"/>
                      </a:lnTo>
                      <a:lnTo>
                        <a:pt x="269" y="242"/>
                      </a:lnTo>
                      <a:lnTo>
                        <a:pt x="276" y="242"/>
                      </a:lnTo>
                      <a:lnTo>
                        <a:pt x="282" y="240"/>
                      </a:lnTo>
                      <a:lnTo>
                        <a:pt x="289" y="240"/>
                      </a:lnTo>
                      <a:lnTo>
                        <a:pt x="291" y="240"/>
                      </a:lnTo>
                      <a:lnTo>
                        <a:pt x="288" y="236"/>
                      </a:lnTo>
                      <a:lnTo>
                        <a:pt x="286" y="234"/>
                      </a:lnTo>
                      <a:lnTo>
                        <a:pt x="288" y="233"/>
                      </a:lnTo>
                      <a:lnTo>
                        <a:pt x="291" y="233"/>
                      </a:lnTo>
                      <a:lnTo>
                        <a:pt x="297" y="233"/>
                      </a:lnTo>
                      <a:lnTo>
                        <a:pt x="300" y="231"/>
                      </a:lnTo>
                      <a:lnTo>
                        <a:pt x="302" y="231"/>
                      </a:lnTo>
                      <a:lnTo>
                        <a:pt x="302" y="225"/>
                      </a:lnTo>
                      <a:lnTo>
                        <a:pt x="302" y="221"/>
                      </a:lnTo>
                      <a:lnTo>
                        <a:pt x="306" y="220"/>
                      </a:lnTo>
                      <a:lnTo>
                        <a:pt x="312" y="218"/>
                      </a:lnTo>
                      <a:lnTo>
                        <a:pt x="317" y="216"/>
                      </a:lnTo>
                      <a:lnTo>
                        <a:pt x="321" y="214"/>
                      </a:lnTo>
                      <a:lnTo>
                        <a:pt x="326" y="214"/>
                      </a:lnTo>
                      <a:lnTo>
                        <a:pt x="332" y="212"/>
                      </a:lnTo>
                      <a:lnTo>
                        <a:pt x="341" y="210"/>
                      </a:lnTo>
                      <a:lnTo>
                        <a:pt x="350" y="209"/>
                      </a:lnTo>
                      <a:lnTo>
                        <a:pt x="350" y="205"/>
                      </a:lnTo>
                      <a:lnTo>
                        <a:pt x="352" y="201"/>
                      </a:lnTo>
                      <a:lnTo>
                        <a:pt x="352" y="197"/>
                      </a:lnTo>
                      <a:lnTo>
                        <a:pt x="352" y="194"/>
                      </a:lnTo>
                      <a:lnTo>
                        <a:pt x="354" y="196"/>
                      </a:lnTo>
                      <a:lnTo>
                        <a:pt x="358" y="199"/>
                      </a:lnTo>
                      <a:lnTo>
                        <a:pt x="358" y="199"/>
                      </a:lnTo>
                      <a:lnTo>
                        <a:pt x="361" y="194"/>
                      </a:lnTo>
                      <a:lnTo>
                        <a:pt x="363" y="188"/>
                      </a:lnTo>
                      <a:lnTo>
                        <a:pt x="365" y="190"/>
                      </a:lnTo>
                      <a:lnTo>
                        <a:pt x="369" y="192"/>
                      </a:lnTo>
                      <a:lnTo>
                        <a:pt x="369" y="194"/>
                      </a:lnTo>
                      <a:lnTo>
                        <a:pt x="372" y="188"/>
                      </a:lnTo>
                      <a:lnTo>
                        <a:pt x="374" y="186"/>
                      </a:lnTo>
                      <a:lnTo>
                        <a:pt x="376" y="183"/>
                      </a:lnTo>
                      <a:lnTo>
                        <a:pt x="378" y="179"/>
                      </a:lnTo>
                      <a:lnTo>
                        <a:pt x="383" y="177"/>
                      </a:lnTo>
                      <a:lnTo>
                        <a:pt x="391" y="175"/>
                      </a:lnTo>
                      <a:lnTo>
                        <a:pt x="398" y="173"/>
                      </a:lnTo>
                      <a:lnTo>
                        <a:pt x="406" y="172"/>
                      </a:lnTo>
                      <a:lnTo>
                        <a:pt x="406" y="172"/>
                      </a:lnTo>
                      <a:lnTo>
                        <a:pt x="407" y="168"/>
                      </a:lnTo>
                      <a:lnTo>
                        <a:pt x="409" y="168"/>
                      </a:lnTo>
                      <a:lnTo>
                        <a:pt x="411" y="162"/>
                      </a:lnTo>
                      <a:lnTo>
                        <a:pt x="413" y="159"/>
                      </a:lnTo>
                      <a:lnTo>
                        <a:pt x="413" y="155"/>
                      </a:lnTo>
                      <a:lnTo>
                        <a:pt x="417" y="157"/>
                      </a:lnTo>
                      <a:lnTo>
                        <a:pt x="420" y="159"/>
                      </a:lnTo>
                      <a:lnTo>
                        <a:pt x="424" y="161"/>
                      </a:lnTo>
                      <a:lnTo>
                        <a:pt x="428" y="162"/>
                      </a:lnTo>
                      <a:lnTo>
                        <a:pt x="430" y="162"/>
                      </a:lnTo>
                      <a:lnTo>
                        <a:pt x="433" y="161"/>
                      </a:lnTo>
                      <a:lnTo>
                        <a:pt x="439" y="157"/>
                      </a:lnTo>
                      <a:lnTo>
                        <a:pt x="443" y="155"/>
                      </a:lnTo>
                      <a:lnTo>
                        <a:pt x="448" y="151"/>
                      </a:lnTo>
                      <a:lnTo>
                        <a:pt x="452" y="149"/>
                      </a:lnTo>
                      <a:lnTo>
                        <a:pt x="443" y="151"/>
                      </a:lnTo>
                      <a:lnTo>
                        <a:pt x="443" y="151"/>
                      </a:lnTo>
                      <a:lnTo>
                        <a:pt x="437" y="151"/>
                      </a:lnTo>
                      <a:lnTo>
                        <a:pt x="431" y="153"/>
                      </a:lnTo>
                      <a:lnTo>
                        <a:pt x="428" y="153"/>
                      </a:lnTo>
                      <a:lnTo>
                        <a:pt x="426" y="148"/>
                      </a:lnTo>
                      <a:lnTo>
                        <a:pt x="426" y="144"/>
                      </a:lnTo>
                      <a:lnTo>
                        <a:pt x="437" y="142"/>
                      </a:lnTo>
                      <a:lnTo>
                        <a:pt x="444" y="142"/>
                      </a:lnTo>
                      <a:lnTo>
                        <a:pt x="448" y="142"/>
                      </a:lnTo>
                      <a:lnTo>
                        <a:pt x="452" y="142"/>
                      </a:lnTo>
                      <a:lnTo>
                        <a:pt x="454" y="144"/>
                      </a:lnTo>
                      <a:lnTo>
                        <a:pt x="455" y="144"/>
                      </a:lnTo>
                      <a:lnTo>
                        <a:pt x="457" y="146"/>
                      </a:lnTo>
                      <a:lnTo>
                        <a:pt x="459" y="148"/>
                      </a:lnTo>
                      <a:lnTo>
                        <a:pt x="461" y="149"/>
                      </a:lnTo>
                      <a:lnTo>
                        <a:pt x="461" y="142"/>
                      </a:lnTo>
                      <a:lnTo>
                        <a:pt x="461" y="137"/>
                      </a:lnTo>
                      <a:lnTo>
                        <a:pt x="465" y="137"/>
                      </a:lnTo>
                      <a:lnTo>
                        <a:pt x="468" y="137"/>
                      </a:lnTo>
                      <a:lnTo>
                        <a:pt x="472" y="138"/>
                      </a:lnTo>
                      <a:lnTo>
                        <a:pt x="478" y="138"/>
                      </a:lnTo>
                      <a:lnTo>
                        <a:pt x="485" y="140"/>
                      </a:lnTo>
                      <a:lnTo>
                        <a:pt x="492" y="140"/>
                      </a:lnTo>
                      <a:lnTo>
                        <a:pt x="492" y="140"/>
                      </a:lnTo>
                      <a:lnTo>
                        <a:pt x="503" y="142"/>
                      </a:lnTo>
                      <a:lnTo>
                        <a:pt x="513" y="144"/>
                      </a:lnTo>
                      <a:lnTo>
                        <a:pt x="515" y="148"/>
                      </a:lnTo>
                      <a:lnTo>
                        <a:pt x="516" y="151"/>
                      </a:lnTo>
                      <a:lnTo>
                        <a:pt x="518" y="153"/>
                      </a:lnTo>
                      <a:lnTo>
                        <a:pt x="522" y="151"/>
                      </a:lnTo>
                      <a:lnTo>
                        <a:pt x="526" y="148"/>
                      </a:lnTo>
                      <a:lnTo>
                        <a:pt x="529" y="148"/>
                      </a:lnTo>
                      <a:lnTo>
                        <a:pt x="531" y="146"/>
                      </a:lnTo>
                      <a:lnTo>
                        <a:pt x="535" y="146"/>
                      </a:lnTo>
                      <a:lnTo>
                        <a:pt x="540" y="146"/>
                      </a:lnTo>
                      <a:lnTo>
                        <a:pt x="544" y="146"/>
                      </a:lnTo>
                      <a:lnTo>
                        <a:pt x="551" y="146"/>
                      </a:lnTo>
                      <a:lnTo>
                        <a:pt x="553" y="146"/>
                      </a:lnTo>
                      <a:lnTo>
                        <a:pt x="550" y="142"/>
                      </a:lnTo>
                      <a:lnTo>
                        <a:pt x="548" y="140"/>
                      </a:lnTo>
                      <a:lnTo>
                        <a:pt x="548" y="138"/>
                      </a:lnTo>
                      <a:lnTo>
                        <a:pt x="546" y="138"/>
                      </a:lnTo>
                      <a:lnTo>
                        <a:pt x="546" y="137"/>
                      </a:lnTo>
                      <a:lnTo>
                        <a:pt x="546" y="133"/>
                      </a:lnTo>
                      <a:lnTo>
                        <a:pt x="546" y="131"/>
                      </a:lnTo>
                      <a:lnTo>
                        <a:pt x="546" y="127"/>
                      </a:lnTo>
                      <a:lnTo>
                        <a:pt x="550" y="127"/>
                      </a:lnTo>
                      <a:lnTo>
                        <a:pt x="555" y="127"/>
                      </a:lnTo>
                      <a:lnTo>
                        <a:pt x="559" y="125"/>
                      </a:lnTo>
                      <a:lnTo>
                        <a:pt x="550" y="124"/>
                      </a:lnTo>
                      <a:lnTo>
                        <a:pt x="546" y="122"/>
                      </a:lnTo>
                      <a:lnTo>
                        <a:pt x="540" y="122"/>
                      </a:lnTo>
                      <a:lnTo>
                        <a:pt x="537" y="120"/>
                      </a:lnTo>
                      <a:lnTo>
                        <a:pt x="535" y="120"/>
                      </a:lnTo>
                      <a:lnTo>
                        <a:pt x="533" y="125"/>
                      </a:lnTo>
                      <a:lnTo>
                        <a:pt x="533" y="131"/>
                      </a:lnTo>
                      <a:lnTo>
                        <a:pt x="531" y="129"/>
                      </a:lnTo>
                      <a:lnTo>
                        <a:pt x="529" y="127"/>
                      </a:lnTo>
                      <a:lnTo>
                        <a:pt x="527" y="127"/>
                      </a:lnTo>
                      <a:lnTo>
                        <a:pt x="526" y="125"/>
                      </a:lnTo>
                      <a:lnTo>
                        <a:pt x="524" y="125"/>
                      </a:lnTo>
                      <a:lnTo>
                        <a:pt x="524" y="125"/>
                      </a:lnTo>
                      <a:lnTo>
                        <a:pt x="518" y="124"/>
                      </a:lnTo>
                      <a:lnTo>
                        <a:pt x="513" y="124"/>
                      </a:lnTo>
                      <a:lnTo>
                        <a:pt x="507" y="124"/>
                      </a:lnTo>
                      <a:lnTo>
                        <a:pt x="503" y="122"/>
                      </a:lnTo>
                      <a:lnTo>
                        <a:pt x="500" y="120"/>
                      </a:lnTo>
                      <a:lnTo>
                        <a:pt x="498" y="120"/>
                      </a:lnTo>
                      <a:lnTo>
                        <a:pt x="496" y="118"/>
                      </a:lnTo>
                      <a:lnTo>
                        <a:pt x="494" y="116"/>
                      </a:lnTo>
                      <a:lnTo>
                        <a:pt x="494" y="109"/>
                      </a:lnTo>
                      <a:lnTo>
                        <a:pt x="496" y="101"/>
                      </a:lnTo>
                      <a:lnTo>
                        <a:pt x="498" y="96"/>
                      </a:lnTo>
                      <a:lnTo>
                        <a:pt x="498" y="89"/>
                      </a:lnTo>
                      <a:lnTo>
                        <a:pt x="502" y="89"/>
                      </a:lnTo>
                      <a:lnTo>
                        <a:pt x="505" y="89"/>
                      </a:lnTo>
                      <a:lnTo>
                        <a:pt x="505" y="90"/>
                      </a:lnTo>
                      <a:lnTo>
                        <a:pt x="507" y="90"/>
                      </a:lnTo>
                      <a:lnTo>
                        <a:pt x="507" y="90"/>
                      </a:lnTo>
                      <a:lnTo>
                        <a:pt x="513" y="92"/>
                      </a:lnTo>
                      <a:lnTo>
                        <a:pt x="518" y="94"/>
                      </a:lnTo>
                      <a:lnTo>
                        <a:pt x="520" y="94"/>
                      </a:lnTo>
                      <a:lnTo>
                        <a:pt x="520" y="92"/>
                      </a:lnTo>
                      <a:lnTo>
                        <a:pt x="520" y="90"/>
                      </a:lnTo>
                      <a:lnTo>
                        <a:pt x="520" y="90"/>
                      </a:lnTo>
                      <a:lnTo>
                        <a:pt x="520" y="89"/>
                      </a:lnTo>
                      <a:lnTo>
                        <a:pt x="520" y="89"/>
                      </a:lnTo>
                      <a:lnTo>
                        <a:pt x="518" y="89"/>
                      </a:lnTo>
                      <a:lnTo>
                        <a:pt x="518" y="89"/>
                      </a:lnTo>
                      <a:lnTo>
                        <a:pt x="518" y="87"/>
                      </a:lnTo>
                      <a:lnTo>
                        <a:pt x="516" y="87"/>
                      </a:lnTo>
                      <a:lnTo>
                        <a:pt x="516" y="87"/>
                      </a:lnTo>
                      <a:lnTo>
                        <a:pt x="513" y="87"/>
                      </a:lnTo>
                      <a:lnTo>
                        <a:pt x="511" y="87"/>
                      </a:lnTo>
                      <a:lnTo>
                        <a:pt x="509" y="87"/>
                      </a:lnTo>
                      <a:lnTo>
                        <a:pt x="509" y="87"/>
                      </a:lnTo>
                      <a:lnTo>
                        <a:pt x="515" y="85"/>
                      </a:lnTo>
                      <a:lnTo>
                        <a:pt x="515" y="85"/>
                      </a:lnTo>
                      <a:lnTo>
                        <a:pt x="518" y="83"/>
                      </a:lnTo>
                      <a:lnTo>
                        <a:pt x="518" y="83"/>
                      </a:lnTo>
                      <a:lnTo>
                        <a:pt x="518" y="83"/>
                      </a:lnTo>
                      <a:lnTo>
                        <a:pt x="520" y="83"/>
                      </a:lnTo>
                      <a:lnTo>
                        <a:pt x="520" y="81"/>
                      </a:lnTo>
                      <a:lnTo>
                        <a:pt x="520" y="81"/>
                      </a:lnTo>
                      <a:lnTo>
                        <a:pt x="520" y="79"/>
                      </a:lnTo>
                      <a:lnTo>
                        <a:pt x="520" y="78"/>
                      </a:lnTo>
                      <a:lnTo>
                        <a:pt x="520" y="76"/>
                      </a:lnTo>
                      <a:lnTo>
                        <a:pt x="513" y="76"/>
                      </a:lnTo>
                      <a:lnTo>
                        <a:pt x="509" y="76"/>
                      </a:lnTo>
                      <a:lnTo>
                        <a:pt x="509" y="76"/>
                      </a:lnTo>
                      <a:lnTo>
                        <a:pt x="509" y="74"/>
                      </a:lnTo>
                      <a:lnTo>
                        <a:pt x="509" y="74"/>
                      </a:lnTo>
                      <a:lnTo>
                        <a:pt x="509" y="72"/>
                      </a:lnTo>
                      <a:lnTo>
                        <a:pt x="513" y="72"/>
                      </a:lnTo>
                      <a:lnTo>
                        <a:pt x="518" y="72"/>
                      </a:lnTo>
                      <a:lnTo>
                        <a:pt x="520" y="72"/>
                      </a:lnTo>
                      <a:lnTo>
                        <a:pt x="520" y="65"/>
                      </a:lnTo>
                      <a:lnTo>
                        <a:pt x="520" y="57"/>
                      </a:lnTo>
                      <a:lnTo>
                        <a:pt x="520" y="52"/>
                      </a:lnTo>
                      <a:lnTo>
                        <a:pt x="520" y="46"/>
                      </a:lnTo>
                      <a:lnTo>
                        <a:pt x="535" y="41"/>
                      </a:lnTo>
                      <a:lnTo>
                        <a:pt x="546" y="39"/>
                      </a:lnTo>
                      <a:lnTo>
                        <a:pt x="555" y="37"/>
                      </a:lnTo>
                      <a:lnTo>
                        <a:pt x="562" y="33"/>
                      </a:lnTo>
                      <a:lnTo>
                        <a:pt x="568" y="31"/>
                      </a:lnTo>
                      <a:lnTo>
                        <a:pt x="568" y="31"/>
                      </a:lnTo>
                      <a:lnTo>
                        <a:pt x="572" y="30"/>
                      </a:lnTo>
                      <a:lnTo>
                        <a:pt x="577" y="26"/>
                      </a:lnTo>
                      <a:lnTo>
                        <a:pt x="581" y="24"/>
                      </a:lnTo>
                      <a:lnTo>
                        <a:pt x="583" y="24"/>
                      </a:lnTo>
                      <a:lnTo>
                        <a:pt x="585" y="26"/>
                      </a:lnTo>
                      <a:lnTo>
                        <a:pt x="585" y="26"/>
                      </a:lnTo>
                      <a:lnTo>
                        <a:pt x="586" y="24"/>
                      </a:lnTo>
                      <a:lnTo>
                        <a:pt x="588" y="22"/>
                      </a:lnTo>
                      <a:lnTo>
                        <a:pt x="588" y="22"/>
                      </a:lnTo>
                      <a:lnTo>
                        <a:pt x="586" y="20"/>
                      </a:lnTo>
                      <a:lnTo>
                        <a:pt x="586" y="20"/>
                      </a:lnTo>
                      <a:lnTo>
                        <a:pt x="588" y="20"/>
                      </a:lnTo>
                      <a:lnTo>
                        <a:pt x="592" y="18"/>
                      </a:lnTo>
                      <a:lnTo>
                        <a:pt x="598" y="18"/>
                      </a:lnTo>
                      <a:lnTo>
                        <a:pt x="601" y="18"/>
                      </a:lnTo>
                      <a:lnTo>
                        <a:pt x="601" y="18"/>
                      </a:lnTo>
                      <a:lnTo>
                        <a:pt x="601" y="13"/>
                      </a:lnTo>
                      <a:lnTo>
                        <a:pt x="601" y="9"/>
                      </a:lnTo>
                      <a:lnTo>
                        <a:pt x="601" y="6"/>
                      </a:lnTo>
                      <a:lnTo>
                        <a:pt x="601" y="2"/>
                      </a:lnTo>
                      <a:lnTo>
                        <a:pt x="607" y="2"/>
                      </a:lnTo>
                      <a:lnTo>
                        <a:pt x="610" y="2"/>
                      </a:lnTo>
                      <a:lnTo>
                        <a:pt x="610" y="11"/>
                      </a:lnTo>
                      <a:lnTo>
                        <a:pt x="612" y="18"/>
                      </a:lnTo>
                      <a:lnTo>
                        <a:pt x="612" y="18"/>
                      </a:lnTo>
                      <a:lnTo>
                        <a:pt x="612" y="22"/>
                      </a:lnTo>
                      <a:lnTo>
                        <a:pt x="614" y="26"/>
                      </a:lnTo>
                      <a:lnTo>
                        <a:pt x="614" y="30"/>
                      </a:lnTo>
                      <a:lnTo>
                        <a:pt x="616" y="33"/>
                      </a:lnTo>
                      <a:lnTo>
                        <a:pt x="618" y="33"/>
                      </a:lnTo>
                      <a:lnTo>
                        <a:pt x="622" y="33"/>
                      </a:lnTo>
                      <a:lnTo>
                        <a:pt x="625" y="33"/>
                      </a:lnTo>
                      <a:lnTo>
                        <a:pt x="631" y="33"/>
                      </a:lnTo>
                      <a:lnTo>
                        <a:pt x="633" y="33"/>
                      </a:lnTo>
                      <a:lnTo>
                        <a:pt x="633" y="37"/>
                      </a:lnTo>
                      <a:lnTo>
                        <a:pt x="633" y="41"/>
                      </a:lnTo>
                      <a:lnTo>
                        <a:pt x="633" y="42"/>
                      </a:lnTo>
                      <a:lnTo>
                        <a:pt x="633" y="46"/>
                      </a:lnTo>
                      <a:lnTo>
                        <a:pt x="633" y="48"/>
                      </a:lnTo>
                      <a:lnTo>
                        <a:pt x="633" y="48"/>
                      </a:lnTo>
                      <a:lnTo>
                        <a:pt x="631" y="50"/>
                      </a:lnTo>
                      <a:lnTo>
                        <a:pt x="629" y="50"/>
                      </a:lnTo>
                      <a:lnTo>
                        <a:pt x="629" y="50"/>
                      </a:lnTo>
                      <a:lnTo>
                        <a:pt x="629" y="52"/>
                      </a:lnTo>
                      <a:lnTo>
                        <a:pt x="627" y="54"/>
                      </a:lnTo>
                      <a:lnTo>
                        <a:pt x="627" y="54"/>
                      </a:lnTo>
                      <a:lnTo>
                        <a:pt x="625" y="55"/>
                      </a:lnTo>
                      <a:lnTo>
                        <a:pt x="618" y="55"/>
                      </a:lnTo>
                      <a:lnTo>
                        <a:pt x="614" y="55"/>
                      </a:lnTo>
                      <a:lnTo>
                        <a:pt x="614" y="55"/>
                      </a:lnTo>
                      <a:lnTo>
                        <a:pt x="612" y="55"/>
                      </a:lnTo>
                      <a:lnTo>
                        <a:pt x="612" y="55"/>
                      </a:lnTo>
                      <a:lnTo>
                        <a:pt x="612" y="57"/>
                      </a:lnTo>
                      <a:lnTo>
                        <a:pt x="612" y="57"/>
                      </a:lnTo>
                      <a:lnTo>
                        <a:pt x="610" y="59"/>
                      </a:lnTo>
                      <a:lnTo>
                        <a:pt x="610" y="59"/>
                      </a:lnTo>
                      <a:lnTo>
                        <a:pt x="610" y="61"/>
                      </a:lnTo>
                      <a:lnTo>
                        <a:pt x="610" y="61"/>
                      </a:lnTo>
                      <a:lnTo>
                        <a:pt x="616" y="61"/>
                      </a:lnTo>
                      <a:lnTo>
                        <a:pt x="620" y="59"/>
                      </a:lnTo>
                      <a:lnTo>
                        <a:pt x="625" y="59"/>
                      </a:lnTo>
                      <a:lnTo>
                        <a:pt x="629" y="59"/>
                      </a:lnTo>
                      <a:lnTo>
                        <a:pt x="629" y="59"/>
                      </a:lnTo>
                      <a:lnTo>
                        <a:pt x="631" y="57"/>
                      </a:lnTo>
                      <a:lnTo>
                        <a:pt x="633" y="55"/>
                      </a:lnTo>
                      <a:lnTo>
                        <a:pt x="633" y="55"/>
                      </a:lnTo>
                      <a:lnTo>
                        <a:pt x="633" y="54"/>
                      </a:lnTo>
                      <a:lnTo>
                        <a:pt x="634" y="54"/>
                      </a:lnTo>
                      <a:lnTo>
                        <a:pt x="634" y="54"/>
                      </a:lnTo>
                      <a:lnTo>
                        <a:pt x="636" y="52"/>
                      </a:lnTo>
                      <a:lnTo>
                        <a:pt x="636" y="50"/>
                      </a:lnTo>
                      <a:lnTo>
                        <a:pt x="640" y="55"/>
                      </a:lnTo>
                      <a:lnTo>
                        <a:pt x="642" y="59"/>
                      </a:lnTo>
                      <a:lnTo>
                        <a:pt x="640" y="65"/>
                      </a:lnTo>
                      <a:lnTo>
                        <a:pt x="638" y="70"/>
                      </a:lnTo>
                      <a:lnTo>
                        <a:pt x="636" y="78"/>
                      </a:lnTo>
                      <a:lnTo>
                        <a:pt x="634" y="83"/>
                      </a:lnTo>
                      <a:lnTo>
                        <a:pt x="631" y="83"/>
                      </a:lnTo>
                      <a:lnTo>
                        <a:pt x="627" y="85"/>
                      </a:lnTo>
                      <a:lnTo>
                        <a:pt x="622" y="85"/>
                      </a:lnTo>
                      <a:lnTo>
                        <a:pt x="622" y="85"/>
                      </a:lnTo>
                      <a:lnTo>
                        <a:pt x="618" y="87"/>
                      </a:lnTo>
                      <a:lnTo>
                        <a:pt x="618" y="87"/>
                      </a:lnTo>
                      <a:lnTo>
                        <a:pt x="618" y="92"/>
                      </a:lnTo>
                      <a:lnTo>
                        <a:pt x="618" y="96"/>
                      </a:lnTo>
                      <a:lnTo>
                        <a:pt x="616" y="96"/>
                      </a:lnTo>
                      <a:lnTo>
                        <a:pt x="616" y="96"/>
                      </a:lnTo>
                      <a:lnTo>
                        <a:pt x="614" y="98"/>
                      </a:lnTo>
                      <a:lnTo>
                        <a:pt x="614" y="98"/>
                      </a:lnTo>
                      <a:lnTo>
                        <a:pt x="612" y="103"/>
                      </a:lnTo>
                      <a:lnTo>
                        <a:pt x="612" y="109"/>
                      </a:lnTo>
                      <a:lnTo>
                        <a:pt x="610" y="111"/>
                      </a:lnTo>
                      <a:lnTo>
                        <a:pt x="614" y="111"/>
                      </a:lnTo>
                      <a:lnTo>
                        <a:pt x="616" y="111"/>
                      </a:lnTo>
                      <a:lnTo>
                        <a:pt x="616" y="111"/>
                      </a:lnTo>
                      <a:lnTo>
                        <a:pt x="618" y="111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9"/>
                      </a:lnTo>
                      <a:lnTo>
                        <a:pt x="618" y="107"/>
                      </a:lnTo>
                      <a:lnTo>
                        <a:pt x="618" y="103"/>
                      </a:lnTo>
                      <a:lnTo>
                        <a:pt x="618" y="101"/>
                      </a:lnTo>
                      <a:lnTo>
                        <a:pt x="620" y="100"/>
                      </a:lnTo>
                      <a:lnTo>
                        <a:pt x="622" y="100"/>
                      </a:lnTo>
                      <a:lnTo>
                        <a:pt x="634" y="100"/>
                      </a:lnTo>
                      <a:lnTo>
                        <a:pt x="647" y="98"/>
                      </a:lnTo>
                      <a:lnTo>
                        <a:pt x="653" y="100"/>
                      </a:lnTo>
                      <a:lnTo>
                        <a:pt x="658" y="100"/>
                      </a:lnTo>
                      <a:lnTo>
                        <a:pt x="666" y="101"/>
                      </a:lnTo>
                      <a:lnTo>
                        <a:pt x="671" y="103"/>
                      </a:lnTo>
                      <a:lnTo>
                        <a:pt x="671" y="124"/>
                      </a:lnTo>
                      <a:lnTo>
                        <a:pt x="673" y="133"/>
                      </a:lnTo>
                      <a:lnTo>
                        <a:pt x="673" y="135"/>
                      </a:lnTo>
                      <a:lnTo>
                        <a:pt x="673" y="135"/>
                      </a:lnTo>
                      <a:lnTo>
                        <a:pt x="675" y="137"/>
                      </a:lnTo>
                      <a:lnTo>
                        <a:pt x="675" y="137"/>
                      </a:lnTo>
                      <a:lnTo>
                        <a:pt x="677" y="137"/>
                      </a:lnTo>
                      <a:lnTo>
                        <a:pt x="677" y="137"/>
                      </a:lnTo>
                      <a:lnTo>
                        <a:pt x="679" y="137"/>
                      </a:lnTo>
                      <a:lnTo>
                        <a:pt x="679" y="137"/>
                      </a:lnTo>
                      <a:lnTo>
                        <a:pt x="681" y="131"/>
                      </a:lnTo>
                      <a:lnTo>
                        <a:pt x="682" y="127"/>
                      </a:lnTo>
                      <a:lnTo>
                        <a:pt x="682" y="129"/>
                      </a:lnTo>
                      <a:lnTo>
                        <a:pt x="682" y="133"/>
                      </a:lnTo>
                      <a:lnTo>
                        <a:pt x="682" y="137"/>
                      </a:lnTo>
                      <a:lnTo>
                        <a:pt x="682" y="137"/>
                      </a:lnTo>
                      <a:lnTo>
                        <a:pt x="690" y="135"/>
                      </a:lnTo>
                      <a:lnTo>
                        <a:pt x="695" y="135"/>
                      </a:lnTo>
                      <a:lnTo>
                        <a:pt x="695" y="135"/>
                      </a:lnTo>
                      <a:lnTo>
                        <a:pt x="697" y="133"/>
                      </a:lnTo>
                      <a:lnTo>
                        <a:pt x="697" y="131"/>
                      </a:lnTo>
                      <a:lnTo>
                        <a:pt x="699" y="131"/>
                      </a:lnTo>
                      <a:lnTo>
                        <a:pt x="699" y="127"/>
                      </a:lnTo>
                      <a:lnTo>
                        <a:pt x="699" y="125"/>
                      </a:lnTo>
                      <a:lnTo>
                        <a:pt x="699" y="125"/>
                      </a:lnTo>
                      <a:lnTo>
                        <a:pt x="697" y="124"/>
                      </a:lnTo>
                      <a:lnTo>
                        <a:pt x="697" y="124"/>
                      </a:lnTo>
                      <a:lnTo>
                        <a:pt x="697" y="124"/>
                      </a:lnTo>
                      <a:lnTo>
                        <a:pt x="699" y="122"/>
                      </a:lnTo>
                      <a:lnTo>
                        <a:pt x="705" y="120"/>
                      </a:lnTo>
                      <a:lnTo>
                        <a:pt x="708" y="118"/>
                      </a:lnTo>
                      <a:lnTo>
                        <a:pt x="708" y="118"/>
                      </a:lnTo>
                      <a:lnTo>
                        <a:pt x="712" y="116"/>
                      </a:lnTo>
                      <a:lnTo>
                        <a:pt x="712" y="120"/>
                      </a:lnTo>
                      <a:lnTo>
                        <a:pt x="714" y="124"/>
                      </a:lnTo>
                      <a:lnTo>
                        <a:pt x="714" y="127"/>
                      </a:lnTo>
                      <a:lnTo>
                        <a:pt x="716" y="131"/>
                      </a:lnTo>
                      <a:lnTo>
                        <a:pt x="710" y="131"/>
                      </a:lnTo>
                      <a:lnTo>
                        <a:pt x="706" y="131"/>
                      </a:lnTo>
                      <a:lnTo>
                        <a:pt x="706" y="131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05" y="133"/>
                      </a:lnTo>
                      <a:lnTo>
                        <a:pt x="705" y="133"/>
                      </a:lnTo>
                      <a:lnTo>
                        <a:pt x="705" y="135"/>
                      </a:lnTo>
                      <a:lnTo>
                        <a:pt x="705" y="137"/>
                      </a:lnTo>
                      <a:lnTo>
                        <a:pt x="705" y="137"/>
                      </a:lnTo>
                      <a:lnTo>
                        <a:pt x="708" y="138"/>
                      </a:lnTo>
                      <a:lnTo>
                        <a:pt x="712" y="138"/>
                      </a:lnTo>
                      <a:lnTo>
                        <a:pt x="714" y="140"/>
                      </a:lnTo>
                      <a:lnTo>
                        <a:pt x="718" y="140"/>
                      </a:lnTo>
                      <a:lnTo>
                        <a:pt x="716" y="144"/>
                      </a:lnTo>
                      <a:lnTo>
                        <a:pt x="716" y="149"/>
                      </a:lnTo>
                      <a:lnTo>
                        <a:pt x="714" y="153"/>
                      </a:lnTo>
                      <a:lnTo>
                        <a:pt x="714" y="153"/>
                      </a:lnTo>
                      <a:lnTo>
                        <a:pt x="714" y="157"/>
                      </a:lnTo>
                      <a:lnTo>
                        <a:pt x="714" y="157"/>
                      </a:lnTo>
                      <a:lnTo>
                        <a:pt x="712" y="155"/>
                      </a:lnTo>
                      <a:lnTo>
                        <a:pt x="712" y="155"/>
                      </a:lnTo>
                      <a:lnTo>
                        <a:pt x="706" y="153"/>
                      </a:lnTo>
                      <a:lnTo>
                        <a:pt x="701" y="151"/>
                      </a:lnTo>
                      <a:lnTo>
                        <a:pt x="699" y="151"/>
                      </a:lnTo>
                      <a:lnTo>
                        <a:pt x="699" y="155"/>
                      </a:lnTo>
                      <a:lnTo>
                        <a:pt x="699" y="155"/>
                      </a:lnTo>
                      <a:lnTo>
                        <a:pt x="699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3" y="159"/>
                      </a:lnTo>
                      <a:lnTo>
                        <a:pt x="703" y="159"/>
                      </a:lnTo>
                      <a:lnTo>
                        <a:pt x="705" y="159"/>
                      </a:lnTo>
                      <a:lnTo>
                        <a:pt x="706" y="159"/>
                      </a:lnTo>
                      <a:lnTo>
                        <a:pt x="706" y="159"/>
                      </a:lnTo>
                      <a:lnTo>
                        <a:pt x="708" y="159"/>
                      </a:lnTo>
                      <a:lnTo>
                        <a:pt x="710" y="161"/>
                      </a:lnTo>
                      <a:lnTo>
                        <a:pt x="710" y="161"/>
                      </a:lnTo>
                      <a:lnTo>
                        <a:pt x="710" y="161"/>
                      </a:lnTo>
                      <a:lnTo>
                        <a:pt x="708" y="162"/>
                      </a:lnTo>
                      <a:lnTo>
                        <a:pt x="708" y="164"/>
                      </a:lnTo>
                      <a:lnTo>
                        <a:pt x="706" y="166"/>
                      </a:lnTo>
                      <a:lnTo>
                        <a:pt x="705" y="168"/>
                      </a:lnTo>
                      <a:lnTo>
                        <a:pt x="701" y="172"/>
                      </a:lnTo>
                      <a:lnTo>
                        <a:pt x="695" y="173"/>
                      </a:lnTo>
                      <a:lnTo>
                        <a:pt x="686" y="175"/>
                      </a:lnTo>
                      <a:lnTo>
                        <a:pt x="675" y="179"/>
                      </a:lnTo>
                      <a:lnTo>
                        <a:pt x="668" y="188"/>
                      </a:lnTo>
                      <a:lnTo>
                        <a:pt x="660" y="197"/>
                      </a:lnTo>
                      <a:lnTo>
                        <a:pt x="657" y="201"/>
                      </a:lnTo>
                      <a:lnTo>
                        <a:pt x="655" y="205"/>
                      </a:lnTo>
                      <a:lnTo>
                        <a:pt x="651" y="207"/>
                      </a:lnTo>
                      <a:lnTo>
                        <a:pt x="647" y="210"/>
                      </a:lnTo>
                      <a:lnTo>
                        <a:pt x="646" y="212"/>
                      </a:lnTo>
                      <a:lnTo>
                        <a:pt x="642" y="214"/>
                      </a:lnTo>
                      <a:lnTo>
                        <a:pt x="638" y="214"/>
                      </a:lnTo>
                      <a:lnTo>
                        <a:pt x="634" y="216"/>
                      </a:lnTo>
                      <a:lnTo>
                        <a:pt x="629" y="214"/>
                      </a:lnTo>
                      <a:lnTo>
                        <a:pt x="623" y="214"/>
                      </a:lnTo>
                      <a:lnTo>
                        <a:pt x="618" y="212"/>
                      </a:lnTo>
                      <a:lnTo>
                        <a:pt x="610" y="209"/>
                      </a:lnTo>
                      <a:lnTo>
                        <a:pt x="605" y="216"/>
                      </a:lnTo>
                      <a:lnTo>
                        <a:pt x="599" y="220"/>
                      </a:lnTo>
                      <a:lnTo>
                        <a:pt x="596" y="225"/>
                      </a:lnTo>
                      <a:lnTo>
                        <a:pt x="592" y="231"/>
                      </a:lnTo>
                      <a:lnTo>
                        <a:pt x="592" y="231"/>
                      </a:lnTo>
                      <a:lnTo>
                        <a:pt x="590" y="234"/>
                      </a:lnTo>
                      <a:lnTo>
                        <a:pt x="588" y="240"/>
                      </a:lnTo>
                      <a:lnTo>
                        <a:pt x="585" y="244"/>
                      </a:lnTo>
                      <a:lnTo>
                        <a:pt x="583" y="249"/>
                      </a:lnTo>
                      <a:lnTo>
                        <a:pt x="583" y="253"/>
                      </a:lnTo>
                      <a:lnTo>
                        <a:pt x="581" y="258"/>
                      </a:lnTo>
                      <a:lnTo>
                        <a:pt x="579" y="262"/>
                      </a:lnTo>
                      <a:lnTo>
                        <a:pt x="579" y="268"/>
                      </a:lnTo>
                      <a:lnTo>
                        <a:pt x="575" y="280"/>
                      </a:lnTo>
                      <a:lnTo>
                        <a:pt x="574" y="293"/>
                      </a:lnTo>
                      <a:lnTo>
                        <a:pt x="562" y="293"/>
                      </a:lnTo>
                      <a:lnTo>
                        <a:pt x="550" y="292"/>
                      </a:lnTo>
                      <a:lnTo>
                        <a:pt x="539" y="290"/>
                      </a:lnTo>
                      <a:lnTo>
                        <a:pt x="526" y="290"/>
                      </a:lnTo>
                      <a:lnTo>
                        <a:pt x="524" y="284"/>
                      </a:lnTo>
                      <a:lnTo>
                        <a:pt x="522" y="280"/>
                      </a:lnTo>
                      <a:lnTo>
                        <a:pt x="518" y="275"/>
                      </a:lnTo>
                      <a:lnTo>
                        <a:pt x="516" y="271"/>
                      </a:lnTo>
                      <a:lnTo>
                        <a:pt x="516" y="271"/>
                      </a:lnTo>
                      <a:lnTo>
                        <a:pt x="511" y="271"/>
                      </a:lnTo>
                      <a:lnTo>
                        <a:pt x="505" y="273"/>
                      </a:lnTo>
                      <a:lnTo>
                        <a:pt x="503" y="273"/>
                      </a:lnTo>
                      <a:lnTo>
                        <a:pt x="509" y="279"/>
                      </a:lnTo>
                      <a:lnTo>
                        <a:pt x="513" y="280"/>
                      </a:lnTo>
                      <a:lnTo>
                        <a:pt x="509" y="282"/>
                      </a:lnTo>
                      <a:lnTo>
                        <a:pt x="503" y="284"/>
                      </a:lnTo>
                      <a:lnTo>
                        <a:pt x="498" y="284"/>
                      </a:lnTo>
                      <a:lnTo>
                        <a:pt x="492" y="286"/>
                      </a:lnTo>
                      <a:lnTo>
                        <a:pt x="491" y="288"/>
                      </a:lnTo>
                      <a:lnTo>
                        <a:pt x="496" y="290"/>
                      </a:lnTo>
                      <a:lnTo>
                        <a:pt x="500" y="292"/>
                      </a:lnTo>
                      <a:lnTo>
                        <a:pt x="503" y="293"/>
                      </a:lnTo>
                      <a:lnTo>
                        <a:pt x="507" y="295"/>
                      </a:lnTo>
                      <a:lnTo>
                        <a:pt x="507" y="299"/>
                      </a:lnTo>
                      <a:lnTo>
                        <a:pt x="507" y="304"/>
                      </a:lnTo>
                      <a:lnTo>
                        <a:pt x="507" y="308"/>
                      </a:lnTo>
                      <a:lnTo>
                        <a:pt x="507" y="312"/>
                      </a:lnTo>
                      <a:lnTo>
                        <a:pt x="507" y="314"/>
                      </a:lnTo>
                      <a:lnTo>
                        <a:pt x="539" y="319"/>
                      </a:lnTo>
                      <a:lnTo>
                        <a:pt x="555" y="321"/>
                      </a:lnTo>
                      <a:lnTo>
                        <a:pt x="559" y="323"/>
                      </a:lnTo>
                      <a:lnTo>
                        <a:pt x="561" y="323"/>
                      </a:lnTo>
                      <a:lnTo>
                        <a:pt x="562" y="325"/>
                      </a:lnTo>
                      <a:lnTo>
                        <a:pt x="562" y="325"/>
                      </a:lnTo>
                      <a:lnTo>
                        <a:pt x="562" y="327"/>
                      </a:lnTo>
                      <a:lnTo>
                        <a:pt x="562" y="327"/>
                      </a:lnTo>
                      <a:lnTo>
                        <a:pt x="561" y="328"/>
                      </a:lnTo>
                      <a:lnTo>
                        <a:pt x="561" y="328"/>
                      </a:lnTo>
                      <a:lnTo>
                        <a:pt x="559" y="332"/>
                      </a:lnTo>
                      <a:lnTo>
                        <a:pt x="559" y="336"/>
                      </a:lnTo>
                      <a:lnTo>
                        <a:pt x="559" y="340"/>
                      </a:lnTo>
                      <a:lnTo>
                        <a:pt x="559" y="340"/>
                      </a:lnTo>
                      <a:lnTo>
                        <a:pt x="557" y="345"/>
                      </a:lnTo>
                      <a:lnTo>
                        <a:pt x="557" y="345"/>
                      </a:lnTo>
                      <a:lnTo>
                        <a:pt x="561" y="345"/>
                      </a:lnTo>
                      <a:lnTo>
                        <a:pt x="564" y="345"/>
                      </a:lnTo>
                      <a:lnTo>
                        <a:pt x="564" y="345"/>
                      </a:lnTo>
                      <a:lnTo>
                        <a:pt x="564" y="341"/>
                      </a:lnTo>
                      <a:lnTo>
                        <a:pt x="564" y="338"/>
                      </a:lnTo>
                      <a:lnTo>
                        <a:pt x="564" y="334"/>
                      </a:lnTo>
                      <a:lnTo>
                        <a:pt x="564" y="330"/>
                      </a:lnTo>
                      <a:lnTo>
                        <a:pt x="566" y="330"/>
                      </a:lnTo>
                      <a:lnTo>
                        <a:pt x="568" y="328"/>
                      </a:lnTo>
                      <a:lnTo>
                        <a:pt x="572" y="328"/>
                      </a:lnTo>
                      <a:lnTo>
                        <a:pt x="574" y="328"/>
                      </a:lnTo>
                      <a:lnTo>
                        <a:pt x="577" y="338"/>
                      </a:lnTo>
                      <a:lnTo>
                        <a:pt x="579" y="347"/>
                      </a:lnTo>
                      <a:lnTo>
                        <a:pt x="583" y="356"/>
                      </a:lnTo>
                      <a:lnTo>
                        <a:pt x="585" y="367"/>
                      </a:lnTo>
                      <a:lnTo>
                        <a:pt x="592" y="365"/>
                      </a:lnTo>
                      <a:lnTo>
                        <a:pt x="596" y="365"/>
                      </a:lnTo>
                      <a:lnTo>
                        <a:pt x="596" y="378"/>
                      </a:lnTo>
                      <a:lnTo>
                        <a:pt x="596" y="388"/>
                      </a:lnTo>
                      <a:lnTo>
                        <a:pt x="594" y="397"/>
                      </a:lnTo>
                      <a:lnTo>
                        <a:pt x="594" y="402"/>
                      </a:lnTo>
                      <a:lnTo>
                        <a:pt x="592" y="410"/>
                      </a:lnTo>
                      <a:lnTo>
                        <a:pt x="590" y="417"/>
                      </a:lnTo>
                      <a:lnTo>
                        <a:pt x="588" y="426"/>
                      </a:lnTo>
                      <a:lnTo>
                        <a:pt x="586" y="436"/>
                      </a:lnTo>
                      <a:lnTo>
                        <a:pt x="568" y="436"/>
                      </a:lnTo>
                      <a:lnTo>
                        <a:pt x="557" y="437"/>
                      </a:lnTo>
                      <a:lnTo>
                        <a:pt x="555" y="437"/>
                      </a:lnTo>
                      <a:lnTo>
                        <a:pt x="555" y="437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39"/>
                      </a:lnTo>
                      <a:lnTo>
                        <a:pt x="553" y="443"/>
                      </a:lnTo>
                      <a:lnTo>
                        <a:pt x="553" y="443"/>
                      </a:lnTo>
                      <a:lnTo>
                        <a:pt x="562" y="443"/>
                      </a:lnTo>
                      <a:lnTo>
                        <a:pt x="570" y="443"/>
                      </a:lnTo>
                      <a:lnTo>
                        <a:pt x="579" y="443"/>
                      </a:lnTo>
                      <a:lnTo>
                        <a:pt x="588" y="443"/>
                      </a:lnTo>
                      <a:lnTo>
                        <a:pt x="596" y="443"/>
                      </a:lnTo>
                      <a:lnTo>
                        <a:pt x="605" y="443"/>
                      </a:lnTo>
                      <a:lnTo>
                        <a:pt x="614" y="443"/>
                      </a:lnTo>
                      <a:lnTo>
                        <a:pt x="622" y="443"/>
                      </a:lnTo>
                      <a:lnTo>
                        <a:pt x="623" y="443"/>
                      </a:lnTo>
                      <a:lnTo>
                        <a:pt x="620" y="437"/>
                      </a:lnTo>
                      <a:lnTo>
                        <a:pt x="618" y="436"/>
                      </a:lnTo>
                      <a:lnTo>
                        <a:pt x="618" y="436"/>
                      </a:lnTo>
                      <a:lnTo>
                        <a:pt x="616" y="432"/>
                      </a:lnTo>
                      <a:lnTo>
                        <a:pt x="614" y="428"/>
                      </a:lnTo>
                      <a:lnTo>
                        <a:pt x="625" y="428"/>
                      </a:lnTo>
                      <a:lnTo>
                        <a:pt x="634" y="430"/>
                      </a:lnTo>
                      <a:lnTo>
                        <a:pt x="642" y="430"/>
                      </a:lnTo>
                      <a:lnTo>
                        <a:pt x="647" y="430"/>
                      </a:lnTo>
                      <a:lnTo>
                        <a:pt x="653" y="432"/>
                      </a:lnTo>
                      <a:lnTo>
                        <a:pt x="658" y="432"/>
                      </a:lnTo>
                      <a:lnTo>
                        <a:pt x="664" y="434"/>
                      </a:lnTo>
                      <a:lnTo>
                        <a:pt x="671" y="437"/>
                      </a:lnTo>
                      <a:lnTo>
                        <a:pt x="673" y="437"/>
                      </a:lnTo>
                      <a:lnTo>
                        <a:pt x="673" y="439"/>
                      </a:lnTo>
                      <a:lnTo>
                        <a:pt x="673" y="439"/>
                      </a:lnTo>
                      <a:lnTo>
                        <a:pt x="673" y="439"/>
                      </a:lnTo>
                      <a:lnTo>
                        <a:pt x="671" y="441"/>
                      </a:lnTo>
                      <a:lnTo>
                        <a:pt x="671" y="441"/>
                      </a:lnTo>
                      <a:lnTo>
                        <a:pt x="673" y="443"/>
                      </a:lnTo>
                      <a:lnTo>
                        <a:pt x="673" y="445"/>
                      </a:lnTo>
                      <a:lnTo>
                        <a:pt x="675" y="447"/>
                      </a:lnTo>
                      <a:lnTo>
                        <a:pt x="677" y="443"/>
                      </a:lnTo>
                      <a:lnTo>
                        <a:pt x="677" y="443"/>
                      </a:lnTo>
                      <a:lnTo>
                        <a:pt x="684" y="443"/>
                      </a:lnTo>
                      <a:lnTo>
                        <a:pt x="684" y="443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0" y="441"/>
                      </a:lnTo>
                      <a:lnTo>
                        <a:pt x="692" y="439"/>
                      </a:lnTo>
                      <a:lnTo>
                        <a:pt x="692" y="439"/>
                      </a:lnTo>
                      <a:lnTo>
                        <a:pt x="692" y="439"/>
                      </a:lnTo>
                      <a:lnTo>
                        <a:pt x="692" y="436"/>
                      </a:lnTo>
                      <a:lnTo>
                        <a:pt x="692" y="436"/>
                      </a:lnTo>
                      <a:lnTo>
                        <a:pt x="688" y="436"/>
                      </a:lnTo>
                      <a:lnTo>
                        <a:pt x="684" y="436"/>
                      </a:lnTo>
                      <a:lnTo>
                        <a:pt x="681" y="436"/>
                      </a:lnTo>
                      <a:lnTo>
                        <a:pt x="677" y="436"/>
                      </a:lnTo>
                      <a:lnTo>
                        <a:pt x="677" y="434"/>
                      </a:lnTo>
                      <a:lnTo>
                        <a:pt x="677" y="434"/>
                      </a:lnTo>
                      <a:lnTo>
                        <a:pt x="675" y="434"/>
                      </a:lnTo>
                      <a:lnTo>
                        <a:pt x="688" y="432"/>
                      </a:lnTo>
                      <a:lnTo>
                        <a:pt x="701" y="430"/>
                      </a:lnTo>
                      <a:lnTo>
                        <a:pt x="716" y="428"/>
                      </a:lnTo>
                      <a:lnTo>
                        <a:pt x="729" y="426"/>
                      </a:lnTo>
                      <a:lnTo>
                        <a:pt x="729" y="430"/>
                      </a:lnTo>
                      <a:lnTo>
                        <a:pt x="729" y="434"/>
                      </a:lnTo>
                      <a:lnTo>
                        <a:pt x="727" y="434"/>
                      </a:lnTo>
                      <a:lnTo>
                        <a:pt x="727" y="434"/>
                      </a:lnTo>
                      <a:lnTo>
                        <a:pt x="725" y="436"/>
                      </a:lnTo>
                      <a:lnTo>
                        <a:pt x="725" y="436"/>
                      </a:lnTo>
                      <a:lnTo>
                        <a:pt x="725" y="443"/>
                      </a:lnTo>
                      <a:lnTo>
                        <a:pt x="725" y="443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7"/>
                      </a:lnTo>
                      <a:lnTo>
                        <a:pt x="725" y="448"/>
                      </a:lnTo>
                      <a:lnTo>
                        <a:pt x="725" y="448"/>
                      </a:lnTo>
                      <a:lnTo>
                        <a:pt x="727" y="448"/>
                      </a:lnTo>
                      <a:lnTo>
                        <a:pt x="729" y="448"/>
                      </a:lnTo>
                      <a:lnTo>
                        <a:pt x="730" y="448"/>
                      </a:lnTo>
                      <a:lnTo>
                        <a:pt x="730" y="443"/>
                      </a:lnTo>
                      <a:lnTo>
                        <a:pt x="730" y="439"/>
                      </a:lnTo>
                      <a:lnTo>
                        <a:pt x="730" y="437"/>
                      </a:lnTo>
                      <a:lnTo>
                        <a:pt x="732" y="437"/>
                      </a:lnTo>
                      <a:lnTo>
                        <a:pt x="738" y="436"/>
                      </a:lnTo>
                      <a:lnTo>
                        <a:pt x="745" y="436"/>
                      </a:lnTo>
                      <a:lnTo>
                        <a:pt x="751" y="436"/>
                      </a:lnTo>
                      <a:lnTo>
                        <a:pt x="756" y="436"/>
                      </a:lnTo>
                      <a:lnTo>
                        <a:pt x="758" y="439"/>
                      </a:lnTo>
                      <a:lnTo>
                        <a:pt x="758" y="443"/>
                      </a:lnTo>
                      <a:lnTo>
                        <a:pt x="760" y="447"/>
                      </a:lnTo>
                      <a:lnTo>
                        <a:pt x="762" y="448"/>
                      </a:lnTo>
                      <a:lnTo>
                        <a:pt x="762" y="448"/>
                      </a:lnTo>
                      <a:lnTo>
                        <a:pt x="764" y="452"/>
                      </a:lnTo>
                      <a:lnTo>
                        <a:pt x="764" y="452"/>
                      </a:lnTo>
                      <a:lnTo>
                        <a:pt x="765" y="454"/>
                      </a:lnTo>
                      <a:lnTo>
                        <a:pt x="767" y="456"/>
                      </a:lnTo>
                      <a:lnTo>
                        <a:pt x="769" y="456"/>
                      </a:lnTo>
                      <a:lnTo>
                        <a:pt x="773" y="458"/>
                      </a:lnTo>
                      <a:lnTo>
                        <a:pt x="769" y="461"/>
                      </a:lnTo>
                      <a:lnTo>
                        <a:pt x="767" y="465"/>
                      </a:lnTo>
                      <a:lnTo>
                        <a:pt x="767" y="465"/>
                      </a:lnTo>
                      <a:lnTo>
                        <a:pt x="765" y="469"/>
                      </a:lnTo>
                      <a:lnTo>
                        <a:pt x="764" y="472"/>
                      </a:lnTo>
                      <a:lnTo>
                        <a:pt x="758" y="478"/>
                      </a:lnTo>
                      <a:lnTo>
                        <a:pt x="753" y="483"/>
                      </a:lnTo>
                      <a:lnTo>
                        <a:pt x="747" y="489"/>
                      </a:lnTo>
                      <a:lnTo>
                        <a:pt x="743" y="495"/>
                      </a:lnTo>
                      <a:lnTo>
                        <a:pt x="742" y="498"/>
                      </a:lnTo>
                      <a:lnTo>
                        <a:pt x="738" y="504"/>
                      </a:lnTo>
                      <a:lnTo>
                        <a:pt x="736" y="507"/>
                      </a:lnTo>
                      <a:lnTo>
                        <a:pt x="736" y="507"/>
                      </a:lnTo>
                      <a:lnTo>
                        <a:pt x="734" y="511"/>
                      </a:lnTo>
                      <a:lnTo>
                        <a:pt x="730" y="511"/>
                      </a:lnTo>
                      <a:lnTo>
                        <a:pt x="727" y="509"/>
                      </a:lnTo>
                      <a:lnTo>
                        <a:pt x="727" y="509"/>
                      </a:lnTo>
                      <a:lnTo>
                        <a:pt x="725" y="509"/>
                      </a:lnTo>
                      <a:lnTo>
                        <a:pt x="721" y="509"/>
                      </a:lnTo>
                      <a:lnTo>
                        <a:pt x="721" y="509"/>
                      </a:lnTo>
                      <a:lnTo>
                        <a:pt x="719" y="511"/>
                      </a:lnTo>
                      <a:lnTo>
                        <a:pt x="719" y="511"/>
                      </a:lnTo>
                      <a:lnTo>
                        <a:pt x="718" y="511"/>
                      </a:lnTo>
                      <a:lnTo>
                        <a:pt x="718" y="511"/>
                      </a:lnTo>
                      <a:lnTo>
                        <a:pt x="716" y="513"/>
                      </a:lnTo>
                      <a:lnTo>
                        <a:pt x="712" y="515"/>
                      </a:lnTo>
                      <a:lnTo>
                        <a:pt x="712" y="517"/>
                      </a:lnTo>
                      <a:lnTo>
                        <a:pt x="718" y="517"/>
                      </a:lnTo>
                      <a:lnTo>
                        <a:pt x="721" y="517"/>
                      </a:lnTo>
                      <a:lnTo>
                        <a:pt x="725" y="519"/>
                      </a:lnTo>
                      <a:lnTo>
                        <a:pt x="729" y="519"/>
                      </a:lnTo>
                      <a:lnTo>
                        <a:pt x="729" y="526"/>
                      </a:lnTo>
                      <a:lnTo>
                        <a:pt x="727" y="533"/>
                      </a:lnTo>
                      <a:lnTo>
                        <a:pt x="727" y="533"/>
                      </a:lnTo>
                      <a:lnTo>
                        <a:pt x="727" y="541"/>
                      </a:lnTo>
                      <a:lnTo>
                        <a:pt x="727" y="548"/>
                      </a:lnTo>
                      <a:lnTo>
                        <a:pt x="729" y="565"/>
                      </a:lnTo>
                      <a:lnTo>
                        <a:pt x="730" y="579"/>
                      </a:lnTo>
                      <a:lnTo>
                        <a:pt x="732" y="596"/>
                      </a:lnTo>
                      <a:lnTo>
                        <a:pt x="734" y="613"/>
                      </a:lnTo>
                      <a:lnTo>
                        <a:pt x="734" y="620"/>
                      </a:lnTo>
                      <a:lnTo>
                        <a:pt x="736" y="627"/>
                      </a:lnTo>
                      <a:lnTo>
                        <a:pt x="736" y="635"/>
                      </a:lnTo>
                      <a:lnTo>
                        <a:pt x="736" y="637"/>
                      </a:lnTo>
                      <a:lnTo>
                        <a:pt x="736" y="637"/>
                      </a:lnTo>
                      <a:lnTo>
                        <a:pt x="736" y="639"/>
                      </a:lnTo>
                      <a:lnTo>
                        <a:pt x="736" y="640"/>
                      </a:lnTo>
                      <a:lnTo>
                        <a:pt x="736" y="644"/>
                      </a:lnTo>
                      <a:lnTo>
                        <a:pt x="736" y="644"/>
                      </a:lnTo>
                      <a:lnTo>
                        <a:pt x="736" y="637"/>
                      </a:lnTo>
                      <a:lnTo>
                        <a:pt x="736" y="635"/>
                      </a:lnTo>
                      <a:lnTo>
                        <a:pt x="736" y="627"/>
                      </a:lnTo>
                      <a:lnTo>
                        <a:pt x="736" y="620"/>
                      </a:lnTo>
                      <a:lnTo>
                        <a:pt x="736" y="613"/>
                      </a:lnTo>
                      <a:lnTo>
                        <a:pt x="736" y="613"/>
                      </a:lnTo>
                      <a:lnTo>
                        <a:pt x="734" y="596"/>
                      </a:lnTo>
                      <a:lnTo>
                        <a:pt x="732" y="579"/>
                      </a:lnTo>
                      <a:lnTo>
                        <a:pt x="730" y="565"/>
                      </a:lnTo>
                      <a:lnTo>
                        <a:pt x="729" y="548"/>
                      </a:lnTo>
                      <a:lnTo>
                        <a:pt x="729" y="541"/>
                      </a:lnTo>
                      <a:lnTo>
                        <a:pt x="729" y="533"/>
                      </a:lnTo>
                      <a:lnTo>
                        <a:pt x="729" y="526"/>
                      </a:lnTo>
                      <a:lnTo>
                        <a:pt x="730" y="519"/>
                      </a:lnTo>
                      <a:lnTo>
                        <a:pt x="730" y="517"/>
                      </a:lnTo>
                      <a:lnTo>
                        <a:pt x="725" y="517"/>
                      </a:lnTo>
                      <a:lnTo>
                        <a:pt x="721" y="515"/>
                      </a:lnTo>
                      <a:lnTo>
                        <a:pt x="718" y="515"/>
                      </a:lnTo>
                      <a:lnTo>
                        <a:pt x="718" y="515"/>
                      </a:lnTo>
                      <a:lnTo>
                        <a:pt x="716" y="515"/>
                      </a:lnTo>
                      <a:lnTo>
                        <a:pt x="716" y="515"/>
                      </a:lnTo>
                      <a:lnTo>
                        <a:pt x="718" y="513"/>
                      </a:lnTo>
                      <a:lnTo>
                        <a:pt x="719" y="511"/>
                      </a:lnTo>
                      <a:lnTo>
                        <a:pt x="721" y="511"/>
                      </a:lnTo>
                      <a:lnTo>
                        <a:pt x="725" y="511"/>
                      </a:lnTo>
                      <a:lnTo>
                        <a:pt x="727" y="511"/>
                      </a:lnTo>
                      <a:lnTo>
                        <a:pt x="730" y="513"/>
                      </a:lnTo>
                      <a:lnTo>
                        <a:pt x="734" y="513"/>
                      </a:lnTo>
                      <a:lnTo>
                        <a:pt x="736" y="513"/>
                      </a:lnTo>
                      <a:lnTo>
                        <a:pt x="738" y="507"/>
                      </a:lnTo>
                      <a:lnTo>
                        <a:pt x="740" y="504"/>
                      </a:lnTo>
                      <a:lnTo>
                        <a:pt x="742" y="500"/>
                      </a:lnTo>
                      <a:lnTo>
                        <a:pt x="745" y="496"/>
                      </a:lnTo>
                      <a:lnTo>
                        <a:pt x="749" y="491"/>
                      </a:lnTo>
                      <a:lnTo>
                        <a:pt x="754" y="483"/>
                      </a:lnTo>
                      <a:lnTo>
                        <a:pt x="758" y="480"/>
                      </a:lnTo>
                      <a:lnTo>
                        <a:pt x="764" y="472"/>
                      </a:lnTo>
                      <a:lnTo>
                        <a:pt x="767" y="471"/>
                      </a:lnTo>
                      <a:lnTo>
                        <a:pt x="767" y="471"/>
                      </a:lnTo>
                      <a:lnTo>
                        <a:pt x="769" y="467"/>
                      </a:lnTo>
                      <a:lnTo>
                        <a:pt x="771" y="463"/>
                      </a:lnTo>
                      <a:lnTo>
                        <a:pt x="771" y="463"/>
                      </a:lnTo>
                      <a:lnTo>
                        <a:pt x="773" y="458"/>
                      </a:lnTo>
                      <a:lnTo>
                        <a:pt x="775" y="458"/>
                      </a:lnTo>
                      <a:lnTo>
                        <a:pt x="769" y="456"/>
                      </a:lnTo>
                      <a:lnTo>
                        <a:pt x="767" y="452"/>
                      </a:lnTo>
                      <a:lnTo>
                        <a:pt x="764" y="450"/>
                      </a:lnTo>
                      <a:lnTo>
                        <a:pt x="762" y="448"/>
                      </a:lnTo>
                      <a:lnTo>
                        <a:pt x="762" y="445"/>
                      </a:lnTo>
                      <a:lnTo>
                        <a:pt x="762" y="445"/>
                      </a:lnTo>
                      <a:lnTo>
                        <a:pt x="760" y="443"/>
                      </a:lnTo>
                      <a:lnTo>
                        <a:pt x="760" y="439"/>
                      </a:lnTo>
                      <a:lnTo>
                        <a:pt x="758" y="434"/>
                      </a:lnTo>
                      <a:lnTo>
                        <a:pt x="758" y="434"/>
                      </a:lnTo>
                      <a:lnTo>
                        <a:pt x="751" y="434"/>
                      </a:lnTo>
                      <a:lnTo>
                        <a:pt x="745" y="434"/>
                      </a:lnTo>
                      <a:lnTo>
                        <a:pt x="738" y="436"/>
                      </a:lnTo>
                      <a:lnTo>
                        <a:pt x="732" y="436"/>
                      </a:lnTo>
                      <a:lnTo>
                        <a:pt x="732" y="436"/>
                      </a:lnTo>
                      <a:lnTo>
                        <a:pt x="730" y="437"/>
                      </a:lnTo>
                      <a:lnTo>
                        <a:pt x="730" y="437"/>
                      </a:lnTo>
                      <a:lnTo>
                        <a:pt x="729" y="439"/>
                      </a:lnTo>
                      <a:lnTo>
                        <a:pt x="729" y="439"/>
                      </a:lnTo>
                      <a:lnTo>
                        <a:pt x="729" y="443"/>
                      </a:lnTo>
                      <a:lnTo>
                        <a:pt x="729" y="447"/>
                      </a:lnTo>
                      <a:lnTo>
                        <a:pt x="727" y="447"/>
                      </a:lnTo>
                      <a:lnTo>
                        <a:pt x="727" y="447"/>
                      </a:lnTo>
                      <a:lnTo>
                        <a:pt x="725" y="447"/>
                      </a:lnTo>
                      <a:lnTo>
                        <a:pt x="725" y="445"/>
                      </a:lnTo>
                      <a:lnTo>
                        <a:pt x="725" y="443"/>
                      </a:lnTo>
                      <a:lnTo>
                        <a:pt x="727" y="436"/>
                      </a:lnTo>
                      <a:lnTo>
                        <a:pt x="729" y="436"/>
                      </a:lnTo>
                      <a:lnTo>
                        <a:pt x="729" y="434"/>
                      </a:lnTo>
                      <a:lnTo>
                        <a:pt x="730" y="434"/>
                      </a:lnTo>
                      <a:lnTo>
                        <a:pt x="730" y="430"/>
                      </a:lnTo>
                      <a:lnTo>
                        <a:pt x="730" y="424"/>
                      </a:lnTo>
                      <a:lnTo>
                        <a:pt x="730" y="424"/>
                      </a:lnTo>
                      <a:lnTo>
                        <a:pt x="716" y="426"/>
                      </a:lnTo>
                      <a:lnTo>
                        <a:pt x="701" y="428"/>
                      </a:lnTo>
                      <a:lnTo>
                        <a:pt x="688" y="430"/>
                      </a:lnTo>
                      <a:lnTo>
                        <a:pt x="673" y="434"/>
                      </a:lnTo>
                      <a:lnTo>
                        <a:pt x="675" y="436"/>
                      </a:lnTo>
                      <a:lnTo>
                        <a:pt x="677" y="437"/>
                      </a:lnTo>
                      <a:lnTo>
                        <a:pt x="677" y="437"/>
                      </a:lnTo>
                      <a:lnTo>
                        <a:pt x="681" y="437"/>
                      </a:lnTo>
                      <a:lnTo>
                        <a:pt x="684" y="437"/>
                      </a:lnTo>
                      <a:lnTo>
                        <a:pt x="688" y="437"/>
                      </a:lnTo>
                      <a:lnTo>
                        <a:pt x="690" y="437"/>
                      </a:lnTo>
                      <a:lnTo>
                        <a:pt x="690" y="437"/>
                      </a:lnTo>
                      <a:lnTo>
                        <a:pt x="690" y="439"/>
                      </a:lnTo>
                      <a:lnTo>
                        <a:pt x="690" y="439"/>
                      </a:lnTo>
                      <a:lnTo>
                        <a:pt x="688" y="441"/>
                      </a:lnTo>
                      <a:lnTo>
                        <a:pt x="684" y="441"/>
                      </a:lnTo>
                      <a:lnTo>
                        <a:pt x="677" y="441"/>
                      </a:lnTo>
                      <a:lnTo>
                        <a:pt x="677" y="441"/>
                      </a:lnTo>
                      <a:lnTo>
                        <a:pt x="675" y="443"/>
                      </a:lnTo>
                      <a:lnTo>
                        <a:pt x="675" y="443"/>
                      </a:lnTo>
                      <a:lnTo>
                        <a:pt x="673" y="443"/>
                      </a:lnTo>
                      <a:lnTo>
                        <a:pt x="673" y="441"/>
                      </a:lnTo>
                      <a:lnTo>
                        <a:pt x="673" y="441"/>
                      </a:lnTo>
                      <a:lnTo>
                        <a:pt x="675" y="439"/>
                      </a:lnTo>
                      <a:lnTo>
                        <a:pt x="675" y="439"/>
                      </a:lnTo>
                      <a:lnTo>
                        <a:pt x="673" y="437"/>
                      </a:lnTo>
                      <a:lnTo>
                        <a:pt x="671" y="436"/>
                      </a:lnTo>
                      <a:lnTo>
                        <a:pt x="671" y="436"/>
                      </a:lnTo>
                      <a:lnTo>
                        <a:pt x="664" y="434"/>
                      </a:lnTo>
                      <a:lnTo>
                        <a:pt x="658" y="432"/>
                      </a:lnTo>
                      <a:lnTo>
                        <a:pt x="653" y="430"/>
                      </a:lnTo>
                      <a:lnTo>
                        <a:pt x="647" y="428"/>
                      </a:lnTo>
                      <a:lnTo>
                        <a:pt x="647" y="428"/>
                      </a:lnTo>
                      <a:lnTo>
                        <a:pt x="642" y="428"/>
                      </a:lnTo>
                      <a:lnTo>
                        <a:pt x="642" y="428"/>
                      </a:lnTo>
                      <a:lnTo>
                        <a:pt x="634" y="428"/>
                      </a:lnTo>
                      <a:lnTo>
                        <a:pt x="625" y="428"/>
                      </a:lnTo>
                      <a:lnTo>
                        <a:pt x="612" y="428"/>
                      </a:lnTo>
                      <a:lnTo>
                        <a:pt x="614" y="432"/>
                      </a:lnTo>
                      <a:lnTo>
                        <a:pt x="614" y="432"/>
                      </a:lnTo>
                      <a:lnTo>
                        <a:pt x="618" y="436"/>
                      </a:lnTo>
                      <a:lnTo>
                        <a:pt x="620" y="439"/>
                      </a:lnTo>
                      <a:lnTo>
                        <a:pt x="620" y="439"/>
                      </a:lnTo>
                      <a:lnTo>
                        <a:pt x="622" y="441"/>
                      </a:lnTo>
                      <a:lnTo>
                        <a:pt x="614" y="441"/>
                      </a:lnTo>
                      <a:lnTo>
                        <a:pt x="605" y="441"/>
                      </a:lnTo>
                      <a:lnTo>
                        <a:pt x="596" y="441"/>
                      </a:lnTo>
                      <a:lnTo>
                        <a:pt x="588" y="441"/>
                      </a:lnTo>
                      <a:lnTo>
                        <a:pt x="579" y="441"/>
                      </a:lnTo>
                      <a:lnTo>
                        <a:pt x="570" y="441"/>
                      </a:lnTo>
                      <a:lnTo>
                        <a:pt x="562" y="441"/>
                      </a:lnTo>
                      <a:lnTo>
                        <a:pt x="555" y="441"/>
                      </a:lnTo>
                      <a:lnTo>
                        <a:pt x="555" y="441"/>
                      </a:lnTo>
                      <a:lnTo>
                        <a:pt x="555" y="439"/>
                      </a:lnTo>
                      <a:lnTo>
                        <a:pt x="555" y="439"/>
                      </a:lnTo>
                      <a:lnTo>
                        <a:pt x="559" y="439"/>
                      </a:lnTo>
                      <a:lnTo>
                        <a:pt x="568" y="437"/>
                      </a:lnTo>
                      <a:lnTo>
                        <a:pt x="586" y="437"/>
                      </a:lnTo>
                      <a:lnTo>
                        <a:pt x="590" y="426"/>
                      </a:lnTo>
                      <a:lnTo>
                        <a:pt x="592" y="417"/>
                      </a:lnTo>
                      <a:lnTo>
                        <a:pt x="594" y="410"/>
                      </a:lnTo>
                      <a:lnTo>
                        <a:pt x="594" y="402"/>
                      </a:lnTo>
                      <a:lnTo>
                        <a:pt x="596" y="397"/>
                      </a:lnTo>
                      <a:lnTo>
                        <a:pt x="596" y="388"/>
                      </a:lnTo>
                      <a:lnTo>
                        <a:pt x="598" y="378"/>
                      </a:lnTo>
                      <a:lnTo>
                        <a:pt x="598" y="365"/>
                      </a:lnTo>
                      <a:lnTo>
                        <a:pt x="592" y="365"/>
                      </a:lnTo>
                      <a:lnTo>
                        <a:pt x="586" y="365"/>
                      </a:lnTo>
                      <a:lnTo>
                        <a:pt x="585" y="356"/>
                      </a:lnTo>
                      <a:lnTo>
                        <a:pt x="581" y="347"/>
                      </a:lnTo>
                      <a:lnTo>
                        <a:pt x="579" y="338"/>
                      </a:lnTo>
                      <a:lnTo>
                        <a:pt x="575" y="327"/>
                      </a:lnTo>
                      <a:lnTo>
                        <a:pt x="572" y="327"/>
                      </a:lnTo>
                      <a:lnTo>
                        <a:pt x="566" y="327"/>
                      </a:lnTo>
                      <a:lnTo>
                        <a:pt x="566" y="327"/>
                      </a:lnTo>
                      <a:lnTo>
                        <a:pt x="564" y="328"/>
                      </a:lnTo>
                      <a:lnTo>
                        <a:pt x="564" y="328"/>
                      </a:lnTo>
                      <a:lnTo>
                        <a:pt x="564" y="330"/>
                      </a:lnTo>
                      <a:lnTo>
                        <a:pt x="564" y="330"/>
                      </a:lnTo>
                      <a:lnTo>
                        <a:pt x="564" y="334"/>
                      </a:lnTo>
                      <a:lnTo>
                        <a:pt x="564" y="338"/>
                      </a:lnTo>
                      <a:lnTo>
                        <a:pt x="564" y="341"/>
                      </a:lnTo>
                      <a:lnTo>
                        <a:pt x="564" y="343"/>
                      </a:lnTo>
                      <a:lnTo>
                        <a:pt x="561" y="343"/>
                      </a:lnTo>
                      <a:lnTo>
                        <a:pt x="559" y="343"/>
                      </a:lnTo>
                      <a:lnTo>
                        <a:pt x="559" y="340"/>
                      </a:lnTo>
                      <a:lnTo>
                        <a:pt x="561" y="336"/>
                      </a:lnTo>
                      <a:lnTo>
                        <a:pt x="561" y="332"/>
                      </a:lnTo>
                      <a:lnTo>
                        <a:pt x="562" y="328"/>
                      </a:lnTo>
                      <a:lnTo>
                        <a:pt x="562" y="327"/>
                      </a:lnTo>
                      <a:lnTo>
                        <a:pt x="564" y="325"/>
                      </a:lnTo>
                      <a:lnTo>
                        <a:pt x="566" y="325"/>
                      </a:lnTo>
                      <a:lnTo>
                        <a:pt x="564" y="323"/>
                      </a:lnTo>
                      <a:lnTo>
                        <a:pt x="564" y="323"/>
                      </a:lnTo>
                      <a:lnTo>
                        <a:pt x="562" y="321"/>
                      </a:lnTo>
                      <a:lnTo>
                        <a:pt x="562" y="321"/>
                      </a:lnTo>
                      <a:lnTo>
                        <a:pt x="559" y="321"/>
                      </a:lnTo>
                      <a:lnTo>
                        <a:pt x="555" y="319"/>
                      </a:lnTo>
                      <a:lnTo>
                        <a:pt x="539" y="317"/>
                      </a:lnTo>
                      <a:lnTo>
                        <a:pt x="509" y="312"/>
                      </a:lnTo>
                      <a:lnTo>
                        <a:pt x="509" y="308"/>
                      </a:lnTo>
                      <a:lnTo>
                        <a:pt x="509" y="304"/>
                      </a:lnTo>
                      <a:lnTo>
                        <a:pt x="509" y="299"/>
                      </a:lnTo>
                      <a:lnTo>
                        <a:pt x="509" y="295"/>
                      </a:lnTo>
                      <a:lnTo>
                        <a:pt x="509" y="295"/>
                      </a:lnTo>
                      <a:lnTo>
                        <a:pt x="505" y="292"/>
                      </a:lnTo>
                      <a:lnTo>
                        <a:pt x="502" y="290"/>
                      </a:lnTo>
                      <a:lnTo>
                        <a:pt x="496" y="288"/>
                      </a:lnTo>
                      <a:lnTo>
                        <a:pt x="494" y="288"/>
                      </a:lnTo>
                      <a:lnTo>
                        <a:pt x="498" y="286"/>
                      </a:lnTo>
                      <a:lnTo>
                        <a:pt x="503" y="284"/>
                      </a:lnTo>
                      <a:lnTo>
                        <a:pt x="509" y="284"/>
                      </a:lnTo>
                      <a:lnTo>
                        <a:pt x="515" y="282"/>
                      </a:lnTo>
                      <a:lnTo>
                        <a:pt x="516" y="282"/>
                      </a:lnTo>
                      <a:lnTo>
                        <a:pt x="511" y="277"/>
                      </a:lnTo>
                      <a:lnTo>
                        <a:pt x="507" y="273"/>
                      </a:lnTo>
                      <a:lnTo>
                        <a:pt x="511" y="273"/>
                      </a:lnTo>
                      <a:lnTo>
                        <a:pt x="515" y="273"/>
                      </a:lnTo>
                      <a:lnTo>
                        <a:pt x="516" y="277"/>
                      </a:lnTo>
                      <a:lnTo>
                        <a:pt x="520" y="280"/>
                      </a:lnTo>
                      <a:lnTo>
                        <a:pt x="522" y="286"/>
                      </a:lnTo>
                      <a:lnTo>
                        <a:pt x="526" y="290"/>
                      </a:lnTo>
                      <a:lnTo>
                        <a:pt x="526" y="292"/>
                      </a:lnTo>
                      <a:lnTo>
                        <a:pt x="539" y="292"/>
                      </a:lnTo>
                      <a:lnTo>
                        <a:pt x="550" y="293"/>
                      </a:lnTo>
                      <a:lnTo>
                        <a:pt x="562" y="295"/>
                      </a:lnTo>
                      <a:lnTo>
                        <a:pt x="575" y="295"/>
                      </a:lnTo>
                      <a:lnTo>
                        <a:pt x="577" y="280"/>
                      </a:lnTo>
                      <a:lnTo>
                        <a:pt x="579" y="269"/>
                      </a:lnTo>
                      <a:lnTo>
                        <a:pt x="581" y="262"/>
                      </a:lnTo>
                      <a:lnTo>
                        <a:pt x="583" y="258"/>
                      </a:lnTo>
                      <a:lnTo>
                        <a:pt x="583" y="253"/>
                      </a:lnTo>
                      <a:lnTo>
                        <a:pt x="585" y="249"/>
                      </a:lnTo>
                      <a:lnTo>
                        <a:pt x="586" y="244"/>
                      </a:lnTo>
                      <a:lnTo>
                        <a:pt x="588" y="240"/>
                      </a:lnTo>
                      <a:lnTo>
                        <a:pt x="592" y="236"/>
                      </a:lnTo>
                      <a:lnTo>
                        <a:pt x="594" y="231"/>
                      </a:lnTo>
                      <a:lnTo>
                        <a:pt x="598" y="227"/>
                      </a:lnTo>
                      <a:lnTo>
                        <a:pt x="601" y="221"/>
                      </a:lnTo>
                      <a:lnTo>
                        <a:pt x="605" y="216"/>
                      </a:lnTo>
                      <a:lnTo>
                        <a:pt x="610" y="210"/>
                      </a:lnTo>
                      <a:lnTo>
                        <a:pt x="618" y="214"/>
                      </a:lnTo>
                      <a:lnTo>
                        <a:pt x="623" y="216"/>
                      </a:lnTo>
                      <a:lnTo>
                        <a:pt x="623" y="216"/>
                      </a:lnTo>
                      <a:lnTo>
                        <a:pt x="629" y="216"/>
                      </a:lnTo>
                      <a:lnTo>
                        <a:pt x="629" y="216"/>
                      </a:lnTo>
                      <a:lnTo>
                        <a:pt x="634" y="216"/>
                      </a:lnTo>
                      <a:lnTo>
                        <a:pt x="634" y="216"/>
                      </a:lnTo>
                      <a:lnTo>
                        <a:pt x="638" y="216"/>
                      </a:lnTo>
                      <a:lnTo>
                        <a:pt x="638" y="216"/>
                      </a:lnTo>
                      <a:lnTo>
                        <a:pt x="642" y="214"/>
                      </a:lnTo>
                      <a:lnTo>
                        <a:pt x="642" y="214"/>
                      </a:lnTo>
                      <a:lnTo>
                        <a:pt x="646" y="214"/>
                      </a:lnTo>
                      <a:lnTo>
                        <a:pt x="646" y="214"/>
                      </a:lnTo>
                      <a:lnTo>
                        <a:pt x="649" y="210"/>
                      </a:lnTo>
                      <a:lnTo>
                        <a:pt x="649" y="210"/>
                      </a:lnTo>
                      <a:lnTo>
                        <a:pt x="653" y="209"/>
                      </a:lnTo>
                      <a:lnTo>
                        <a:pt x="655" y="205"/>
                      </a:lnTo>
                      <a:lnTo>
                        <a:pt x="655" y="205"/>
                      </a:lnTo>
                      <a:lnTo>
                        <a:pt x="658" y="201"/>
                      </a:lnTo>
                      <a:lnTo>
                        <a:pt x="662" y="197"/>
                      </a:lnTo>
                      <a:lnTo>
                        <a:pt x="668" y="190"/>
                      </a:lnTo>
                      <a:lnTo>
                        <a:pt x="675" y="181"/>
                      </a:lnTo>
                      <a:lnTo>
                        <a:pt x="686" y="177"/>
                      </a:lnTo>
                      <a:lnTo>
                        <a:pt x="697" y="173"/>
                      </a:lnTo>
                      <a:lnTo>
                        <a:pt x="701" y="172"/>
                      </a:lnTo>
                      <a:lnTo>
                        <a:pt x="701" y="172"/>
                      </a:lnTo>
                      <a:lnTo>
                        <a:pt x="705" y="170"/>
                      </a:lnTo>
                      <a:lnTo>
                        <a:pt x="706" y="168"/>
                      </a:lnTo>
                      <a:lnTo>
                        <a:pt x="706" y="168"/>
                      </a:lnTo>
                      <a:lnTo>
                        <a:pt x="708" y="166"/>
                      </a:lnTo>
                      <a:lnTo>
                        <a:pt x="710" y="164"/>
                      </a:lnTo>
                      <a:lnTo>
                        <a:pt x="712" y="161"/>
                      </a:lnTo>
                      <a:lnTo>
                        <a:pt x="712" y="161"/>
                      </a:lnTo>
                      <a:lnTo>
                        <a:pt x="710" y="159"/>
                      </a:lnTo>
                      <a:lnTo>
                        <a:pt x="710" y="159"/>
                      </a:lnTo>
                      <a:lnTo>
                        <a:pt x="708" y="157"/>
                      </a:lnTo>
                      <a:lnTo>
                        <a:pt x="706" y="157"/>
                      </a:lnTo>
                      <a:lnTo>
                        <a:pt x="705" y="157"/>
                      </a:lnTo>
                      <a:lnTo>
                        <a:pt x="705" y="157"/>
                      </a:lnTo>
                      <a:lnTo>
                        <a:pt x="703" y="157"/>
                      </a:lnTo>
                      <a:lnTo>
                        <a:pt x="703" y="157"/>
                      </a:lnTo>
                      <a:lnTo>
                        <a:pt x="701" y="157"/>
                      </a:lnTo>
                      <a:lnTo>
                        <a:pt x="701" y="155"/>
                      </a:lnTo>
                      <a:lnTo>
                        <a:pt x="701" y="155"/>
                      </a:lnTo>
                      <a:lnTo>
                        <a:pt x="701" y="153"/>
                      </a:lnTo>
                      <a:lnTo>
                        <a:pt x="706" y="155"/>
                      </a:lnTo>
                      <a:lnTo>
                        <a:pt x="710" y="155"/>
                      </a:lnTo>
                      <a:lnTo>
                        <a:pt x="712" y="157"/>
                      </a:lnTo>
                      <a:lnTo>
                        <a:pt x="712" y="157"/>
                      </a:lnTo>
                      <a:lnTo>
                        <a:pt x="714" y="159"/>
                      </a:lnTo>
                      <a:lnTo>
                        <a:pt x="714" y="161"/>
                      </a:lnTo>
                      <a:lnTo>
                        <a:pt x="716" y="153"/>
                      </a:lnTo>
                      <a:lnTo>
                        <a:pt x="716" y="149"/>
                      </a:lnTo>
                      <a:lnTo>
                        <a:pt x="716" y="149"/>
                      </a:lnTo>
                      <a:lnTo>
                        <a:pt x="718" y="144"/>
                      </a:lnTo>
                      <a:lnTo>
                        <a:pt x="718" y="140"/>
                      </a:lnTo>
                      <a:lnTo>
                        <a:pt x="719" y="140"/>
                      </a:lnTo>
                      <a:lnTo>
                        <a:pt x="716" y="138"/>
                      </a:lnTo>
                      <a:lnTo>
                        <a:pt x="712" y="137"/>
                      </a:lnTo>
                      <a:lnTo>
                        <a:pt x="712" y="137"/>
                      </a:lnTo>
                      <a:lnTo>
                        <a:pt x="708" y="137"/>
                      </a:lnTo>
                      <a:lnTo>
                        <a:pt x="706" y="137"/>
                      </a:lnTo>
                      <a:lnTo>
                        <a:pt x="706" y="135"/>
                      </a:lnTo>
                      <a:lnTo>
                        <a:pt x="706" y="135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06" y="133"/>
                      </a:lnTo>
                      <a:lnTo>
                        <a:pt x="710" y="133"/>
                      </a:lnTo>
                      <a:lnTo>
                        <a:pt x="716" y="131"/>
                      </a:lnTo>
                      <a:lnTo>
                        <a:pt x="718" y="131"/>
                      </a:lnTo>
                      <a:lnTo>
                        <a:pt x="716" y="127"/>
                      </a:lnTo>
                      <a:lnTo>
                        <a:pt x="716" y="124"/>
                      </a:lnTo>
                      <a:lnTo>
                        <a:pt x="714" y="120"/>
                      </a:lnTo>
                      <a:lnTo>
                        <a:pt x="714" y="120"/>
                      </a:lnTo>
                      <a:lnTo>
                        <a:pt x="714" y="114"/>
                      </a:lnTo>
                      <a:lnTo>
                        <a:pt x="712" y="114"/>
                      </a:lnTo>
                      <a:lnTo>
                        <a:pt x="708" y="116"/>
                      </a:lnTo>
                      <a:lnTo>
                        <a:pt x="703" y="118"/>
                      </a:lnTo>
                      <a:lnTo>
                        <a:pt x="699" y="120"/>
                      </a:lnTo>
                      <a:lnTo>
                        <a:pt x="695" y="122"/>
                      </a:lnTo>
                      <a:lnTo>
                        <a:pt x="694" y="124"/>
                      </a:lnTo>
                      <a:lnTo>
                        <a:pt x="695" y="124"/>
                      </a:lnTo>
                      <a:lnTo>
                        <a:pt x="697" y="125"/>
                      </a:lnTo>
                      <a:lnTo>
                        <a:pt x="697" y="127"/>
                      </a:lnTo>
                      <a:lnTo>
                        <a:pt x="697" y="131"/>
                      </a:lnTo>
                      <a:lnTo>
                        <a:pt x="695" y="131"/>
                      </a:lnTo>
                      <a:lnTo>
                        <a:pt x="695" y="131"/>
                      </a:lnTo>
                      <a:lnTo>
                        <a:pt x="695" y="133"/>
                      </a:lnTo>
                      <a:lnTo>
                        <a:pt x="690" y="135"/>
                      </a:lnTo>
                      <a:lnTo>
                        <a:pt x="684" y="135"/>
                      </a:lnTo>
                      <a:lnTo>
                        <a:pt x="684" y="133"/>
                      </a:lnTo>
                      <a:lnTo>
                        <a:pt x="684" y="127"/>
                      </a:lnTo>
                      <a:lnTo>
                        <a:pt x="684" y="127"/>
                      </a:lnTo>
                      <a:lnTo>
                        <a:pt x="682" y="125"/>
                      </a:lnTo>
                      <a:lnTo>
                        <a:pt x="682" y="125"/>
                      </a:lnTo>
                      <a:lnTo>
                        <a:pt x="681" y="124"/>
                      </a:lnTo>
                      <a:lnTo>
                        <a:pt x="679" y="131"/>
                      </a:lnTo>
                      <a:lnTo>
                        <a:pt x="679" y="131"/>
                      </a:lnTo>
                      <a:lnTo>
                        <a:pt x="677" y="137"/>
                      </a:lnTo>
                      <a:lnTo>
                        <a:pt x="677" y="137"/>
                      </a:lnTo>
                      <a:lnTo>
                        <a:pt x="675" y="135"/>
                      </a:lnTo>
                      <a:lnTo>
                        <a:pt x="675" y="135"/>
                      </a:lnTo>
                      <a:lnTo>
                        <a:pt x="673" y="133"/>
                      </a:lnTo>
                      <a:lnTo>
                        <a:pt x="673" y="122"/>
                      </a:lnTo>
                      <a:lnTo>
                        <a:pt x="673" y="103"/>
                      </a:lnTo>
                      <a:lnTo>
                        <a:pt x="666" y="101"/>
                      </a:lnTo>
                      <a:lnTo>
                        <a:pt x="658" y="100"/>
                      </a:lnTo>
                      <a:lnTo>
                        <a:pt x="653" y="98"/>
                      </a:lnTo>
                      <a:lnTo>
                        <a:pt x="647" y="98"/>
                      </a:lnTo>
                      <a:lnTo>
                        <a:pt x="634" y="98"/>
                      </a:lnTo>
                      <a:lnTo>
                        <a:pt x="620" y="98"/>
                      </a:lnTo>
                      <a:lnTo>
                        <a:pt x="618" y="100"/>
                      </a:lnTo>
                      <a:lnTo>
                        <a:pt x="618" y="100"/>
                      </a:lnTo>
                      <a:lnTo>
                        <a:pt x="618" y="101"/>
                      </a:lnTo>
                      <a:lnTo>
                        <a:pt x="618" y="101"/>
                      </a:lnTo>
                      <a:lnTo>
                        <a:pt x="618" y="103"/>
                      </a:lnTo>
                      <a:lnTo>
                        <a:pt x="618" y="107"/>
                      </a:lnTo>
                      <a:lnTo>
                        <a:pt x="618" y="107"/>
                      </a:lnTo>
                      <a:lnTo>
                        <a:pt x="616" y="107"/>
                      </a:lnTo>
                      <a:lnTo>
                        <a:pt x="616" y="109"/>
                      </a:lnTo>
                      <a:lnTo>
                        <a:pt x="616" y="109"/>
                      </a:lnTo>
                      <a:lnTo>
                        <a:pt x="616" y="109"/>
                      </a:lnTo>
                      <a:lnTo>
                        <a:pt x="614" y="109"/>
                      </a:lnTo>
                      <a:lnTo>
                        <a:pt x="612" y="109"/>
                      </a:lnTo>
                      <a:lnTo>
                        <a:pt x="614" y="105"/>
                      </a:lnTo>
                      <a:lnTo>
                        <a:pt x="616" y="100"/>
                      </a:lnTo>
                      <a:lnTo>
                        <a:pt x="616" y="98"/>
                      </a:lnTo>
                      <a:lnTo>
                        <a:pt x="618" y="96"/>
                      </a:lnTo>
                      <a:lnTo>
                        <a:pt x="618" y="96"/>
                      </a:lnTo>
                      <a:lnTo>
                        <a:pt x="618" y="92"/>
                      </a:lnTo>
                      <a:lnTo>
                        <a:pt x="618" y="89"/>
                      </a:lnTo>
                      <a:lnTo>
                        <a:pt x="623" y="87"/>
                      </a:lnTo>
                      <a:lnTo>
                        <a:pt x="627" y="87"/>
                      </a:lnTo>
                      <a:lnTo>
                        <a:pt x="627" y="87"/>
                      </a:lnTo>
                      <a:lnTo>
                        <a:pt x="631" y="85"/>
                      </a:lnTo>
                      <a:lnTo>
                        <a:pt x="634" y="85"/>
                      </a:lnTo>
                      <a:lnTo>
                        <a:pt x="636" y="85"/>
                      </a:lnTo>
                      <a:lnTo>
                        <a:pt x="638" y="78"/>
                      </a:lnTo>
                      <a:lnTo>
                        <a:pt x="640" y="72"/>
                      </a:lnTo>
                      <a:lnTo>
                        <a:pt x="642" y="65"/>
                      </a:lnTo>
                      <a:lnTo>
                        <a:pt x="644" y="59"/>
                      </a:lnTo>
                      <a:lnTo>
                        <a:pt x="644" y="59"/>
                      </a:lnTo>
                      <a:lnTo>
                        <a:pt x="640" y="54"/>
                      </a:lnTo>
                      <a:lnTo>
                        <a:pt x="638" y="50"/>
                      </a:lnTo>
                      <a:lnTo>
                        <a:pt x="636" y="48"/>
                      </a:lnTo>
                      <a:lnTo>
                        <a:pt x="634" y="50"/>
                      </a:lnTo>
                      <a:lnTo>
                        <a:pt x="634" y="50"/>
                      </a:lnTo>
                      <a:lnTo>
                        <a:pt x="634" y="52"/>
                      </a:lnTo>
                      <a:lnTo>
                        <a:pt x="633" y="54"/>
                      </a:lnTo>
                      <a:lnTo>
                        <a:pt x="633" y="54"/>
                      </a:lnTo>
                      <a:lnTo>
                        <a:pt x="631" y="55"/>
                      </a:lnTo>
                      <a:lnTo>
                        <a:pt x="629" y="55"/>
                      </a:lnTo>
                      <a:lnTo>
                        <a:pt x="629" y="55"/>
                      </a:lnTo>
                      <a:lnTo>
                        <a:pt x="629" y="57"/>
                      </a:lnTo>
                      <a:lnTo>
                        <a:pt x="625" y="57"/>
                      </a:lnTo>
                      <a:lnTo>
                        <a:pt x="620" y="57"/>
                      </a:lnTo>
                      <a:lnTo>
                        <a:pt x="616" y="59"/>
                      </a:lnTo>
                      <a:lnTo>
                        <a:pt x="612" y="59"/>
                      </a:lnTo>
                      <a:lnTo>
                        <a:pt x="612" y="59"/>
                      </a:lnTo>
                      <a:lnTo>
                        <a:pt x="612" y="57"/>
                      </a:lnTo>
                      <a:lnTo>
                        <a:pt x="614" y="57"/>
                      </a:lnTo>
                      <a:lnTo>
                        <a:pt x="614" y="57"/>
                      </a:lnTo>
                      <a:lnTo>
                        <a:pt x="618" y="55"/>
                      </a:lnTo>
                      <a:lnTo>
                        <a:pt x="625" y="55"/>
                      </a:lnTo>
                      <a:lnTo>
                        <a:pt x="625" y="55"/>
                      </a:lnTo>
                      <a:lnTo>
                        <a:pt x="627" y="54"/>
                      </a:lnTo>
                      <a:lnTo>
                        <a:pt x="629" y="54"/>
                      </a:lnTo>
                      <a:lnTo>
                        <a:pt x="629" y="54"/>
                      </a:lnTo>
                      <a:lnTo>
                        <a:pt x="631" y="52"/>
                      </a:lnTo>
                      <a:lnTo>
                        <a:pt x="633" y="50"/>
                      </a:lnTo>
                      <a:lnTo>
                        <a:pt x="633" y="50"/>
                      </a:lnTo>
                      <a:lnTo>
                        <a:pt x="633" y="48"/>
                      </a:lnTo>
                      <a:lnTo>
                        <a:pt x="634" y="48"/>
                      </a:lnTo>
                      <a:lnTo>
                        <a:pt x="634" y="48"/>
                      </a:lnTo>
                      <a:lnTo>
                        <a:pt x="634" y="42"/>
                      </a:lnTo>
                      <a:lnTo>
                        <a:pt x="634" y="41"/>
                      </a:lnTo>
                      <a:lnTo>
                        <a:pt x="634" y="37"/>
                      </a:lnTo>
                      <a:lnTo>
                        <a:pt x="634" y="33"/>
                      </a:lnTo>
                      <a:lnTo>
                        <a:pt x="634" y="31"/>
                      </a:lnTo>
                      <a:lnTo>
                        <a:pt x="631" y="33"/>
                      </a:lnTo>
                      <a:lnTo>
                        <a:pt x="625" y="33"/>
                      </a:lnTo>
                      <a:lnTo>
                        <a:pt x="622" y="33"/>
                      </a:lnTo>
                      <a:lnTo>
                        <a:pt x="618" y="33"/>
                      </a:lnTo>
                      <a:lnTo>
                        <a:pt x="616" y="28"/>
                      </a:lnTo>
                      <a:lnTo>
                        <a:pt x="616" y="24"/>
                      </a:lnTo>
                      <a:lnTo>
                        <a:pt x="614" y="22"/>
                      </a:lnTo>
                      <a:lnTo>
                        <a:pt x="614" y="18"/>
                      </a:lnTo>
                      <a:lnTo>
                        <a:pt x="612" y="11"/>
                      </a:lnTo>
                      <a:lnTo>
                        <a:pt x="61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59" name="Freeform 3174"/>
                <p:cNvSpPr>
                  <a:spLocks/>
                </p:cNvSpPr>
                <p:nvPr/>
              </p:nvSpPr>
              <p:spPr bwMode="auto">
                <a:xfrm>
                  <a:off x="4808" y="364"/>
                  <a:ext cx="1" cy="31"/>
                </a:xfrm>
                <a:custGeom>
                  <a:avLst/>
                  <a:gdLst>
                    <a:gd name="T0" fmla="*/ 0 h 31"/>
                    <a:gd name="T1" fmla="*/ 0 h 31"/>
                    <a:gd name="T2" fmla="*/ 7 h 31"/>
                    <a:gd name="T3" fmla="*/ 14 h 31"/>
                    <a:gd name="T4" fmla="*/ 22 h 31"/>
                    <a:gd name="T5" fmla="*/ 29 h 31"/>
                    <a:gd name="T6" fmla="*/ 29 h 31"/>
                    <a:gd name="T7" fmla="*/ 31 h 31"/>
                    <a:gd name="T8" fmla="*/ 29 h 31"/>
                    <a:gd name="T9" fmla="*/ 29 h 31"/>
                    <a:gd name="T10" fmla="*/ 22 h 31"/>
                    <a:gd name="T11" fmla="*/ 14 h 31"/>
                    <a:gd name="T12" fmla="*/ 7 h 31"/>
                    <a:gd name="T13" fmla="*/ 0 h 3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</a:cxnLst>
                  <a:rect l="0" t="0" r="r" b="b"/>
                  <a:pathLst>
                    <a:path h="3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14"/>
                      </a:lnTo>
                      <a:lnTo>
                        <a:pt x="0" y="22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0" y="22"/>
                      </a:lnTo>
                      <a:lnTo>
                        <a:pt x="0" y="14"/>
                      </a:lnTo>
                      <a:lnTo>
                        <a:pt x="0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0" name="Freeform 3175"/>
                <p:cNvSpPr>
                  <a:spLocks/>
                </p:cNvSpPr>
                <p:nvPr/>
              </p:nvSpPr>
              <p:spPr bwMode="auto">
                <a:xfrm>
                  <a:off x="4808" y="364"/>
                  <a:ext cx="1" cy="31"/>
                </a:xfrm>
                <a:custGeom>
                  <a:avLst/>
                  <a:gdLst>
                    <a:gd name="T0" fmla="*/ 0 h 31"/>
                    <a:gd name="T1" fmla="*/ 0 h 31"/>
                    <a:gd name="T2" fmla="*/ 7 h 31"/>
                    <a:gd name="T3" fmla="*/ 14 h 31"/>
                    <a:gd name="T4" fmla="*/ 22 h 31"/>
                    <a:gd name="T5" fmla="*/ 29 h 31"/>
                    <a:gd name="T6" fmla="*/ 29 h 31"/>
                    <a:gd name="T7" fmla="*/ 31 h 31"/>
                    <a:gd name="T8" fmla="*/ 29 h 31"/>
                    <a:gd name="T9" fmla="*/ 29 h 31"/>
                    <a:gd name="T10" fmla="*/ 22 h 31"/>
                    <a:gd name="T11" fmla="*/ 14 h 31"/>
                    <a:gd name="T12" fmla="*/ 7 h 31"/>
                    <a:gd name="T13" fmla="*/ 0 h 3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</a:cxnLst>
                  <a:rect l="0" t="0" r="r" b="b"/>
                  <a:pathLst>
                    <a:path h="3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14"/>
                      </a:lnTo>
                      <a:lnTo>
                        <a:pt x="0" y="22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0" y="22"/>
                      </a:lnTo>
                      <a:lnTo>
                        <a:pt x="0" y="14"/>
                      </a:lnTo>
                      <a:lnTo>
                        <a:pt x="0" y="7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1" name="Freeform 3176"/>
                <p:cNvSpPr>
                  <a:spLocks noEditPoints="1"/>
                </p:cNvSpPr>
                <p:nvPr/>
              </p:nvSpPr>
              <p:spPr bwMode="auto">
                <a:xfrm>
                  <a:off x="4773" y="297"/>
                  <a:ext cx="51" cy="100"/>
                </a:xfrm>
                <a:custGeom>
                  <a:avLst/>
                  <a:gdLst>
                    <a:gd name="T0" fmla="*/ 49 w 51"/>
                    <a:gd name="T1" fmla="*/ 2 h 100"/>
                    <a:gd name="T2" fmla="*/ 49 w 51"/>
                    <a:gd name="T3" fmla="*/ 17 h 100"/>
                    <a:gd name="T4" fmla="*/ 48 w 51"/>
                    <a:gd name="T5" fmla="*/ 24 h 100"/>
                    <a:gd name="T6" fmla="*/ 48 w 51"/>
                    <a:gd name="T7" fmla="*/ 32 h 100"/>
                    <a:gd name="T8" fmla="*/ 46 w 51"/>
                    <a:gd name="T9" fmla="*/ 46 h 100"/>
                    <a:gd name="T10" fmla="*/ 46 w 51"/>
                    <a:gd name="T11" fmla="*/ 61 h 100"/>
                    <a:gd name="T12" fmla="*/ 40 w 51"/>
                    <a:gd name="T13" fmla="*/ 63 h 100"/>
                    <a:gd name="T14" fmla="*/ 35 w 51"/>
                    <a:gd name="T15" fmla="*/ 67 h 100"/>
                    <a:gd name="T16" fmla="*/ 35 w 51"/>
                    <a:gd name="T17" fmla="*/ 74 h 100"/>
                    <a:gd name="T18" fmla="*/ 35 w 51"/>
                    <a:gd name="T19" fmla="*/ 89 h 100"/>
                    <a:gd name="T20" fmla="*/ 33 w 51"/>
                    <a:gd name="T21" fmla="*/ 98 h 100"/>
                    <a:gd name="T22" fmla="*/ 31 w 51"/>
                    <a:gd name="T23" fmla="*/ 98 h 100"/>
                    <a:gd name="T24" fmla="*/ 24 w 51"/>
                    <a:gd name="T25" fmla="*/ 98 h 100"/>
                    <a:gd name="T26" fmla="*/ 16 w 51"/>
                    <a:gd name="T27" fmla="*/ 98 h 100"/>
                    <a:gd name="T28" fmla="*/ 9 w 51"/>
                    <a:gd name="T29" fmla="*/ 81 h 100"/>
                    <a:gd name="T30" fmla="*/ 3 w 51"/>
                    <a:gd name="T31" fmla="*/ 65 h 100"/>
                    <a:gd name="T32" fmla="*/ 1 w 51"/>
                    <a:gd name="T33" fmla="*/ 50 h 100"/>
                    <a:gd name="T34" fmla="*/ 1 w 51"/>
                    <a:gd name="T35" fmla="*/ 43 h 100"/>
                    <a:gd name="T36" fmla="*/ 3 w 51"/>
                    <a:gd name="T37" fmla="*/ 35 h 100"/>
                    <a:gd name="T38" fmla="*/ 5 w 51"/>
                    <a:gd name="T39" fmla="*/ 30 h 100"/>
                    <a:gd name="T40" fmla="*/ 7 w 51"/>
                    <a:gd name="T41" fmla="*/ 24 h 100"/>
                    <a:gd name="T42" fmla="*/ 13 w 51"/>
                    <a:gd name="T43" fmla="*/ 19 h 100"/>
                    <a:gd name="T44" fmla="*/ 16 w 51"/>
                    <a:gd name="T45" fmla="*/ 13 h 100"/>
                    <a:gd name="T46" fmla="*/ 24 w 51"/>
                    <a:gd name="T47" fmla="*/ 9 h 100"/>
                    <a:gd name="T48" fmla="*/ 27 w 51"/>
                    <a:gd name="T49" fmla="*/ 8 h 100"/>
                    <a:gd name="T50" fmla="*/ 35 w 51"/>
                    <a:gd name="T51" fmla="*/ 4 h 100"/>
                    <a:gd name="T52" fmla="*/ 46 w 51"/>
                    <a:gd name="T53" fmla="*/ 2 h 100"/>
                    <a:gd name="T54" fmla="*/ 51 w 51"/>
                    <a:gd name="T55" fmla="*/ 0 h 100"/>
                    <a:gd name="T56" fmla="*/ 40 w 51"/>
                    <a:gd name="T57" fmla="*/ 2 h 100"/>
                    <a:gd name="T58" fmla="*/ 31 w 51"/>
                    <a:gd name="T59" fmla="*/ 6 h 100"/>
                    <a:gd name="T60" fmla="*/ 24 w 51"/>
                    <a:gd name="T61" fmla="*/ 8 h 100"/>
                    <a:gd name="T62" fmla="*/ 20 w 51"/>
                    <a:gd name="T63" fmla="*/ 11 h 100"/>
                    <a:gd name="T64" fmla="*/ 16 w 51"/>
                    <a:gd name="T65" fmla="*/ 13 h 100"/>
                    <a:gd name="T66" fmla="*/ 13 w 51"/>
                    <a:gd name="T67" fmla="*/ 15 h 100"/>
                    <a:gd name="T68" fmla="*/ 11 w 51"/>
                    <a:gd name="T69" fmla="*/ 19 h 100"/>
                    <a:gd name="T70" fmla="*/ 9 w 51"/>
                    <a:gd name="T71" fmla="*/ 20 h 100"/>
                    <a:gd name="T72" fmla="*/ 5 w 51"/>
                    <a:gd name="T73" fmla="*/ 26 h 100"/>
                    <a:gd name="T74" fmla="*/ 3 w 51"/>
                    <a:gd name="T75" fmla="*/ 30 h 100"/>
                    <a:gd name="T76" fmla="*/ 1 w 51"/>
                    <a:gd name="T77" fmla="*/ 32 h 100"/>
                    <a:gd name="T78" fmla="*/ 1 w 51"/>
                    <a:gd name="T79" fmla="*/ 35 h 100"/>
                    <a:gd name="T80" fmla="*/ 1 w 51"/>
                    <a:gd name="T81" fmla="*/ 39 h 100"/>
                    <a:gd name="T82" fmla="*/ 0 w 51"/>
                    <a:gd name="T83" fmla="*/ 46 h 100"/>
                    <a:gd name="T84" fmla="*/ 0 w 51"/>
                    <a:gd name="T85" fmla="*/ 50 h 100"/>
                    <a:gd name="T86" fmla="*/ 1 w 51"/>
                    <a:gd name="T87" fmla="*/ 57 h 100"/>
                    <a:gd name="T88" fmla="*/ 3 w 51"/>
                    <a:gd name="T89" fmla="*/ 74 h 100"/>
                    <a:gd name="T90" fmla="*/ 11 w 51"/>
                    <a:gd name="T91" fmla="*/ 91 h 100"/>
                    <a:gd name="T92" fmla="*/ 18 w 51"/>
                    <a:gd name="T93" fmla="*/ 100 h 100"/>
                    <a:gd name="T94" fmla="*/ 27 w 51"/>
                    <a:gd name="T95" fmla="*/ 100 h 100"/>
                    <a:gd name="T96" fmla="*/ 31 w 51"/>
                    <a:gd name="T97" fmla="*/ 100 h 100"/>
                    <a:gd name="T98" fmla="*/ 35 w 51"/>
                    <a:gd name="T99" fmla="*/ 98 h 100"/>
                    <a:gd name="T100" fmla="*/ 35 w 51"/>
                    <a:gd name="T101" fmla="*/ 96 h 100"/>
                    <a:gd name="T102" fmla="*/ 35 w 51"/>
                    <a:gd name="T103" fmla="*/ 96 h 100"/>
                    <a:gd name="T104" fmla="*/ 35 w 51"/>
                    <a:gd name="T105" fmla="*/ 96 h 100"/>
                    <a:gd name="T106" fmla="*/ 35 w 51"/>
                    <a:gd name="T107" fmla="*/ 81 h 100"/>
                    <a:gd name="T108" fmla="*/ 35 w 51"/>
                    <a:gd name="T109" fmla="*/ 67 h 100"/>
                    <a:gd name="T110" fmla="*/ 40 w 51"/>
                    <a:gd name="T111" fmla="*/ 65 h 100"/>
                    <a:gd name="T112" fmla="*/ 46 w 51"/>
                    <a:gd name="T113" fmla="*/ 63 h 100"/>
                    <a:gd name="T114" fmla="*/ 48 w 51"/>
                    <a:gd name="T115" fmla="*/ 54 h 100"/>
                    <a:gd name="T116" fmla="*/ 48 w 51"/>
                    <a:gd name="T117" fmla="*/ 39 h 100"/>
                    <a:gd name="T118" fmla="*/ 49 w 51"/>
                    <a:gd name="T119" fmla="*/ 32 h 100"/>
                    <a:gd name="T120" fmla="*/ 49 w 51"/>
                    <a:gd name="T121" fmla="*/ 17 h 100"/>
                    <a:gd name="T122" fmla="*/ 51 w 51"/>
                    <a:gd name="T123" fmla="*/ 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1" h="100">
                      <a:moveTo>
                        <a:pt x="49" y="2"/>
                      </a:moveTo>
                      <a:lnTo>
                        <a:pt x="49" y="2"/>
                      </a:lnTo>
                      <a:lnTo>
                        <a:pt x="49" y="9"/>
                      </a:lnTo>
                      <a:lnTo>
                        <a:pt x="49" y="17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9"/>
                      </a:lnTo>
                      <a:lnTo>
                        <a:pt x="46" y="46"/>
                      </a:lnTo>
                      <a:lnTo>
                        <a:pt x="46" y="54"/>
                      </a:lnTo>
                      <a:lnTo>
                        <a:pt x="46" y="61"/>
                      </a:lnTo>
                      <a:lnTo>
                        <a:pt x="42" y="63"/>
                      </a:lnTo>
                      <a:lnTo>
                        <a:pt x="40" y="63"/>
                      </a:lnTo>
                      <a:lnTo>
                        <a:pt x="37" y="65"/>
                      </a:lnTo>
                      <a:lnTo>
                        <a:pt x="35" y="67"/>
                      </a:lnTo>
                      <a:lnTo>
                        <a:pt x="35" y="67"/>
                      </a:lnTo>
                      <a:lnTo>
                        <a:pt x="35" y="74"/>
                      </a:lnTo>
                      <a:lnTo>
                        <a:pt x="35" y="81"/>
                      </a:lnTo>
                      <a:lnTo>
                        <a:pt x="35" y="89"/>
                      </a:lnTo>
                      <a:lnTo>
                        <a:pt x="35" y="96"/>
                      </a:lnTo>
                      <a:lnTo>
                        <a:pt x="33" y="98"/>
                      </a:lnTo>
                      <a:lnTo>
                        <a:pt x="33" y="98"/>
                      </a:lnTo>
                      <a:lnTo>
                        <a:pt x="31" y="98"/>
                      </a:lnTo>
                      <a:lnTo>
                        <a:pt x="27" y="98"/>
                      </a:lnTo>
                      <a:lnTo>
                        <a:pt x="24" y="98"/>
                      </a:lnTo>
                      <a:lnTo>
                        <a:pt x="18" y="98"/>
                      </a:lnTo>
                      <a:lnTo>
                        <a:pt x="16" y="98"/>
                      </a:lnTo>
                      <a:lnTo>
                        <a:pt x="13" y="91"/>
                      </a:lnTo>
                      <a:lnTo>
                        <a:pt x="9" y="81"/>
                      </a:lnTo>
                      <a:lnTo>
                        <a:pt x="5" y="74"/>
                      </a:lnTo>
                      <a:lnTo>
                        <a:pt x="3" y="65"/>
                      </a:lnTo>
                      <a:lnTo>
                        <a:pt x="1" y="57"/>
                      </a:lnTo>
                      <a:lnTo>
                        <a:pt x="1" y="50"/>
                      </a:lnTo>
                      <a:lnTo>
                        <a:pt x="1" y="46"/>
                      </a:lnTo>
                      <a:lnTo>
                        <a:pt x="1" y="43"/>
                      </a:lnTo>
                      <a:lnTo>
                        <a:pt x="1" y="39"/>
                      </a:lnTo>
                      <a:lnTo>
                        <a:pt x="3" y="35"/>
                      </a:lnTo>
                      <a:lnTo>
                        <a:pt x="3" y="33"/>
                      </a:lnTo>
                      <a:lnTo>
                        <a:pt x="5" y="30"/>
                      </a:lnTo>
                      <a:lnTo>
                        <a:pt x="7" y="26"/>
                      </a:lnTo>
                      <a:lnTo>
                        <a:pt x="7" y="24"/>
                      </a:lnTo>
                      <a:lnTo>
                        <a:pt x="11" y="20"/>
                      </a:lnTo>
                      <a:lnTo>
                        <a:pt x="13" y="19"/>
                      </a:lnTo>
                      <a:lnTo>
                        <a:pt x="14" y="17"/>
                      </a:lnTo>
                      <a:lnTo>
                        <a:pt x="16" y="13"/>
                      </a:lnTo>
                      <a:lnTo>
                        <a:pt x="20" y="11"/>
                      </a:lnTo>
                      <a:lnTo>
                        <a:pt x="24" y="9"/>
                      </a:lnTo>
                      <a:lnTo>
                        <a:pt x="27" y="8"/>
                      </a:lnTo>
                      <a:lnTo>
                        <a:pt x="27" y="8"/>
                      </a:lnTo>
                      <a:lnTo>
                        <a:pt x="31" y="6"/>
                      </a:lnTo>
                      <a:lnTo>
                        <a:pt x="35" y="4"/>
                      </a:lnTo>
                      <a:lnTo>
                        <a:pt x="40" y="4"/>
                      </a:lnTo>
                      <a:lnTo>
                        <a:pt x="46" y="2"/>
                      </a:lnTo>
                      <a:lnTo>
                        <a:pt x="49" y="2"/>
                      </a:lnTo>
                      <a:close/>
                      <a:moveTo>
                        <a:pt x="51" y="0"/>
                      </a:moveTo>
                      <a:lnTo>
                        <a:pt x="46" y="0"/>
                      </a:lnTo>
                      <a:lnTo>
                        <a:pt x="40" y="2"/>
                      </a:lnTo>
                      <a:lnTo>
                        <a:pt x="35" y="4"/>
                      </a:lnTo>
                      <a:lnTo>
                        <a:pt x="31" y="6"/>
                      </a:lnTo>
                      <a:lnTo>
                        <a:pt x="27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0" y="11"/>
                      </a:lnTo>
                      <a:lnTo>
                        <a:pt x="20" y="11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1" y="19"/>
                      </a:lnTo>
                      <a:lnTo>
                        <a:pt x="11" y="19"/>
                      </a:lnTo>
                      <a:lnTo>
                        <a:pt x="9" y="20"/>
                      </a:lnTo>
                      <a:lnTo>
                        <a:pt x="7" y="24"/>
                      </a:lnTo>
                      <a:lnTo>
                        <a:pt x="5" y="26"/>
                      </a:lnTo>
                      <a:lnTo>
                        <a:pt x="5" y="26"/>
                      </a:lnTo>
                      <a:lnTo>
                        <a:pt x="3" y="30"/>
                      </a:lnTo>
                      <a:lnTo>
                        <a:pt x="3" y="30"/>
                      </a:lnTo>
                      <a:lnTo>
                        <a:pt x="1" y="32"/>
                      </a:lnTo>
                      <a:lnTo>
                        <a:pt x="1" y="32"/>
                      </a:lnTo>
                      <a:lnTo>
                        <a:pt x="1" y="35"/>
                      </a:lnTo>
                      <a:lnTo>
                        <a:pt x="1" y="39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1" y="57"/>
                      </a:lnTo>
                      <a:lnTo>
                        <a:pt x="1" y="65"/>
                      </a:lnTo>
                      <a:lnTo>
                        <a:pt x="3" y="74"/>
                      </a:lnTo>
                      <a:lnTo>
                        <a:pt x="7" y="83"/>
                      </a:lnTo>
                      <a:lnTo>
                        <a:pt x="11" y="91"/>
                      </a:lnTo>
                      <a:lnTo>
                        <a:pt x="14" y="100"/>
                      </a:lnTo>
                      <a:lnTo>
                        <a:pt x="18" y="100"/>
                      </a:lnTo>
                      <a:lnTo>
                        <a:pt x="24" y="100"/>
                      </a:lnTo>
                      <a:lnTo>
                        <a:pt x="27" y="100"/>
                      </a:lnTo>
                      <a:lnTo>
                        <a:pt x="31" y="100"/>
                      </a:lnTo>
                      <a:lnTo>
                        <a:pt x="31" y="100"/>
                      </a:lnTo>
                      <a:lnTo>
                        <a:pt x="33" y="98"/>
                      </a:lnTo>
                      <a:lnTo>
                        <a:pt x="35" y="98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89"/>
                      </a:lnTo>
                      <a:lnTo>
                        <a:pt x="35" y="81"/>
                      </a:lnTo>
                      <a:lnTo>
                        <a:pt x="35" y="74"/>
                      </a:lnTo>
                      <a:lnTo>
                        <a:pt x="35" y="67"/>
                      </a:lnTo>
                      <a:lnTo>
                        <a:pt x="38" y="67"/>
                      </a:lnTo>
                      <a:lnTo>
                        <a:pt x="40" y="65"/>
                      </a:lnTo>
                      <a:lnTo>
                        <a:pt x="44" y="63"/>
                      </a:lnTo>
                      <a:lnTo>
                        <a:pt x="46" y="63"/>
                      </a:lnTo>
                      <a:lnTo>
                        <a:pt x="48" y="63"/>
                      </a:lnTo>
                      <a:lnTo>
                        <a:pt x="48" y="54"/>
                      </a:lnTo>
                      <a:lnTo>
                        <a:pt x="48" y="46"/>
                      </a:lnTo>
                      <a:lnTo>
                        <a:pt x="48" y="39"/>
                      </a:lnTo>
                      <a:lnTo>
                        <a:pt x="49" y="32"/>
                      </a:lnTo>
                      <a:lnTo>
                        <a:pt x="49" y="32"/>
                      </a:lnTo>
                      <a:lnTo>
                        <a:pt x="49" y="24"/>
                      </a:lnTo>
                      <a:lnTo>
                        <a:pt x="49" y="17"/>
                      </a:lnTo>
                      <a:lnTo>
                        <a:pt x="51" y="9"/>
                      </a:lnTo>
                      <a:lnTo>
                        <a:pt x="51" y="0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2" name="Freeform 3177"/>
                <p:cNvSpPr>
                  <a:spLocks/>
                </p:cNvSpPr>
                <p:nvPr/>
              </p:nvSpPr>
              <p:spPr bwMode="auto">
                <a:xfrm>
                  <a:off x="4774" y="299"/>
                  <a:ext cx="48" cy="96"/>
                </a:xfrm>
                <a:custGeom>
                  <a:avLst/>
                  <a:gdLst>
                    <a:gd name="T0" fmla="*/ 48 w 48"/>
                    <a:gd name="T1" fmla="*/ 0 h 96"/>
                    <a:gd name="T2" fmla="*/ 48 w 48"/>
                    <a:gd name="T3" fmla="*/ 0 h 96"/>
                    <a:gd name="T4" fmla="*/ 48 w 48"/>
                    <a:gd name="T5" fmla="*/ 7 h 96"/>
                    <a:gd name="T6" fmla="*/ 48 w 48"/>
                    <a:gd name="T7" fmla="*/ 15 h 96"/>
                    <a:gd name="T8" fmla="*/ 47 w 48"/>
                    <a:gd name="T9" fmla="*/ 22 h 96"/>
                    <a:gd name="T10" fmla="*/ 47 w 48"/>
                    <a:gd name="T11" fmla="*/ 22 h 96"/>
                    <a:gd name="T12" fmla="*/ 47 w 48"/>
                    <a:gd name="T13" fmla="*/ 30 h 96"/>
                    <a:gd name="T14" fmla="*/ 47 w 48"/>
                    <a:gd name="T15" fmla="*/ 30 h 96"/>
                    <a:gd name="T16" fmla="*/ 47 w 48"/>
                    <a:gd name="T17" fmla="*/ 37 h 96"/>
                    <a:gd name="T18" fmla="*/ 45 w 48"/>
                    <a:gd name="T19" fmla="*/ 44 h 96"/>
                    <a:gd name="T20" fmla="*/ 45 w 48"/>
                    <a:gd name="T21" fmla="*/ 52 h 96"/>
                    <a:gd name="T22" fmla="*/ 45 w 48"/>
                    <a:gd name="T23" fmla="*/ 59 h 96"/>
                    <a:gd name="T24" fmla="*/ 41 w 48"/>
                    <a:gd name="T25" fmla="*/ 61 h 96"/>
                    <a:gd name="T26" fmla="*/ 39 w 48"/>
                    <a:gd name="T27" fmla="*/ 61 h 96"/>
                    <a:gd name="T28" fmla="*/ 36 w 48"/>
                    <a:gd name="T29" fmla="*/ 63 h 96"/>
                    <a:gd name="T30" fmla="*/ 34 w 48"/>
                    <a:gd name="T31" fmla="*/ 65 h 96"/>
                    <a:gd name="T32" fmla="*/ 34 w 48"/>
                    <a:gd name="T33" fmla="*/ 65 h 96"/>
                    <a:gd name="T34" fmla="*/ 34 w 48"/>
                    <a:gd name="T35" fmla="*/ 72 h 96"/>
                    <a:gd name="T36" fmla="*/ 34 w 48"/>
                    <a:gd name="T37" fmla="*/ 79 h 96"/>
                    <a:gd name="T38" fmla="*/ 34 w 48"/>
                    <a:gd name="T39" fmla="*/ 87 h 96"/>
                    <a:gd name="T40" fmla="*/ 34 w 48"/>
                    <a:gd name="T41" fmla="*/ 94 h 96"/>
                    <a:gd name="T42" fmla="*/ 32 w 48"/>
                    <a:gd name="T43" fmla="*/ 96 h 96"/>
                    <a:gd name="T44" fmla="*/ 32 w 48"/>
                    <a:gd name="T45" fmla="*/ 96 h 96"/>
                    <a:gd name="T46" fmla="*/ 30 w 48"/>
                    <a:gd name="T47" fmla="*/ 96 h 96"/>
                    <a:gd name="T48" fmla="*/ 26 w 48"/>
                    <a:gd name="T49" fmla="*/ 96 h 96"/>
                    <a:gd name="T50" fmla="*/ 23 w 48"/>
                    <a:gd name="T51" fmla="*/ 96 h 96"/>
                    <a:gd name="T52" fmla="*/ 17 w 48"/>
                    <a:gd name="T53" fmla="*/ 96 h 96"/>
                    <a:gd name="T54" fmla="*/ 15 w 48"/>
                    <a:gd name="T55" fmla="*/ 96 h 96"/>
                    <a:gd name="T56" fmla="*/ 12 w 48"/>
                    <a:gd name="T57" fmla="*/ 89 h 96"/>
                    <a:gd name="T58" fmla="*/ 8 w 48"/>
                    <a:gd name="T59" fmla="*/ 79 h 96"/>
                    <a:gd name="T60" fmla="*/ 4 w 48"/>
                    <a:gd name="T61" fmla="*/ 72 h 96"/>
                    <a:gd name="T62" fmla="*/ 2 w 48"/>
                    <a:gd name="T63" fmla="*/ 63 h 96"/>
                    <a:gd name="T64" fmla="*/ 0 w 48"/>
                    <a:gd name="T65" fmla="*/ 55 h 96"/>
                    <a:gd name="T66" fmla="*/ 0 w 48"/>
                    <a:gd name="T67" fmla="*/ 48 h 96"/>
                    <a:gd name="T68" fmla="*/ 0 w 48"/>
                    <a:gd name="T69" fmla="*/ 44 h 96"/>
                    <a:gd name="T70" fmla="*/ 0 w 48"/>
                    <a:gd name="T71" fmla="*/ 41 h 96"/>
                    <a:gd name="T72" fmla="*/ 0 w 48"/>
                    <a:gd name="T73" fmla="*/ 37 h 96"/>
                    <a:gd name="T74" fmla="*/ 2 w 48"/>
                    <a:gd name="T75" fmla="*/ 33 h 96"/>
                    <a:gd name="T76" fmla="*/ 2 w 48"/>
                    <a:gd name="T77" fmla="*/ 31 h 96"/>
                    <a:gd name="T78" fmla="*/ 4 w 48"/>
                    <a:gd name="T79" fmla="*/ 28 h 96"/>
                    <a:gd name="T80" fmla="*/ 6 w 48"/>
                    <a:gd name="T81" fmla="*/ 24 h 96"/>
                    <a:gd name="T82" fmla="*/ 6 w 48"/>
                    <a:gd name="T83" fmla="*/ 22 h 96"/>
                    <a:gd name="T84" fmla="*/ 10 w 48"/>
                    <a:gd name="T85" fmla="*/ 18 h 96"/>
                    <a:gd name="T86" fmla="*/ 12 w 48"/>
                    <a:gd name="T87" fmla="*/ 17 h 96"/>
                    <a:gd name="T88" fmla="*/ 13 w 48"/>
                    <a:gd name="T89" fmla="*/ 15 h 96"/>
                    <a:gd name="T90" fmla="*/ 15 w 48"/>
                    <a:gd name="T91" fmla="*/ 11 h 96"/>
                    <a:gd name="T92" fmla="*/ 19 w 48"/>
                    <a:gd name="T93" fmla="*/ 9 h 96"/>
                    <a:gd name="T94" fmla="*/ 23 w 48"/>
                    <a:gd name="T95" fmla="*/ 7 h 96"/>
                    <a:gd name="T96" fmla="*/ 26 w 48"/>
                    <a:gd name="T97" fmla="*/ 6 h 96"/>
                    <a:gd name="T98" fmla="*/ 26 w 48"/>
                    <a:gd name="T99" fmla="*/ 6 h 96"/>
                    <a:gd name="T100" fmla="*/ 30 w 48"/>
                    <a:gd name="T101" fmla="*/ 4 h 96"/>
                    <a:gd name="T102" fmla="*/ 34 w 48"/>
                    <a:gd name="T103" fmla="*/ 2 h 96"/>
                    <a:gd name="T104" fmla="*/ 39 w 48"/>
                    <a:gd name="T105" fmla="*/ 2 h 96"/>
                    <a:gd name="T106" fmla="*/ 45 w 48"/>
                    <a:gd name="T107" fmla="*/ 0 h 96"/>
                    <a:gd name="T108" fmla="*/ 48 w 48"/>
                    <a:gd name="T109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48" h="96">
                      <a:moveTo>
                        <a:pt x="48" y="0"/>
                      </a:moveTo>
                      <a:lnTo>
                        <a:pt x="48" y="0"/>
                      </a:lnTo>
                      <a:lnTo>
                        <a:pt x="48" y="7"/>
                      </a:lnTo>
                      <a:lnTo>
                        <a:pt x="48" y="15"/>
                      </a:lnTo>
                      <a:lnTo>
                        <a:pt x="47" y="22"/>
                      </a:lnTo>
                      <a:lnTo>
                        <a:pt x="47" y="2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lnTo>
                        <a:pt x="47" y="37"/>
                      </a:lnTo>
                      <a:lnTo>
                        <a:pt x="45" y="44"/>
                      </a:lnTo>
                      <a:lnTo>
                        <a:pt x="45" y="52"/>
                      </a:lnTo>
                      <a:lnTo>
                        <a:pt x="45" y="59"/>
                      </a:lnTo>
                      <a:lnTo>
                        <a:pt x="41" y="61"/>
                      </a:lnTo>
                      <a:lnTo>
                        <a:pt x="39" y="61"/>
                      </a:lnTo>
                      <a:lnTo>
                        <a:pt x="36" y="63"/>
                      </a:lnTo>
                      <a:lnTo>
                        <a:pt x="34" y="65"/>
                      </a:lnTo>
                      <a:lnTo>
                        <a:pt x="34" y="65"/>
                      </a:lnTo>
                      <a:lnTo>
                        <a:pt x="34" y="72"/>
                      </a:lnTo>
                      <a:lnTo>
                        <a:pt x="34" y="79"/>
                      </a:lnTo>
                      <a:lnTo>
                        <a:pt x="34" y="87"/>
                      </a:lnTo>
                      <a:lnTo>
                        <a:pt x="34" y="94"/>
                      </a:lnTo>
                      <a:lnTo>
                        <a:pt x="32" y="96"/>
                      </a:lnTo>
                      <a:lnTo>
                        <a:pt x="32" y="96"/>
                      </a:lnTo>
                      <a:lnTo>
                        <a:pt x="30" y="96"/>
                      </a:lnTo>
                      <a:lnTo>
                        <a:pt x="26" y="96"/>
                      </a:lnTo>
                      <a:lnTo>
                        <a:pt x="23" y="96"/>
                      </a:lnTo>
                      <a:lnTo>
                        <a:pt x="17" y="96"/>
                      </a:lnTo>
                      <a:lnTo>
                        <a:pt x="15" y="96"/>
                      </a:lnTo>
                      <a:lnTo>
                        <a:pt x="12" y="89"/>
                      </a:lnTo>
                      <a:lnTo>
                        <a:pt x="8" y="79"/>
                      </a:lnTo>
                      <a:lnTo>
                        <a:pt x="4" y="72"/>
                      </a:lnTo>
                      <a:lnTo>
                        <a:pt x="2" y="63"/>
                      </a:lnTo>
                      <a:lnTo>
                        <a:pt x="0" y="55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1"/>
                      </a:lnTo>
                      <a:lnTo>
                        <a:pt x="0" y="37"/>
                      </a:lnTo>
                      <a:lnTo>
                        <a:pt x="2" y="33"/>
                      </a:lnTo>
                      <a:lnTo>
                        <a:pt x="2" y="31"/>
                      </a:lnTo>
                      <a:lnTo>
                        <a:pt x="4" y="28"/>
                      </a:lnTo>
                      <a:lnTo>
                        <a:pt x="6" y="24"/>
                      </a:lnTo>
                      <a:lnTo>
                        <a:pt x="6" y="22"/>
                      </a:lnTo>
                      <a:lnTo>
                        <a:pt x="10" y="18"/>
                      </a:lnTo>
                      <a:lnTo>
                        <a:pt x="12" y="17"/>
                      </a:lnTo>
                      <a:lnTo>
                        <a:pt x="13" y="15"/>
                      </a:lnTo>
                      <a:lnTo>
                        <a:pt x="15" y="11"/>
                      </a:lnTo>
                      <a:lnTo>
                        <a:pt x="19" y="9"/>
                      </a:lnTo>
                      <a:lnTo>
                        <a:pt x="23" y="7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30" y="4"/>
                      </a:lnTo>
                      <a:lnTo>
                        <a:pt x="34" y="2"/>
                      </a:lnTo>
                      <a:lnTo>
                        <a:pt x="39" y="2"/>
                      </a:lnTo>
                      <a:lnTo>
                        <a:pt x="45" y="0"/>
                      </a:lnTo>
                      <a:lnTo>
                        <a:pt x="4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3" name="Freeform 3178"/>
                <p:cNvSpPr>
                  <a:spLocks/>
                </p:cNvSpPr>
                <p:nvPr/>
              </p:nvSpPr>
              <p:spPr bwMode="auto">
                <a:xfrm>
                  <a:off x="4773" y="297"/>
                  <a:ext cx="51" cy="100"/>
                </a:xfrm>
                <a:custGeom>
                  <a:avLst/>
                  <a:gdLst>
                    <a:gd name="T0" fmla="*/ 46 w 51"/>
                    <a:gd name="T1" fmla="*/ 0 h 100"/>
                    <a:gd name="T2" fmla="*/ 35 w 51"/>
                    <a:gd name="T3" fmla="*/ 4 h 100"/>
                    <a:gd name="T4" fmla="*/ 27 w 51"/>
                    <a:gd name="T5" fmla="*/ 8 h 100"/>
                    <a:gd name="T6" fmla="*/ 24 w 51"/>
                    <a:gd name="T7" fmla="*/ 8 h 100"/>
                    <a:gd name="T8" fmla="*/ 20 w 51"/>
                    <a:gd name="T9" fmla="*/ 11 h 100"/>
                    <a:gd name="T10" fmla="*/ 16 w 51"/>
                    <a:gd name="T11" fmla="*/ 13 h 100"/>
                    <a:gd name="T12" fmla="*/ 13 w 51"/>
                    <a:gd name="T13" fmla="*/ 15 h 100"/>
                    <a:gd name="T14" fmla="*/ 11 w 51"/>
                    <a:gd name="T15" fmla="*/ 19 h 100"/>
                    <a:gd name="T16" fmla="*/ 7 w 51"/>
                    <a:gd name="T17" fmla="*/ 24 h 100"/>
                    <a:gd name="T18" fmla="*/ 5 w 51"/>
                    <a:gd name="T19" fmla="*/ 26 h 100"/>
                    <a:gd name="T20" fmla="*/ 3 w 51"/>
                    <a:gd name="T21" fmla="*/ 30 h 100"/>
                    <a:gd name="T22" fmla="*/ 1 w 51"/>
                    <a:gd name="T23" fmla="*/ 32 h 100"/>
                    <a:gd name="T24" fmla="*/ 1 w 51"/>
                    <a:gd name="T25" fmla="*/ 39 h 100"/>
                    <a:gd name="T26" fmla="*/ 0 w 51"/>
                    <a:gd name="T27" fmla="*/ 43 h 100"/>
                    <a:gd name="T28" fmla="*/ 0 w 51"/>
                    <a:gd name="T29" fmla="*/ 46 h 100"/>
                    <a:gd name="T30" fmla="*/ 0 w 51"/>
                    <a:gd name="T31" fmla="*/ 50 h 100"/>
                    <a:gd name="T32" fmla="*/ 1 w 51"/>
                    <a:gd name="T33" fmla="*/ 65 h 100"/>
                    <a:gd name="T34" fmla="*/ 7 w 51"/>
                    <a:gd name="T35" fmla="*/ 83 h 100"/>
                    <a:gd name="T36" fmla="*/ 14 w 51"/>
                    <a:gd name="T37" fmla="*/ 100 h 100"/>
                    <a:gd name="T38" fmla="*/ 24 w 51"/>
                    <a:gd name="T39" fmla="*/ 100 h 100"/>
                    <a:gd name="T40" fmla="*/ 31 w 51"/>
                    <a:gd name="T41" fmla="*/ 100 h 100"/>
                    <a:gd name="T42" fmla="*/ 33 w 51"/>
                    <a:gd name="T43" fmla="*/ 98 h 100"/>
                    <a:gd name="T44" fmla="*/ 35 w 51"/>
                    <a:gd name="T45" fmla="*/ 96 h 100"/>
                    <a:gd name="T46" fmla="*/ 35 w 51"/>
                    <a:gd name="T47" fmla="*/ 96 h 100"/>
                    <a:gd name="T48" fmla="*/ 35 w 51"/>
                    <a:gd name="T49" fmla="*/ 96 h 100"/>
                    <a:gd name="T50" fmla="*/ 35 w 51"/>
                    <a:gd name="T51" fmla="*/ 89 h 100"/>
                    <a:gd name="T52" fmla="*/ 35 w 51"/>
                    <a:gd name="T53" fmla="*/ 74 h 100"/>
                    <a:gd name="T54" fmla="*/ 38 w 51"/>
                    <a:gd name="T55" fmla="*/ 67 h 100"/>
                    <a:gd name="T56" fmla="*/ 44 w 51"/>
                    <a:gd name="T57" fmla="*/ 63 h 100"/>
                    <a:gd name="T58" fmla="*/ 48 w 51"/>
                    <a:gd name="T59" fmla="*/ 63 h 100"/>
                    <a:gd name="T60" fmla="*/ 48 w 51"/>
                    <a:gd name="T61" fmla="*/ 46 h 100"/>
                    <a:gd name="T62" fmla="*/ 49 w 51"/>
                    <a:gd name="T63" fmla="*/ 32 h 100"/>
                    <a:gd name="T64" fmla="*/ 49 w 51"/>
                    <a:gd name="T65" fmla="*/ 24 h 100"/>
                    <a:gd name="T66" fmla="*/ 51 w 51"/>
                    <a:gd name="T67" fmla="*/ 9 h 100"/>
                    <a:gd name="T68" fmla="*/ 51 w 51"/>
                    <a:gd name="T69" fmla="*/ 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1" h="100">
                      <a:moveTo>
                        <a:pt x="51" y="0"/>
                      </a:moveTo>
                      <a:lnTo>
                        <a:pt x="46" y="0"/>
                      </a:lnTo>
                      <a:lnTo>
                        <a:pt x="40" y="2"/>
                      </a:lnTo>
                      <a:lnTo>
                        <a:pt x="35" y="4"/>
                      </a:lnTo>
                      <a:lnTo>
                        <a:pt x="31" y="6"/>
                      </a:lnTo>
                      <a:lnTo>
                        <a:pt x="27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0" y="11"/>
                      </a:lnTo>
                      <a:lnTo>
                        <a:pt x="20" y="11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1" y="19"/>
                      </a:lnTo>
                      <a:lnTo>
                        <a:pt x="11" y="19"/>
                      </a:lnTo>
                      <a:lnTo>
                        <a:pt x="9" y="20"/>
                      </a:lnTo>
                      <a:lnTo>
                        <a:pt x="7" y="24"/>
                      </a:lnTo>
                      <a:lnTo>
                        <a:pt x="5" y="26"/>
                      </a:lnTo>
                      <a:lnTo>
                        <a:pt x="5" y="26"/>
                      </a:lnTo>
                      <a:lnTo>
                        <a:pt x="3" y="30"/>
                      </a:lnTo>
                      <a:lnTo>
                        <a:pt x="3" y="30"/>
                      </a:lnTo>
                      <a:lnTo>
                        <a:pt x="1" y="32"/>
                      </a:lnTo>
                      <a:lnTo>
                        <a:pt x="1" y="32"/>
                      </a:lnTo>
                      <a:lnTo>
                        <a:pt x="1" y="35"/>
                      </a:lnTo>
                      <a:lnTo>
                        <a:pt x="1" y="39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1" y="57"/>
                      </a:lnTo>
                      <a:lnTo>
                        <a:pt x="1" y="65"/>
                      </a:lnTo>
                      <a:lnTo>
                        <a:pt x="3" y="74"/>
                      </a:lnTo>
                      <a:lnTo>
                        <a:pt x="7" y="83"/>
                      </a:lnTo>
                      <a:lnTo>
                        <a:pt x="11" y="91"/>
                      </a:lnTo>
                      <a:lnTo>
                        <a:pt x="14" y="100"/>
                      </a:lnTo>
                      <a:lnTo>
                        <a:pt x="18" y="100"/>
                      </a:lnTo>
                      <a:lnTo>
                        <a:pt x="24" y="100"/>
                      </a:lnTo>
                      <a:lnTo>
                        <a:pt x="27" y="100"/>
                      </a:lnTo>
                      <a:lnTo>
                        <a:pt x="31" y="100"/>
                      </a:lnTo>
                      <a:lnTo>
                        <a:pt x="31" y="100"/>
                      </a:lnTo>
                      <a:lnTo>
                        <a:pt x="33" y="98"/>
                      </a:lnTo>
                      <a:lnTo>
                        <a:pt x="35" y="98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96"/>
                      </a:lnTo>
                      <a:lnTo>
                        <a:pt x="35" y="89"/>
                      </a:lnTo>
                      <a:lnTo>
                        <a:pt x="35" y="81"/>
                      </a:lnTo>
                      <a:lnTo>
                        <a:pt x="35" y="74"/>
                      </a:lnTo>
                      <a:lnTo>
                        <a:pt x="35" y="67"/>
                      </a:lnTo>
                      <a:lnTo>
                        <a:pt x="38" y="67"/>
                      </a:lnTo>
                      <a:lnTo>
                        <a:pt x="40" y="65"/>
                      </a:lnTo>
                      <a:lnTo>
                        <a:pt x="44" y="63"/>
                      </a:lnTo>
                      <a:lnTo>
                        <a:pt x="46" y="63"/>
                      </a:lnTo>
                      <a:lnTo>
                        <a:pt x="48" y="63"/>
                      </a:lnTo>
                      <a:lnTo>
                        <a:pt x="48" y="54"/>
                      </a:lnTo>
                      <a:lnTo>
                        <a:pt x="48" y="46"/>
                      </a:lnTo>
                      <a:lnTo>
                        <a:pt x="48" y="39"/>
                      </a:lnTo>
                      <a:lnTo>
                        <a:pt x="49" y="32"/>
                      </a:lnTo>
                      <a:lnTo>
                        <a:pt x="49" y="32"/>
                      </a:lnTo>
                      <a:lnTo>
                        <a:pt x="49" y="24"/>
                      </a:lnTo>
                      <a:lnTo>
                        <a:pt x="49" y="17"/>
                      </a:lnTo>
                      <a:lnTo>
                        <a:pt x="51" y="9"/>
                      </a:lnTo>
                      <a:lnTo>
                        <a:pt x="51" y="0"/>
                      </a:lnTo>
                      <a:lnTo>
                        <a:pt x="51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4" name="Freeform 3179"/>
                <p:cNvSpPr>
                  <a:spLocks noEditPoints="1"/>
                </p:cNvSpPr>
                <p:nvPr/>
              </p:nvSpPr>
              <p:spPr bwMode="auto">
                <a:xfrm>
                  <a:off x="5363" y="1414"/>
                  <a:ext cx="395" cy="1371"/>
                </a:xfrm>
                <a:custGeom>
                  <a:avLst/>
                  <a:gdLst>
                    <a:gd name="T0" fmla="*/ 323 w 395"/>
                    <a:gd name="T1" fmla="*/ 1356 h 1371"/>
                    <a:gd name="T2" fmla="*/ 336 w 395"/>
                    <a:gd name="T3" fmla="*/ 1312 h 1371"/>
                    <a:gd name="T4" fmla="*/ 294 w 395"/>
                    <a:gd name="T5" fmla="*/ 1293 h 1371"/>
                    <a:gd name="T6" fmla="*/ 277 w 395"/>
                    <a:gd name="T7" fmla="*/ 1326 h 1371"/>
                    <a:gd name="T8" fmla="*/ 286 w 395"/>
                    <a:gd name="T9" fmla="*/ 1332 h 1371"/>
                    <a:gd name="T10" fmla="*/ 343 w 395"/>
                    <a:gd name="T11" fmla="*/ 1144 h 1371"/>
                    <a:gd name="T12" fmla="*/ 332 w 395"/>
                    <a:gd name="T13" fmla="*/ 1164 h 1371"/>
                    <a:gd name="T14" fmla="*/ 312 w 395"/>
                    <a:gd name="T15" fmla="*/ 1184 h 1371"/>
                    <a:gd name="T16" fmla="*/ 308 w 395"/>
                    <a:gd name="T17" fmla="*/ 1225 h 1371"/>
                    <a:gd name="T18" fmla="*/ 316 w 395"/>
                    <a:gd name="T19" fmla="*/ 1266 h 1371"/>
                    <a:gd name="T20" fmla="*/ 327 w 395"/>
                    <a:gd name="T21" fmla="*/ 1203 h 1371"/>
                    <a:gd name="T22" fmla="*/ 373 w 395"/>
                    <a:gd name="T23" fmla="*/ 1035 h 1371"/>
                    <a:gd name="T24" fmla="*/ 358 w 395"/>
                    <a:gd name="T25" fmla="*/ 1109 h 1371"/>
                    <a:gd name="T26" fmla="*/ 375 w 395"/>
                    <a:gd name="T27" fmla="*/ 1035 h 1371"/>
                    <a:gd name="T28" fmla="*/ 393 w 395"/>
                    <a:gd name="T29" fmla="*/ 930 h 1371"/>
                    <a:gd name="T30" fmla="*/ 395 w 395"/>
                    <a:gd name="T31" fmla="*/ 930 h 1371"/>
                    <a:gd name="T32" fmla="*/ 390 w 395"/>
                    <a:gd name="T33" fmla="*/ 909 h 1371"/>
                    <a:gd name="T34" fmla="*/ 388 w 395"/>
                    <a:gd name="T35" fmla="*/ 891 h 1371"/>
                    <a:gd name="T36" fmla="*/ 373 w 395"/>
                    <a:gd name="T37" fmla="*/ 821 h 1371"/>
                    <a:gd name="T38" fmla="*/ 358 w 395"/>
                    <a:gd name="T39" fmla="*/ 806 h 1371"/>
                    <a:gd name="T40" fmla="*/ 331 w 395"/>
                    <a:gd name="T41" fmla="*/ 760 h 1371"/>
                    <a:gd name="T42" fmla="*/ 351 w 395"/>
                    <a:gd name="T43" fmla="*/ 749 h 1371"/>
                    <a:gd name="T44" fmla="*/ 364 w 395"/>
                    <a:gd name="T45" fmla="*/ 747 h 1371"/>
                    <a:gd name="T46" fmla="*/ 362 w 395"/>
                    <a:gd name="T47" fmla="*/ 716 h 1371"/>
                    <a:gd name="T48" fmla="*/ 358 w 395"/>
                    <a:gd name="T49" fmla="*/ 694 h 1371"/>
                    <a:gd name="T50" fmla="*/ 351 w 395"/>
                    <a:gd name="T51" fmla="*/ 675 h 1371"/>
                    <a:gd name="T52" fmla="*/ 351 w 395"/>
                    <a:gd name="T53" fmla="*/ 681 h 1371"/>
                    <a:gd name="T54" fmla="*/ 318 w 395"/>
                    <a:gd name="T55" fmla="*/ 636 h 1371"/>
                    <a:gd name="T56" fmla="*/ 327 w 395"/>
                    <a:gd name="T57" fmla="*/ 566 h 1371"/>
                    <a:gd name="T58" fmla="*/ 323 w 395"/>
                    <a:gd name="T59" fmla="*/ 566 h 1371"/>
                    <a:gd name="T60" fmla="*/ 325 w 395"/>
                    <a:gd name="T61" fmla="*/ 596 h 1371"/>
                    <a:gd name="T62" fmla="*/ 336 w 395"/>
                    <a:gd name="T63" fmla="*/ 594 h 1371"/>
                    <a:gd name="T64" fmla="*/ 334 w 395"/>
                    <a:gd name="T65" fmla="*/ 566 h 1371"/>
                    <a:gd name="T66" fmla="*/ 80 w 395"/>
                    <a:gd name="T67" fmla="*/ 25 h 1371"/>
                    <a:gd name="T68" fmla="*/ 41 w 395"/>
                    <a:gd name="T69" fmla="*/ 90 h 1371"/>
                    <a:gd name="T70" fmla="*/ 56 w 395"/>
                    <a:gd name="T71" fmla="*/ 151 h 1371"/>
                    <a:gd name="T72" fmla="*/ 4 w 395"/>
                    <a:gd name="T73" fmla="*/ 184 h 1371"/>
                    <a:gd name="T74" fmla="*/ 24 w 395"/>
                    <a:gd name="T75" fmla="*/ 214 h 1371"/>
                    <a:gd name="T76" fmla="*/ 61 w 395"/>
                    <a:gd name="T77" fmla="*/ 210 h 1371"/>
                    <a:gd name="T78" fmla="*/ 33 w 395"/>
                    <a:gd name="T79" fmla="*/ 293 h 1371"/>
                    <a:gd name="T80" fmla="*/ 17 w 395"/>
                    <a:gd name="T81" fmla="*/ 323 h 1371"/>
                    <a:gd name="T82" fmla="*/ 216 w 395"/>
                    <a:gd name="T83" fmla="*/ 463 h 1371"/>
                    <a:gd name="T84" fmla="*/ 329 w 395"/>
                    <a:gd name="T85" fmla="*/ 533 h 1371"/>
                    <a:gd name="T86" fmla="*/ 327 w 395"/>
                    <a:gd name="T87" fmla="*/ 459 h 1371"/>
                    <a:gd name="T88" fmla="*/ 308 w 395"/>
                    <a:gd name="T89" fmla="*/ 415 h 1371"/>
                    <a:gd name="T90" fmla="*/ 292 w 395"/>
                    <a:gd name="T91" fmla="*/ 387 h 1371"/>
                    <a:gd name="T92" fmla="*/ 273 w 395"/>
                    <a:gd name="T93" fmla="*/ 330 h 1371"/>
                    <a:gd name="T94" fmla="*/ 288 w 395"/>
                    <a:gd name="T95" fmla="*/ 291 h 1371"/>
                    <a:gd name="T96" fmla="*/ 255 w 395"/>
                    <a:gd name="T97" fmla="*/ 275 h 1371"/>
                    <a:gd name="T98" fmla="*/ 238 w 395"/>
                    <a:gd name="T99" fmla="*/ 247 h 1371"/>
                    <a:gd name="T100" fmla="*/ 249 w 395"/>
                    <a:gd name="T101" fmla="*/ 182 h 1371"/>
                    <a:gd name="T102" fmla="*/ 249 w 395"/>
                    <a:gd name="T103" fmla="*/ 144 h 1371"/>
                    <a:gd name="T104" fmla="*/ 196 w 395"/>
                    <a:gd name="T105" fmla="*/ 114 h 1371"/>
                    <a:gd name="T106" fmla="*/ 170 w 395"/>
                    <a:gd name="T107" fmla="*/ 68 h 1371"/>
                    <a:gd name="T108" fmla="*/ 163 w 395"/>
                    <a:gd name="T109" fmla="*/ 49 h 1371"/>
                    <a:gd name="T110" fmla="*/ 168 w 395"/>
                    <a:gd name="T111" fmla="*/ 35 h 1371"/>
                    <a:gd name="T112" fmla="*/ 194 w 395"/>
                    <a:gd name="T113" fmla="*/ 42 h 1371"/>
                    <a:gd name="T114" fmla="*/ 159 w 395"/>
                    <a:gd name="T115" fmla="*/ 5 h 1371"/>
                    <a:gd name="T116" fmla="*/ 137 w 395"/>
                    <a:gd name="T117" fmla="*/ 16 h 1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95" h="1371">
                      <a:moveTo>
                        <a:pt x="321" y="1367"/>
                      </a:moveTo>
                      <a:lnTo>
                        <a:pt x="318" y="1367"/>
                      </a:lnTo>
                      <a:lnTo>
                        <a:pt x="318" y="1367"/>
                      </a:lnTo>
                      <a:lnTo>
                        <a:pt x="318" y="1369"/>
                      </a:lnTo>
                      <a:lnTo>
                        <a:pt x="318" y="1371"/>
                      </a:lnTo>
                      <a:lnTo>
                        <a:pt x="319" y="1371"/>
                      </a:lnTo>
                      <a:lnTo>
                        <a:pt x="321" y="1371"/>
                      </a:lnTo>
                      <a:lnTo>
                        <a:pt x="321" y="1369"/>
                      </a:lnTo>
                      <a:lnTo>
                        <a:pt x="321" y="1367"/>
                      </a:lnTo>
                      <a:close/>
                      <a:moveTo>
                        <a:pt x="327" y="1356"/>
                      </a:moveTo>
                      <a:lnTo>
                        <a:pt x="323" y="1356"/>
                      </a:lnTo>
                      <a:lnTo>
                        <a:pt x="321" y="1356"/>
                      </a:lnTo>
                      <a:lnTo>
                        <a:pt x="321" y="1358"/>
                      </a:lnTo>
                      <a:lnTo>
                        <a:pt x="321" y="1360"/>
                      </a:lnTo>
                      <a:lnTo>
                        <a:pt x="325" y="1360"/>
                      </a:lnTo>
                      <a:lnTo>
                        <a:pt x="327" y="1360"/>
                      </a:lnTo>
                      <a:lnTo>
                        <a:pt x="327" y="1358"/>
                      </a:lnTo>
                      <a:lnTo>
                        <a:pt x="327" y="1356"/>
                      </a:lnTo>
                      <a:close/>
                      <a:moveTo>
                        <a:pt x="347" y="1306"/>
                      </a:moveTo>
                      <a:lnTo>
                        <a:pt x="343" y="1306"/>
                      </a:lnTo>
                      <a:lnTo>
                        <a:pt x="338" y="1306"/>
                      </a:lnTo>
                      <a:lnTo>
                        <a:pt x="336" y="1312"/>
                      </a:lnTo>
                      <a:lnTo>
                        <a:pt x="336" y="1317"/>
                      </a:lnTo>
                      <a:lnTo>
                        <a:pt x="334" y="1323"/>
                      </a:lnTo>
                      <a:lnTo>
                        <a:pt x="334" y="1323"/>
                      </a:lnTo>
                      <a:lnTo>
                        <a:pt x="332" y="1326"/>
                      </a:lnTo>
                      <a:lnTo>
                        <a:pt x="338" y="1326"/>
                      </a:lnTo>
                      <a:lnTo>
                        <a:pt x="343" y="1326"/>
                      </a:lnTo>
                      <a:lnTo>
                        <a:pt x="343" y="1323"/>
                      </a:lnTo>
                      <a:lnTo>
                        <a:pt x="345" y="1317"/>
                      </a:lnTo>
                      <a:lnTo>
                        <a:pt x="345" y="1312"/>
                      </a:lnTo>
                      <a:lnTo>
                        <a:pt x="347" y="1306"/>
                      </a:lnTo>
                      <a:close/>
                      <a:moveTo>
                        <a:pt x="294" y="1293"/>
                      </a:moveTo>
                      <a:lnTo>
                        <a:pt x="292" y="1295"/>
                      </a:lnTo>
                      <a:lnTo>
                        <a:pt x="292" y="1295"/>
                      </a:lnTo>
                      <a:lnTo>
                        <a:pt x="292" y="1297"/>
                      </a:lnTo>
                      <a:lnTo>
                        <a:pt x="292" y="1297"/>
                      </a:lnTo>
                      <a:lnTo>
                        <a:pt x="286" y="1297"/>
                      </a:lnTo>
                      <a:lnTo>
                        <a:pt x="283" y="1297"/>
                      </a:lnTo>
                      <a:lnTo>
                        <a:pt x="277" y="1299"/>
                      </a:lnTo>
                      <a:lnTo>
                        <a:pt x="273" y="1299"/>
                      </a:lnTo>
                      <a:lnTo>
                        <a:pt x="275" y="1308"/>
                      </a:lnTo>
                      <a:lnTo>
                        <a:pt x="275" y="1317"/>
                      </a:lnTo>
                      <a:lnTo>
                        <a:pt x="277" y="1326"/>
                      </a:lnTo>
                      <a:lnTo>
                        <a:pt x="277" y="1336"/>
                      </a:lnTo>
                      <a:lnTo>
                        <a:pt x="279" y="1345"/>
                      </a:lnTo>
                      <a:lnTo>
                        <a:pt x="279" y="1354"/>
                      </a:lnTo>
                      <a:lnTo>
                        <a:pt x="281" y="1363"/>
                      </a:lnTo>
                      <a:lnTo>
                        <a:pt x="281" y="1369"/>
                      </a:lnTo>
                      <a:lnTo>
                        <a:pt x="281" y="1367"/>
                      </a:lnTo>
                      <a:lnTo>
                        <a:pt x="283" y="1365"/>
                      </a:lnTo>
                      <a:lnTo>
                        <a:pt x="283" y="1362"/>
                      </a:lnTo>
                      <a:lnTo>
                        <a:pt x="284" y="1352"/>
                      </a:lnTo>
                      <a:lnTo>
                        <a:pt x="284" y="1343"/>
                      </a:lnTo>
                      <a:lnTo>
                        <a:pt x="286" y="1332"/>
                      </a:lnTo>
                      <a:lnTo>
                        <a:pt x="288" y="1321"/>
                      </a:lnTo>
                      <a:lnTo>
                        <a:pt x="290" y="1308"/>
                      </a:lnTo>
                      <a:lnTo>
                        <a:pt x="294" y="1297"/>
                      </a:lnTo>
                      <a:lnTo>
                        <a:pt x="294" y="1297"/>
                      </a:lnTo>
                      <a:lnTo>
                        <a:pt x="294" y="1295"/>
                      </a:lnTo>
                      <a:lnTo>
                        <a:pt x="294" y="1295"/>
                      </a:lnTo>
                      <a:lnTo>
                        <a:pt x="295" y="1295"/>
                      </a:lnTo>
                      <a:lnTo>
                        <a:pt x="294" y="1295"/>
                      </a:lnTo>
                      <a:lnTo>
                        <a:pt x="294" y="1293"/>
                      </a:lnTo>
                      <a:close/>
                      <a:moveTo>
                        <a:pt x="347" y="1144"/>
                      </a:moveTo>
                      <a:lnTo>
                        <a:pt x="343" y="1144"/>
                      </a:lnTo>
                      <a:lnTo>
                        <a:pt x="340" y="1144"/>
                      </a:lnTo>
                      <a:lnTo>
                        <a:pt x="336" y="1144"/>
                      </a:lnTo>
                      <a:lnTo>
                        <a:pt x="332" y="1144"/>
                      </a:lnTo>
                      <a:lnTo>
                        <a:pt x="332" y="1147"/>
                      </a:lnTo>
                      <a:lnTo>
                        <a:pt x="334" y="1151"/>
                      </a:lnTo>
                      <a:lnTo>
                        <a:pt x="334" y="1151"/>
                      </a:lnTo>
                      <a:lnTo>
                        <a:pt x="334" y="1153"/>
                      </a:lnTo>
                      <a:lnTo>
                        <a:pt x="334" y="1157"/>
                      </a:lnTo>
                      <a:lnTo>
                        <a:pt x="334" y="1157"/>
                      </a:lnTo>
                      <a:lnTo>
                        <a:pt x="332" y="1160"/>
                      </a:lnTo>
                      <a:lnTo>
                        <a:pt x="332" y="1164"/>
                      </a:lnTo>
                      <a:lnTo>
                        <a:pt x="331" y="1170"/>
                      </a:lnTo>
                      <a:lnTo>
                        <a:pt x="327" y="1177"/>
                      </a:lnTo>
                      <a:lnTo>
                        <a:pt x="327" y="1177"/>
                      </a:lnTo>
                      <a:lnTo>
                        <a:pt x="321" y="1177"/>
                      </a:lnTo>
                      <a:lnTo>
                        <a:pt x="314" y="1179"/>
                      </a:lnTo>
                      <a:lnTo>
                        <a:pt x="308" y="1181"/>
                      </a:lnTo>
                      <a:lnTo>
                        <a:pt x="305" y="1181"/>
                      </a:lnTo>
                      <a:lnTo>
                        <a:pt x="305" y="1181"/>
                      </a:lnTo>
                      <a:lnTo>
                        <a:pt x="305" y="1181"/>
                      </a:lnTo>
                      <a:lnTo>
                        <a:pt x="308" y="1183"/>
                      </a:lnTo>
                      <a:lnTo>
                        <a:pt x="312" y="1184"/>
                      </a:lnTo>
                      <a:lnTo>
                        <a:pt x="316" y="1186"/>
                      </a:lnTo>
                      <a:lnTo>
                        <a:pt x="316" y="1186"/>
                      </a:lnTo>
                      <a:lnTo>
                        <a:pt x="316" y="1190"/>
                      </a:lnTo>
                      <a:lnTo>
                        <a:pt x="316" y="1194"/>
                      </a:lnTo>
                      <a:lnTo>
                        <a:pt x="316" y="1199"/>
                      </a:lnTo>
                      <a:lnTo>
                        <a:pt x="316" y="1203"/>
                      </a:lnTo>
                      <a:lnTo>
                        <a:pt x="316" y="1203"/>
                      </a:lnTo>
                      <a:lnTo>
                        <a:pt x="310" y="1205"/>
                      </a:lnTo>
                      <a:lnTo>
                        <a:pt x="307" y="1207"/>
                      </a:lnTo>
                      <a:lnTo>
                        <a:pt x="308" y="1216"/>
                      </a:lnTo>
                      <a:lnTo>
                        <a:pt x="308" y="1225"/>
                      </a:lnTo>
                      <a:lnTo>
                        <a:pt x="308" y="1225"/>
                      </a:lnTo>
                      <a:lnTo>
                        <a:pt x="310" y="1232"/>
                      </a:lnTo>
                      <a:lnTo>
                        <a:pt x="310" y="1240"/>
                      </a:lnTo>
                      <a:lnTo>
                        <a:pt x="310" y="1247"/>
                      </a:lnTo>
                      <a:lnTo>
                        <a:pt x="310" y="1247"/>
                      </a:lnTo>
                      <a:lnTo>
                        <a:pt x="310" y="1256"/>
                      </a:lnTo>
                      <a:lnTo>
                        <a:pt x="308" y="1264"/>
                      </a:lnTo>
                      <a:lnTo>
                        <a:pt x="305" y="1273"/>
                      </a:lnTo>
                      <a:lnTo>
                        <a:pt x="310" y="1273"/>
                      </a:lnTo>
                      <a:lnTo>
                        <a:pt x="316" y="1273"/>
                      </a:lnTo>
                      <a:lnTo>
                        <a:pt x="316" y="1266"/>
                      </a:lnTo>
                      <a:lnTo>
                        <a:pt x="314" y="1258"/>
                      </a:lnTo>
                      <a:lnTo>
                        <a:pt x="314" y="1251"/>
                      </a:lnTo>
                      <a:lnTo>
                        <a:pt x="316" y="1242"/>
                      </a:lnTo>
                      <a:lnTo>
                        <a:pt x="316" y="1234"/>
                      </a:lnTo>
                      <a:lnTo>
                        <a:pt x="316" y="1227"/>
                      </a:lnTo>
                      <a:lnTo>
                        <a:pt x="316" y="1219"/>
                      </a:lnTo>
                      <a:lnTo>
                        <a:pt x="316" y="1212"/>
                      </a:lnTo>
                      <a:lnTo>
                        <a:pt x="316" y="1212"/>
                      </a:lnTo>
                      <a:lnTo>
                        <a:pt x="319" y="1208"/>
                      </a:lnTo>
                      <a:lnTo>
                        <a:pt x="323" y="1207"/>
                      </a:lnTo>
                      <a:lnTo>
                        <a:pt x="327" y="1203"/>
                      </a:lnTo>
                      <a:lnTo>
                        <a:pt x="331" y="1199"/>
                      </a:lnTo>
                      <a:lnTo>
                        <a:pt x="332" y="1195"/>
                      </a:lnTo>
                      <a:lnTo>
                        <a:pt x="334" y="1190"/>
                      </a:lnTo>
                      <a:lnTo>
                        <a:pt x="336" y="1186"/>
                      </a:lnTo>
                      <a:lnTo>
                        <a:pt x="338" y="1183"/>
                      </a:lnTo>
                      <a:lnTo>
                        <a:pt x="340" y="1171"/>
                      </a:lnTo>
                      <a:lnTo>
                        <a:pt x="342" y="1162"/>
                      </a:lnTo>
                      <a:lnTo>
                        <a:pt x="345" y="1153"/>
                      </a:lnTo>
                      <a:lnTo>
                        <a:pt x="347" y="1144"/>
                      </a:lnTo>
                      <a:close/>
                      <a:moveTo>
                        <a:pt x="375" y="1035"/>
                      </a:moveTo>
                      <a:lnTo>
                        <a:pt x="373" y="1035"/>
                      </a:lnTo>
                      <a:lnTo>
                        <a:pt x="369" y="1035"/>
                      </a:lnTo>
                      <a:lnTo>
                        <a:pt x="366" y="1037"/>
                      </a:lnTo>
                      <a:lnTo>
                        <a:pt x="364" y="1037"/>
                      </a:lnTo>
                      <a:lnTo>
                        <a:pt x="362" y="1046"/>
                      </a:lnTo>
                      <a:lnTo>
                        <a:pt x="362" y="1055"/>
                      </a:lnTo>
                      <a:lnTo>
                        <a:pt x="362" y="1064"/>
                      </a:lnTo>
                      <a:lnTo>
                        <a:pt x="360" y="1074"/>
                      </a:lnTo>
                      <a:lnTo>
                        <a:pt x="360" y="1083"/>
                      </a:lnTo>
                      <a:lnTo>
                        <a:pt x="360" y="1092"/>
                      </a:lnTo>
                      <a:lnTo>
                        <a:pt x="360" y="1101"/>
                      </a:lnTo>
                      <a:lnTo>
                        <a:pt x="358" y="1109"/>
                      </a:lnTo>
                      <a:lnTo>
                        <a:pt x="362" y="1105"/>
                      </a:lnTo>
                      <a:lnTo>
                        <a:pt x="362" y="1105"/>
                      </a:lnTo>
                      <a:lnTo>
                        <a:pt x="366" y="1103"/>
                      </a:lnTo>
                      <a:lnTo>
                        <a:pt x="367" y="1096"/>
                      </a:lnTo>
                      <a:lnTo>
                        <a:pt x="367" y="1087"/>
                      </a:lnTo>
                      <a:lnTo>
                        <a:pt x="369" y="1077"/>
                      </a:lnTo>
                      <a:lnTo>
                        <a:pt x="369" y="1068"/>
                      </a:lnTo>
                      <a:lnTo>
                        <a:pt x="371" y="1059"/>
                      </a:lnTo>
                      <a:lnTo>
                        <a:pt x="371" y="1052"/>
                      </a:lnTo>
                      <a:lnTo>
                        <a:pt x="373" y="1042"/>
                      </a:lnTo>
                      <a:lnTo>
                        <a:pt x="375" y="1035"/>
                      </a:lnTo>
                      <a:close/>
                      <a:moveTo>
                        <a:pt x="367" y="996"/>
                      </a:moveTo>
                      <a:lnTo>
                        <a:pt x="366" y="996"/>
                      </a:lnTo>
                      <a:lnTo>
                        <a:pt x="364" y="996"/>
                      </a:lnTo>
                      <a:lnTo>
                        <a:pt x="364" y="998"/>
                      </a:lnTo>
                      <a:lnTo>
                        <a:pt x="364" y="1000"/>
                      </a:lnTo>
                      <a:lnTo>
                        <a:pt x="367" y="1000"/>
                      </a:lnTo>
                      <a:lnTo>
                        <a:pt x="367" y="1000"/>
                      </a:lnTo>
                      <a:lnTo>
                        <a:pt x="367" y="998"/>
                      </a:lnTo>
                      <a:lnTo>
                        <a:pt x="367" y="996"/>
                      </a:lnTo>
                      <a:close/>
                      <a:moveTo>
                        <a:pt x="395" y="930"/>
                      </a:moveTo>
                      <a:lnTo>
                        <a:pt x="393" y="930"/>
                      </a:lnTo>
                      <a:lnTo>
                        <a:pt x="391" y="930"/>
                      </a:lnTo>
                      <a:lnTo>
                        <a:pt x="391" y="933"/>
                      </a:lnTo>
                      <a:lnTo>
                        <a:pt x="391" y="937"/>
                      </a:lnTo>
                      <a:lnTo>
                        <a:pt x="391" y="943"/>
                      </a:lnTo>
                      <a:lnTo>
                        <a:pt x="391" y="944"/>
                      </a:lnTo>
                      <a:lnTo>
                        <a:pt x="393" y="944"/>
                      </a:lnTo>
                      <a:lnTo>
                        <a:pt x="395" y="944"/>
                      </a:lnTo>
                      <a:lnTo>
                        <a:pt x="395" y="941"/>
                      </a:lnTo>
                      <a:lnTo>
                        <a:pt x="395" y="937"/>
                      </a:lnTo>
                      <a:lnTo>
                        <a:pt x="395" y="933"/>
                      </a:lnTo>
                      <a:lnTo>
                        <a:pt x="395" y="930"/>
                      </a:lnTo>
                      <a:close/>
                      <a:moveTo>
                        <a:pt x="388" y="908"/>
                      </a:moveTo>
                      <a:lnTo>
                        <a:pt x="386" y="908"/>
                      </a:lnTo>
                      <a:lnTo>
                        <a:pt x="388" y="913"/>
                      </a:lnTo>
                      <a:lnTo>
                        <a:pt x="388" y="917"/>
                      </a:lnTo>
                      <a:lnTo>
                        <a:pt x="390" y="917"/>
                      </a:lnTo>
                      <a:lnTo>
                        <a:pt x="390" y="917"/>
                      </a:lnTo>
                      <a:lnTo>
                        <a:pt x="390" y="915"/>
                      </a:lnTo>
                      <a:lnTo>
                        <a:pt x="390" y="913"/>
                      </a:lnTo>
                      <a:lnTo>
                        <a:pt x="390" y="911"/>
                      </a:lnTo>
                      <a:lnTo>
                        <a:pt x="390" y="911"/>
                      </a:lnTo>
                      <a:lnTo>
                        <a:pt x="390" y="909"/>
                      </a:lnTo>
                      <a:lnTo>
                        <a:pt x="390" y="909"/>
                      </a:lnTo>
                      <a:lnTo>
                        <a:pt x="390" y="909"/>
                      </a:lnTo>
                      <a:lnTo>
                        <a:pt x="388" y="909"/>
                      </a:lnTo>
                      <a:lnTo>
                        <a:pt x="388" y="909"/>
                      </a:lnTo>
                      <a:lnTo>
                        <a:pt x="388" y="908"/>
                      </a:lnTo>
                      <a:close/>
                      <a:moveTo>
                        <a:pt x="390" y="887"/>
                      </a:moveTo>
                      <a:lnTo>
                        <a:pt x="388" y="887"/>
                      </a:lnTo>
                      <a:lnTo>
                        <a:pt x="386" y="887"/>
                      </a:lnTo>
                      <a:lnTo>
                        <a:pt x="386" y="889"/>
                      </a:lnTo>
                      <a:lnTo>
                        <a:pt x="386" y="891"/>
                      </a:lnTo>
                      <a:lnTo>
                        <a:pt x="388" y="891"/>
                      </a:lnTo>
                      <a:lnTo>
                        <a:pt x="390" y="891"/>
                      </a:lnTo>
                      <a:lnTo>
                        <a:pt x="390" y="889"/>
                      </a:lnTo>
                      <a:lnTo>
                        <a:pt x="390" y="887"/>
                      </a:lnTo>
                      <a:close/>
                      <a:moveTo>
                        <a:pt x="382" y="843"/>
                      </a:moveTo>
                      <a:lnTo>
                        <a:pt x="382" y="849"/>
                      </a:lnTo>
                      <a:lnTo>
                        <a:pt x="380" y="852"/>
                      </a:lnTo>
                      <a:lnTo>
                        <a:pt x="384" y="850"/>
                      </a:lnTo>
                      <a:lnTo>
                        <a:pt x="388" y="849"/>
                      </a:lnTo>
                      <a:lnTo>
                        <a:pt x="384" y="847"/>
                      </a:lnTo>
                      <a:lnTo>
                        <a:pt x="382" y="843"/>
                      </a:lnTo>
                      <a:close/>
                      <a:moveTo>
                        <a:pt x="373" y="821"/>
                      </a:moveTo>
                      <a:lnTo>
                        <a:pt x="371" y="821"/>
                      </a:lnTo>
                      <a:lnTo>
                        <a:pt x="369" y="821"/>
                      </a:lnTo>
                      <a:lnTo>
                        <a:pt x="369" y="823"/>
                      </a:lnTo>
                      <a:lnTo>
                        <a:pt x="369" y="825"/>
                      </a:lnTo>
                      <a:lnTo>
                        <a:pt x="371" y="825"/>
                      </a:lnTo>
                      <a:lnTo>
                        <a:pt x="373" y="825"/>
                      </a:lnTo>
                      <a:lnTo>
                        <a:pt x="373" y="823"/>
                      </a:lnTo>
                      <a:lnTo>
                        <a:pt x="373" y="821"/>
                      </a:lnTo>
                      <a:close/>
                      <a:moveTo>
                        <a:pt x="362" y="806"/>
                      </a:moveTo>
                      <a:lnTo>
                        <a:pt x="360" y="806"/>
                      </a:lnTo>
                      <a:lnTo>
                        <a:pt x="358" y="806"/>
                      </a:lnTo>
                      <a:lnTo>
                        <a:pt x="358" y="808"/>
                      </a:lnTo>
                      <a:lnTo>
                        <a:pt x="358" y="810"/>
                      </a:lnTo>
                      <a:lnTo>
                        <a:pt x="360" y="810"/>
                      </a:lnTo>
                      <a:lnTo>
                        <a:pt x="362" y="810"/>
                      </a:lnTo>
                      <a:lnTo>
                        <a:pt x="362" y="808"/>
                      </a:lnTo>
                      <a:lnTo>
                        <a:pt x="362" y="806"/>
                      </a:lnTo>
                      <a:close/>
                      <a:moveTo>
                        <a:pt x="334" y="756"/>
                      </a:moveTo>
                      <a:lnTo>
                        <a:pt x="332" y="756"/>
                      </a:lnTo>
                      <a:lnTo>
                        <a:pt x="331" y="756"/>
                      </a:lnTo>
                      <a:lnTo>
                        <a:pt x="331" y="758"/>
                      </a:lnTo>
                      <a:lnTo>
                        <a:pt x="331" y="760"/>
                      </a:lnTo>
                      <a:lnTo>
                        <a:pt x="332" y="760"/>
                      </a:lnTo>
                      <a:lnTo>
                        <a:pt x="334" y="760"/>
                      </a:lnTo>
                      <a:lnTo>
                        <a:pt x="334" y="758"/>
                      </a:lnTo>
                      <a:lnTo>
                        <a:pt x="334" y="756"/>
                      </a:lnTo>
                      <a:close/>
                      <a:moveTo>
                        <a:pt x="351" y="745"/>
                      </a:moveTo>
                      <a:lnTo>
                        <a:pt x="349" y="745"/>
                      </a:lnTo>
                      <a:lnTo>
                        <a:pt x="347" y="745"/>
                      </a:lnTo>
                      <a:lnTo>
                        <a:pt x="347" y="747"/>
                      </a:lnTo>
                      <a:lnTo>
                        <a:pt x="347" y="749"/>
                      </a:lnTo>
                      <a:lnTo>
                        <a:pt x="349" y="749"/>
                      </a:lnTo>
                      <a:lnTo>
                        <a:pt x="351" y="749"/>
                      </a:lnTo>
                      <a:lnTo>
                        <a:pt x="351" y="747"/>
                      </a:lnTo>
                      <a:lnTo>
                        <a:pt x="351" y="745"/>
                      </a:lnTo>
                      <a:close/>
                      <a:moveTo>
                        <a:pt x="360" y="741"/>
                      </a:moveTo>
                      <a:lnTo>
                        <a:pt x="360" y="743"/>
                      </a:lnTo>
                      <a:lnTo>
                        <a:pt x="362" y="747"/>
                      </a:lnTo>
                      <a:lnTo>
                        <a:pt x="362" y="751"/>
                      </a:lnTo>
                      <a:lnTo>
                        <a:pt x="362" y="753"/>
                      </a:lnTo>
                      <a:lnTo>
                        <a:pt x="364" y="753"/>
                      </a:lnTo>
                      <a:lnTo>
                        <a:pt x="364" y="749"/>
                      </a:lnTo>
                      <a:lnTo>
                        <a:pt x="364" y="749"/>
                      </a:lnTo>
                      <a:lnTo>
                        <a:pt x="364" y="747"/>
                      </a:lnTo>
                      <a:lnTo>
                        <a:pt x="364" y="745"/>
                      </a:lnTo>
                      <a:lnTo>
                        <a:pt x="364" y="745"/>
                      </a:lnTo>
                      <a:lnTo>
                        <a:pt x="362" y="743"/>
                      </a:lnTo>
                      <a:lnTo>
                        <a:pt x="360" y="741"/>
                      </a:lnTo>
                      <a:lnTo>
                        <a:pt x="360" y="741"/>
                      </a:lnTo>
                      <a:close/>
                      <a:moveTo>
                        <a:pt x="367" y="712"/>
                      </a:moveTo>
                      <a:lnTo>
                        <a:pt x="362" y="712"/>
                      </a:lnTo>
                      <a:lnTo>
                        <a:pt x="356" y="712"/>
                      </a:lnTo>
                      <a:lnTo>
                        <a:pt x="356" y="714"/>
                      </a:lnTo>
                      <a:lnTo>
                        <a:pt x="356" y="716"/>
                      </a:lnTo>
                      <a:lnTo>
                        <a:pt x="362" y="716"/>
                      </a:lnTo>
                      <a:lnTo>
                        <a:pt x="367" y="716"/>
                      </a:lnTo>
                      <a:lnTo>
                        <a:pt x="367" y="714"/>
                      </a:lnTo>
                      <a:lnTo>
                        <a:pt x="367" y="712"/>
                      </a:lnTo>
                      <a:close/>
                      <a:moveTo>
                        <a:pt x="355" y="692"/>
                      </a:moveTo>
                      <a:lnTo>
                        <a:pt x="353" y="692"/>
                      </a:lnTo>
                      <a:lnTo>
                        <a:pt x="353" y="694"/>
                      </a:lnTo>
                      <a:lnTo>
                        <a:pt x="353" y="697"/>
                      </a:lnTo>
                      <a:lnTo>
                        <a:pt x="353" y="701"/>
                      </a:lnTo>
                      <a:lnTo>
                        <a:pt x="356" y="699"/>
                      </a:lnTo>
                      <a:lnTo>
                        <a:pt x="360" y="697"/>
                      </a:lnTo>
                      <a:lnTo>
                        <a:pt x="358" y="694"/>
                      </a:lnTo>
                      <a:lnTo>
                        <a:pt x="355" y="692"/>
                      </a:lnTo>
                      <a:close/>
                      <a:moveTo>
                        <a:pt x="323" y="681"/>
                      </a:moveTo>
                      <a:lnTo>
                        <a:pt x="321" y="681"/>
                      </a:lnTo>
                      <a:lnTo>
                        <a:pt x="319" y="681"/>
                      </a:lnTo>
                      <a:lnTo>
                        <a:pt x="319" y="682"/>
                      </a:lnTo>
                      <a:lnTo>
                        <a:pt x="319" y="684"/>
                      </a:lnTo>
                      <a:lnTo>
                        <a:pt x="321" y="684"/>
                      </a:lnTo>
                      <a:lnTo>
                        <a:pt x="323" y="684"/>
                      </a:lnTo>
                      <a:lnTo>
                        <a:pt x="323" y="682"/>
                      </a:lnTo>
                      <a:lnTo>
                        <a:pt x="323" y="681"/>
                      </a:lnTo>
                      <a:close/>
                      <a:moveTo>
                        <a:pt x="351" y="675"/>
                      </a:moveTo>
                      <a:lnTo>
                        <a:pt x="345" y="675"/>
                      </a:lnTo>
                      <a:lnTo>
                        <a:pt x="342" y="675"/>
                      </a:lnTo>
                      <a:lnTo>
                        <a:pt x="343" y="677"/>
                      </a:lnTo>
                      <a:lnTo>
                        <a:pt x="345" y="681"/>
                      </a:lnTo>
                      <a:lnTo>
                        <a:pt x="347" y="686"/>
                      </a:lnTo>
                      <a:lnTo>
                        <a:pt x="349" y="688"/>
                      </a:lnTo>
                      <a:lnTo>
                        <a:pt x="349" y="688"/>
                      </a:lnTo>
                      <a:lnTo>
                        <a:pt x="349" y="688"/>
                      </a:lnTo>
                      <a:lnTo>
                        <a:pt x="351" y="688"/>
                      </a:lnTo>
                      <a:lnTo>
                        <a:pt x="351" y="684"/>
                      </a:lnTo>
                      <a:lnTo>
                        <a:pt x="351" y="681"/>
                      </a:lnTo>
                      <a:lnTo>
                        <a:pt x="351" y="677"/>
                      </a:lnTo>
                      <a:lnTo>
                        <a:pt x="351" y="675"/>
                      </a:lnTo>
                      <a:close/>
                      <a:moveTo>
                        <a:pt x="318" y="636"/>
                      </a:moveTo>
                      <a:lnTo>
                        <a:pt x="316" y="636"/>
                      </a:lnTo>
                      <a:lnTo>
                        <a:pt x="314" y="636"/>
                      </a:lnTo>
                      <a:lnTo>
                        <a:pt x="314" y="638"/>
                      </a:lnTo>
                      <a:lnTo>
                        <a:pt x="314" y="640"/>
                      </a:lnTo>
                      <a:lnTo>
                        <a:pt x="316" y="640"/>
                      </a:lnTo>
                      <a:lnTo>
                        <a:pt x="318" y="640"/>
                      </a:lnTo>
                      <a:lnTo>
                        <a:pt x="318" y="638"/>
                      </a:lnTo>
                      <a:lnTo>
                        <a:pt x="318" y="636"/>
                      </a:lnTo>
                      <a:close/>
                      <a:moveTo>
                        <a:pt x="294" y="577"/>
                      </a:moveTo>
                      <a:lnTo>
                        <a:pt x="292" y="581"/>
                      </a:lnTo>
                      <a:lnTo>
                        <a:pt x="292" y="585"/>
                      </a:lnTo>
                      <a:lnTo>
                        <a:pt x="295" y="585"/>
                      </a:lnTo>
                      <a:lnTo>
                        <a:pt x="299" y="583"/>
                      </a:lnTo>
                      <a:lnTo>
                        <a:pt x="295" y="579"/>
                      </a:lnTo>
                      <a:lnTo>
                        <a:pt x="294" y="577"/>
                      </a:lnTo>
                      <a:close/>
                      <a:moveTo>
                        <a:pt x="325" y="564"/>
                      </a:moveTo>
                      <a:lnTo>
                        <a:pt x="327" y="564"/>
                      </a:lnTo>
                      <a:lnTo>
                        <a:pt x="327" y="564"/>
                      </a:lnTo>
                      <a:lnTo>
                        <a:pt x="327" y="566"/>
                      </a:lnTo>
                      <a:lnTo>
                        <a:pt x="329" y="566"/>
                      </a:lnTo>
                      <a:lnTo>
                        <a:pt x="329" y="568"/>
                      </a:lnTo>
                      <a:lnTo>
                        <a:pt x="327" y="570"/>
                      </a:lnTo>
                      <a:lnTo>
                        <a:pt x="327" y="572"/>
                      </a:lnTo>
                      <a:lnTo>
                        <a:pt x="325" y="572"/>
                      </a:lnTo>
                      <a:lnTo>
                        <a:pt x="323" y="570"/>
                      </a:lnTo>
                      <a:lnTo>
                        <a:pt x="323" y="570"/>
                      </a:lnTo>
                      <a:lnTo>
                        <a:pt x="323" y="566"/>
                      </a:lnTo>
                      <a:lnTo>
                        <a:pt x="323" y="566"/>
                      </a:lnTo>
                      <a:lnTo>
                        <a:pt x="323" y="566"/>
                      </a:lnTo>
                      <a:lnTo>
                        <a:pt x="323" y="566"/>
                      </a:lnTo>
                      <a:lnTo>
                        <a:pt x="325" y="564"/>
                      </a:lnTo>
                      <a:close/>
                      <a:moveTo>
                        <a:pt x="329" y="551"/>
                      </a:moveTo>
                      <a:lnTo>
                        <a:pt x="327" y="557"/>
                      </a:lnTo>
                      <a:lnTo>
                        <a:pt x="325" y="562"/>
                      </a:lnTo>
                      <a:lnTo>
                        <a:pt x="323" y="562"/>
                      </a:lnTo>
                      <a:lnTo>
                        <a:pt x="323" y="564"/>
                      </a:lnTo>
                      <a:lnTo>
                        <a:pt x="321" y="564"/>
                      </a:lnTo>
                      <a:lnTo>
                        <a:pt x="323" y="572"/>
                      </a:lnTo>
                      <a:lnTo>
                        <a:pt x="323" y="579"/>
                      </a:lnTo>
                      <a:lnTo>
                        <a:pt x="323" y="588"/>
                      </a:lnTo>
                      <a:lnTo>
                        <a:pt x="325" y="596"/>
                      </a:lnTo>
                      <a:lnTo>
                        <a:pt x="325" y="603"/>
                      </a:lnTo>
                      <a:lnTo>
                        <a:pt x="327" y="610"/>
                      </a:lnTo>
                      <a:lnTo>
                        <a:pt x="327" y="618"/>
                      </a:lnTo>
                      <a:lnTo>
                        <a:pt x="329" y="625"/>
                      </a:lnTo>
                      <a:lnTo>
                        <a:pt x="331" y="625"/>
                      </a:lnTo>
                      <a:lnTo>
                        <a:pt x="334" y="627"/>
                      </a:lnTo>
                      <a:lnTo>
                        <a:pt x="338" y="629"/>
                      </a:lnTo>
                      <a:lnTo>
                        <a:pt x="340" y="629"/>
                      </a:lnTo>
                      <a:lnTo>
                        <a:pt x="338" y="614"/>
                      </a:lnTo>
                      <a:lnTo>
                        <a:pt x="338" y="601"/>
                      </a:lnTo>
                      <a:lnTo>
                        <a:pt x="336" y="594"/>
                      </a:lnTo>
                      <a:lnTo>
                        <a:pt x="334" y="586"/>
                      </a:lnTo>
                      <a:lnTo>
                        <a:pt x="332" y="583"/>
                      </a:lnTo>
                      <a:lnTo>
                        <a:pt x="332" y="579"/>
                      </a:lnTo>
                      <a:lnTo>
                        <a:pt x="331" y="577"/>
                      </a:lnTo>
                      <a:lnTo>
                        <a:pt x="327" y="574"/>
                      </a:lnTo>
                      <a:lnTo>
                        <a:pt x="329" y="574"/>
                      </a:lnTo>
                      <a:lnTo>
                        <a:pt x="329" y="572"/>
                      </a:lnTo>
                      <a:lnTo>
                        <a:pt x="329" y="572"/>
                      </a:lnTo>
                      <a:lnTo>
                        <a:pt x="331" y="570"/>
                      </a:lnTo>
                      <a:lnTo>
                        <a:pt x="334" y="566"/>
                      </a:lnTo>
                      <a:lnTo>
                        <a:pt x="334" y="566"/>
                      </a:lnTo>
                      <a:lnTo>
                        <a:pt x="336" y="562"/>
                      </a:lnTo>
                      <a:lnTo>
                        <a:pt x="332" y="557"/>
                      </a:lnTo>
                      <a:lnTo>
                        <a:pt x="329" y="551"/>
                      </a:lnTo>
                      <a:close/>
                      <a:moveTo>
                        <a:pt x="102" y="0"/>
                      </a:moveTo>
                      <a:lnTo>
                        <a:pt x="98" y="3"/>
                      </a:lnTo>
                      <a:lnTo>
                        <a:pt x="94" y="5"/>
                      </a:lnTo>
                      <a:lnTo>
                        <a:pt x="91" y="9"/>
                      </a:lnTo>
                      <a:lnTo>
                        <a:pt x="89" y="13"/>
                      </a:lnTo>
                      <a:lnTo>
                        <a:pt x="85" y="14"/>
                      </a:lnTo>
                      <a:lnTo>
                        <a:pt x="83" y="20"/>
                      </a:lnTo>
                      <a:lnTo>
                        <a:pt x="80" y="25"/>
                      </a:lnTo>
                      <a:lnTo>
                        <a:pt x="76" y="33"/>
                      </a:lnTo>
                      <a:lnTo>
                        <a:pt x="63" y="40"/>
                      </a:lnTo>
                      <a:lnTo>
                        <a:pt x="50" y="48"/>
                      </a:lnTo>
                      <a:lnTo>
                        <a:pt x="39" y="55"/>
                      </a:lnTo>
                      <a:lnTo>
                        <a:pt x="26" y="64"/>
                      </a:lnTo>
                      <a:lnTo>
                        <a:pt x="32" y="70"/>
                      </a:lnTo>
                      <a:lnTo>
                        <a:pt x="35" y="77"/>
                      </a:lnTo>
                      <a:lnTo>
                        <a:pt x="35" y="77"/>
                      </a:lnTo>
                      <a:lnTo>
                        <a:pt x="39" y="83"/>
                      </a:lnTo>
                      <a:lnTo>
                        <a:pt x="39" y="83"/>
                      </a:lnTo>
                      <a:lnTo>
                        <a:pt x="41" y="90"/>
                      </a:lnTo>
                      <a:lnTo>
                        <a:pt x="41" y="90"/>
                      </a:lnTo>
                      <a:lnTo>
                        <a:pt x="45" y="96"/>
                      </a:lnTo>
                      <a:lnTo>
                        <a:pt x="46" y="103"/>
                      </a:lnTo>
                      <a:lnTo>
                        <a:pt x="46" y="103"/>
                      </a:lnTo>
                      <a:lnTo>
                        <a:pt x="46" y="110"/>
                      </a:lnTo>
                      <a:lnTo>
                        <a:pt x="46" y="110"/>
                      </a:lnTo>
                      <a:lnTo>
                        <a:pt x="48" y="118"/>
                      </a:lnTo>
                      <a:lnTo>
                        <a:pt x="52" y="118"/>
                      </a:lnTo>
                      <a:lnTo>
                        <a:pt x="59" y="118"/>
                      </a:lnTo>
                      <a:lnTo>
                        <a:pt x="57" y="138"/>
                      </a:lnTo>
                      <a:lnTo>
                        <a:pt x="56" y="151"/>
                      </a:lnTo>
                      <a:lnTo>
                        <a:pt x="54" y="155"/>
                      </a:lnTo>
                      <a:lnTo>
                        <a:pt x="52" y="160"/>
                      </a:lnTo>
                      <a:lnTo>
                        <a:pt x="52" y="160"/>
                      </a:lnTo>
                      <a:lnTo>
                        <a:pt x="50" y="166"/>
                      </a:lnTo>
                      <a:lnTo>
                        <a:pt x="48" y="173"/>
                      </a:lnTo>
                      <a:lnTo>
                        <a:pt x="37" y="173"/>
                      </a:lnTo>
                      <a:lnTo>
                        <a:pt x="28" y="173"/>
                      </a:lnTo>
                      <a:lnTo>
                        <a:pt x="19" y="175"/>
                      </a:lnTo>
                      <a:lnTo>
                        <a:pt x="9" y="175"/>
                      </a:lnTo>
                      <a:lnTo>
                        <a:pt x="8" y="179"/>
                      </a:lnTo>
                      <a:lnTo>
                        <a:pt x="4" y="184"/>
                      </a:lnTo>
                      <a:lnTo>
                        <a:pt x="4" y="188"/>
                      </a:lnTo>
                      <a:lnTo>
                        <a:pt x="2" y="190"/>
                      </a:lnTo>
                      <a:lnTo>
                        <a:pt x="2" y="193"/>
                      </a:lnTo>
                      <a:lnTo>
                        <a:pt x="2" y="197"/>
                      </a:lnTo>
                      <a:lnTo>
                        <a:pt x="2" y="201"/>
                      </a:lnTo>
                      <a:lnTo>
                        <a:pt x="4" y="206"/>
                      </a:lnTo>
                      <a:lnTo>
                        <a:pt x="8" y="210"/>
                      </a:lnTo>
                      <a:lnTo>
                        <a:pt x="11" y="212"/>
                      </a:lnTo>
                      <a:lnTo>
                        <a:pt x="17" y="214"/>
                      </a:lnTo>
                      <a:lnTo>
                        <a:pt x="21" y="214"/>
                      </a:lnTo>
                      <a:lnTo>
                        <a:pt x="24" y="214"/>
                      </a:lnTo>
                      <a:lnTo>
                        <a:pt x="26" y="214"/>
                      </a:lnTo>
                      <a:lnTo>
                        <a:pt x="30" y="214"/>
                      </a:lnTo>
                      <a:lnTo>
                        <a:pt x="33" y="214"/>
                      </a:lnTo>
                      <a:lnTo>
                        <a:pt x="39" y="212"/>
                      </a:lnTo>
                      <a:lnTo>
                        <a:pt x="46" y="210"/>
                      </a:lnTo>
                      <a:lnTo>
                        <a:pt x="46" y="210"/>
                      </a:lnTo>
                      <a:lnTo>
                        <a:pt x="50" y="210"/>
                      </a:lnTo>
                      <a:lnTo>
                        <a:pt x="54" y="210"/>
                      </a:lnTo>
                      <a:lnTo>
                        <a:pt x="54" y="210"/>
                      </a:lnTo>
                      <a:lnTo>
                        <a:pt x="57" y="210"/>
                      </a:lnTo>
                      <a:lnTo>
                        <a:pt x="61" y="210"/>
                      </a:lnTo>
                      <a:lnTo>
                        <a:pt x="63" y="223"/>
                      </a:lnTo>
                      <a:lnTo>
                        <a:pt x="63" y="223"/>
                      </a:lnTo>
                      <a:lnTo>
                        <a:pt x="65" y="234"/>
                      </a:lnTo>
                      <a:lnTo>
                        <a:pt x="67" y="245"/>
                      </a:lnTo>
                      <a:lnTo>
                        <a:pt x="67" y="245"/>
                      </a:lnTo>
                      <a:lnTo>
                        <a:pt x="68" y="256"/>
                      </a:lnTo>
                      <a:lnTo>
                        <a:pt x="61" y="265"/>
                      </a:lnTo>
                      <a:lnTo>
                        <a:pt x="54" y="273"/>
                      </a:lnTo>
                      <a:lnTo>
                        <a:pt x="46" y="282"/>
                      </a:lnTo>
                      <a:lnTo>
                        <a:pt x="37" y="289"/>
                      </a:lnTo>
                      <a:lnTo>
                        <a:pt x="33" y="293"/>
                      </a:lnTo>
                      <a:lnTo>
                        <a:pt x="33" y="293"/>
                      </a:lnTo>
                      <a:lnTo>
                        <a:pt x="28" y="297"/>
                      </a:lnTo>
                      <a:lnTo>
                        <a:pt x="24" y="299"/>
                      </a:lnTo>
                      <a:lnTo>
                        <a:pt x="24" y="299"/>
                      </a:lnTo>
                      <a:lnTo>
                        <a:pt x="19" y="302"/>
                      </a:lnTo>
                      <a:lnTo>
                        <a:pt x="15" y="304"/>
                      </a:lnTo>
                      <a:lnTo>
                        <a:pt x="15" y="304"/>
                      </a:lnTo>
                      <a:lnTo>
                        <a:pt x="9" y="308"/>
                      </a:lnTo>
                      <a:lnTo>
                        <a:pt x="4" y="310"/>
                      </a:lnTo>
                      <a:lnTo>
                        <a:pt x="0" y="310"/>
                      </a:lnTo>
                      <a:lnTo>
                        <a:pt x="17" y="323"/>
                      </a:lnTo>
                      <a:lnTo>
                        <a:pt x="35" y="336"/>
                      </a:lnTo>
                      <a:lnTo>
                        <a:pt x="54" y="348"/>
                      </a:lnTo>
                      <a:lnTo>
                        <a:pt x="70" y="361"/>
                      </a:lnTo>
                      <a:lnTo>
                        <a:pt x="89" y="374"/>
                      </a:lnTo>
                      <a:lnTo>
                        <a:pt x="107" y="387"/>
                      </a:lnTo>
                      <a:lnTo>
                        <a:pt x="126" y="398"/>
                      </a:lnTo>
                      <a:lnTo>
                        <a:pt x="144" y="411"/>
                      </a:lnTo>
                      <a:lnTo>
                        <a:pt x="161" y="424"/>
                      </a:lnTo>
                      <a:lnTo>
                        <a:pt x="179" y="437"/>
                      </a:lnTo>
                      <a:lnTo>
                        <a:pt x="198" y="450"/>
                      </a:lnTo>
                      <a:lnTo>
                        <a:pt x="216" y="463"/>
                      </a:lnTo>
                      <a:lnTo>
                        <a:pt x="233" y="476"/>
                      </a:lnTo>
                      <a:lnTo>
                        <a:pt x="251" y="489"/>
                      </a:lnTo>
                      <a:lnTo>
                        <a:pt x="270" y="502"/>
                      </a:lnTo>
                      <a:lnTo>
                        <a:pt x="288" y="515"/>
                      </a:lnTo>
                      <a:lnTo>
                        <a:pt x="297" y="518"/>
                      </a:lnTo>
                      <a:lnTo>
                        <a:pt x="308" y="520"/>
                      </a:lnTo>
                      <a:lnTo>
                        <a:pt x="319" y="524"/>
                      </a:lnTo>
                      <a:lnTo>
                        <a:pt x="329" y="526"/>
                      </a:lnTo>
                      <a:lnTo>
                        <a:pt x="329" y="526"/>
                      </a:lnTo>
                      <a:lnTo>
                        <a:pt x="329" y="529"/>
                      </a:lnTo>
                      <a:lnTo>
                        <a:pt x="329" y="533"/>
                      </a:lnTo>
                      <a:lnTo>
                        <a:pt x="329" y="535"/>
                      </a:lnTo>
                      <a:lnTo>
                        <a:pt x="331" y="535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2" y="537"/>
                      </a:lnTo>
                      <a:lnTo>
                        <a:pt x="334" y="537"/>
                      </a:lnTo>
                      <a:lnTo>
                        <a:pt x="332" y="526"/>
                      </a:lnTo>
                      <a:lnTo>
                        <a:pt x="332" y="509"/>
                      </a:lnTo>
                      <a:lnTo>
                        <a:pt x="331" y="489"/>
                      </a:lnTo>
                      <a:lnTo>
                        <a:pt x="329" y="468"/>
                      </a:lnTo>
                      <a:lnTo>
                        <a:pt x="327" y="459"/>
                      </a:lnTo>
                      <a:lnTo>
                        <a:pt x="325" y="450"/>
                      </a:lnTo>
                      <a:lnTo>
                        <a:pt x="323" y="441"/>
                      </a:lnTo>
                      <a:lnTo>
                        <a:pt x="321" y="433"/>
                      </a:lnTo>
                      <a:lnTo>
                        <a:pt x="319" y="430"/>
                      </a:lnTo>
                      <a:lnTo>
                        <a:pt x="318" y="426"/>
                      </a:lnTo>
                      <a:lnTo>
                        <a:pt x="316" y="422"/>
                      </a:lnTo>
                      <a:lnTo>
                        <a:pt x="314" y="420"/>
                      </a:lnTo>
                      <a:lnTo>
                        <a:pt x="312" y="419"/>
                      </a:lnTo>
                      <a:lnTo>
                        <a:pt x="312" y="417"/>
                      </a:lnTo>
                      <a:lnTo>
                        <a:pt x="308" y="415"/>
                      </a:lnTo>
                      <a:lnTo>
                        <a:pt x="308" y="415"/>
                      </a:lnTo>
                      <a:lnTo>
                        <a:pt x="307" y="413"/>
                      </a:lnTo>
                      <a:lnTo>
                        <a:pt x="307" y="413"/>
                      </a:lnTo>
                      <a:lnTo>
                        <a:pt x="307" y="409"/>
                      </a:lnTo>
                      <a:lnTo>
                        <a:pt x="305" y="407"/>
                      </a:lnTo>
                      <a:lnTo>
                        <a:pt x="305" y="407"/>
                      </a:lnTo>
                      <a:lnTo>
                        <a:pt x="303" y="404"/>
                      </a:lnTo>
                      <a:lnTo>
                        <a:pt x="301" y="402"/>
                      </a:lnTo>
                      <a:lnTo>
                        <a:pt x="297" y="396"/>
                      </a:lnTo>
                      <a:lnTo>
                        <a:pt x="294" y="391"/>
                      </a:lnTo>
                      <a:lnTo>
                        <a:pt x="292" y="387"/>
                      </a:lnTo>
                      <a:lnTo>
                        <a:pt x="292" y="387"/>
                      </a:lnTo>
                      <a:lnTo>
                        <a:pt x="288" y="383"/>
                      </a:lnTo>
                      <a:lnTo>
                        <a:pt x="284" y="380"/>
                      </a:lnTo>
                      <a:lnTo>
                        <a:pt x="284" y="380"/>
                      </a:lnTo>
                      <a:lnTo>
                        <a:pt x="284" y="376"/>
                      </a:lnTo>
                      <a:lnTo>
                        <a:pt x="279" y="376"/>
                      </a:lnTo>
                      <a:lnTo>
                        <a:pt x="273" y="376"/>
                      </a:lnTo>
                      <a:lnTo>
                        <a:pt x="272" y="363"/>
                      </a:lnTo>
                      <a:lnTo>
                        <a:pt x="272" y="354"/>
                      </a:lnTo>
                      <a:lnTo>
                        <a:pt x="272" y="345"/>
                      </a:lnTo>
                      <a:lnTo>
                        <a:pt x="272" y="337"/>
                      </a:lnTo>
                      <a:lnTo>
                        <a:pt x="273" y="330"/>
                      </a:lnTo>
                      <a:lnTo>
                        <a:pt x="273" y="323"/>
                      </a:lnTo>
                      <a:lnTo>
                        <a:pt x="273" y="317"/>
                      </a:lnTo>
                      <a:lnTo>
                        <a:pt x="273" y="312"/>
                      </a:lnTo>
                      <a:lnTo>
                        <a:pt x="273" y="312"/>
                      </a:lnTo>
                      <a:lnTo>
                        <a:pt x="279" y="310"/>
                      </a:lnTo>
                      <a:lnTo>
                        <a:pt x="284" y="308"/>
                      </a:lnTo>
                      <a:lnTo>
                        <a:pt x="288" y="304"/>
                      </a:lnTo>
                      <a:lnTo>
                        <a:pt x="294" y="302"/>
                      </a:lnTo>
                      <a:lnTo>
                        <a:pt x="294" y="297"/>
                      </a:lnTo>
                      <a:lnTo>
                        <a:pt x="294" y="293"/>
                      </a:lnTo>
                      <a:lnTo>
                        <a:pt x="288" y="291"/>
                      </a:lnTo>
                      <a:lnTo>
                        <a:pt x="283" y="289"/>
                      </a:lnTo>
                      <a:lnTo>
                        <a:pt x="283" y="289"/>
                      </a:lnTo>
                      <a:lnTo>
                        <a:pt x="279" y="288"/>
                      </a:lnTo>
                      <a:lnTo>
                        <a:pt x="273" y="286"/>
                      </a:lnTo>
                      <a:lnTo>
                        <a:pt x="270" y="284"/>
                      </a:lnTo>
                      <a:lnTo>
                        <a:pt x="266" y="282"/>
                      </a:lnTo>
                      <a:lnTo>
                        <a:pt x="262" y="280"/>
                      </a:lnTo>
                      <a:lnTo>
                        <a:pt x="262" y="280"/>
                      </a:lnTo>
                      <a:lnTo>
                        <a:pt x="259" y="276"/>
                      </a:lnTo>
                      <a:lnTo>
                        <a:pt x="259" y="276"/>
                      </a:lnTo>
                      <a:lnTo>
                        <a:pt x="255" y="275"/>
                      </a:lnTo>
                      <a:lnTo>
                        <a:pt x="251" y="273"/>
                      </a:lnTo>
                      <a:lnTo>
                        <a:pt x="251" y="273"/>
                      </a:lnTo>
                      <a:lnTo>
                        <a:pt x="249" y="269"/>
                      </a:lnTo>
                      <a:lnTo>
                        <a:pt x="248" y="267"/>
                      </a:lnTo>
                      <a:lnTo>
                        <a:pt x="246" y="264"/>
                      </a:lnTo>
                      <a:lnTo>
                        <a:pt x="246" y="264"/>
                      </a:lnTo>
                      <a:lnTo>
                        <a:pt x="244" y="260"/>
                      </a:lnTo>
                      <a:lnTo>
                        <a:pt x="242" y="258"/>
                      </a:lnTo>
                      <a:lnTo>
                        <a:pt x="242" y="258"/>
                      </a:lnTo>
                      <a:lnTo>
                        <a:pt x="240" y="254"/>
                      </a:lnTo>
                      <a:lnTo>
                        <a:pt x="238" y="247"/>
                      </a:lnTo>
                      <a:lnTo>
                        <a:pt x="236" y="240"/>
                      </a:lnTo>
                      <a:lnTo>
                        <a:pt x="236" y="240"/>
                      </a:lnTo>
                      <a:lnTo>
                        <a:pt x="235" y="232"/>
                      </a:lnTo>
                      <a:lnTo>
                        <a:pt x="235" y="223"/>
                      </a:lnTo>
                      <a:lnTo>
                        <a:pt x="233" y="204"/>
                      </a:lnTo>
                      <a:lnTo>
                        <a:pt x="233" y="182"/>
                      </a:lnTo>
                      <a:lnTo>
                        <a:pt x="235" y="182"/>
                      </a:lnTo>
                      <a:lnTo>
                        <a:pt x="238" y="182"/>
                      </a:lnTo>
                      <a:lnTo>
                        <a:pt x="242" y="182"/>
                      </a:lnTo>
                      <a:lnTo>
                        <a:pt x="246" y="182"/>
                      </a:lnTo>
                      <a:lnTo>
                        <a:pt x="249" y="182"/>
                      </a:lnTo>
                      <a:lnTo>
                        <a:pt x="249" y="179"/>
                      </a:lnTo>
                      <a:lnTo>
                        <a:pt x="249" y="171"/>
                      </a:lnTo>
                      <a:lnTo>
                        <a:pt x="249" y="171"/>
                      </a:lnTo>
                      <a:lnTo>
                        <a:pt x="255" y="171"/>
                      </a:lnTo>
                      <a:lnTo>
                        <a:pt x="260" y="171"/>
                      </a:lnTo>
                      <a:lnTo>
                        <a:pt x="259" y="164"/>
                      </a:lnTo>
                      <a:lnTo>
                        <a:pt x="257" y="158"/>
                      </a:lnTo>
                      <a:lnTo>
                        <a:pt x="255" y="153"/>
                      </a:lnTo>
                      <a:lnTo>
                        <a:pt x="253" y="149"/>
                      </a:lnTo>
                      <a:lnTo>
                        <a:pt x="251" y="145"/>
                      </a:lnTo>
                      <a:lnTo>
                        <a:pt x="249" y="144"/>
                      </a:lnTo>
                      <a:lnTo>
                        <a:pt x="246" y="140"/>
                      </a:lnTo>
                      <a:lnTo>
                        <a:pt x="244" y="138"/>
                      </a:lnTo>
                      <a:lnTo>
                        <a:pt x="235" y="136"/>
                      </a:lnTo>
                      <a:lnTo>
                        <a:pt x="225" y="134"/>
                      </a:lnTo>
                      <a:lnTo>
                        <a:pt x="220" y="133"/>
                      </a:lnTo>
                      <a:lnTo>
                        <a:pt x="214" y="131"/>
                      </a:lnTo>
                      <a:lnTo>
                        <a:pt x="207" y="127"/>
                      </a:lnTo>
                      <a:lnTo>
                        <a:pt x="200" y="123"/>
                      </a:lnTo>
                      <a:lnTo>
                        <a:pt x="200" y="123"/>
                      </a:lnTo>
                      <a:lnTo>
                        <a:pt x="198" y="118"/>
                      </a:lnTo>
                      <a:lnTo>
                        <a:pt x="196" y="114"/>
                      </a:lnTo>
                      <a:lnTo>
                        <a:pt x="194" y="109"/>
                      </a:lnTo>
                      <a:lnTo>
                        <a:pt x="194" y="109"/>
                      </a:lnTo>
                      <a:lnTo>
                        <a:pt x="192" y="105"/>
                      </a:lnTo>
                      <a:lnTo>
                        <a:pt x="187" y="97"/>
                      </a:lnTo>
                      <a:lnTo>
                        <a:pt x="181" y="90"/>
                      </a:lnTo>
                      <a:lnTo>
                        <a:pt x="177" y="85"/>
                      </a:lnTo>
                      <a:lnTo>
                        <a:pt x="176" y="81"/>
                      </a:lnTo>
                      <a:lnTo>
                        <a:pt x="174" y="77"/>
                      </a:lnTo>
                      <a:lnTo>
                        <a:pt x="174" y="77"/>
                      </a:lnTo>
                      <a:lnTo>
                        <a:pt x="172" y="73"/>
                      </a:lnTo>
                      <a:lnTo>
                        <a:pt x="170" y="68"/>
                      </a:lnTo>
                      <a:lnTo>
                        <a:pt x="170" y="68"/>
                      </a:lnTo>
                      <a:lnTo>
                        <a:pt x="168" y="62"/>
                      </a:lnTo>
                      <a:lnTo>
                        <a:pt x="166" y="57"/>
                      </a:lnTo>
                      <a:lnTo>
                        <a:pt x="166" y="57"/>
                      </a:lnTo>
                      <a:lnTo>
                        <a:pt x="166" y="51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3" y="49"/>
                      </a:lnTo>
                      <a:lnTo>
                        <a:pt x="163" y="49"/>
                      </a:lnTo>
                      <a:lnTo>
                        <a:pt x="161" y="49"/>
                      </a:lnTo>
                      <a:lnTo>
                        <a:pt x="161" y="49"/>
                      </a:lnTo>
                      <a:lnTo>
                        <a:pt x="161" y="48"/>
                      </a:lnTo>
                      <a:lnTo>
                        <a:pt x="161" y="48"/>
                      </a:lnTo>
                      <a:lnTo>
                        <a:pt x="159" y="42"/>
                      </a:lnTo>
                      <a:lnTo>
                        <a:pt x="155" y="31"/>
                      </a:lnTo>
                      <a:lnTo>
                        <a:pt x="157" y="31"/>
                      </a:lnTo>
                      <a:lnTo>
                        <a:pt x="163" y="31"/>
                      </a:lnTo>
                      <a:lnTo>
                        <a:pt x="168" y="31"/>
                      </a:lnTo>
                      <a:lnTo>
                        <a:pt x="168" y="31"/>
                      </a:lnTo>
                      <a:lnTo>
                        <a:pt x="168" y="35"/>
                      </a:lnTo>
                      <a:lnTo>
                        <a:pt x="168" y="38"/>
                      </a:lnTo>
                      <a:lnTo>
                        <a:pt x="168" y="40"/>
                      </a:lnTo>
                      <a:lnTo>
                        <a:pt x="168" y="44"/>
                      </a:lnTo>
                      <a:lnTo>
                        <a:pt x="168" y="46"/>
                      </a:lnTo>
                      <a:lnTo>
                        <a:pt x="170" y="48"/>
                      </a:lnTo>
                      <a:lnTo>
                        <a:pt x="176" y="48"/>
                      </a:lnTo>
                      <a:lnTo>
                        <a:pt x="183" y="48"/>
                      </a:lnTo>
                      <a:lnTo>
                        <a:pt x="183" y="48"/>
                      </a:lnTo>
                      <a:lnTo>
                        <a:pt x="188" y="48"/>
                      </a:lnTo>
                      <a:lnTo>
                        <a:pt x="196" y="48"/>
                      </a:lnTo>
                      <a:lnTo>
                        <a:pt x="194" y="42"/>
                      </a:lnTo>
                      <a:lnTo>
                        <a:pt x="194" y="37"/>
                      </a:lnTo>
                      <a:lnTo>
                        <a:pt x="194" y="31"/>
                      </a:lnTo>
                      <a:lnTo>
                        <a:pt x="194" y="25"/>
                      </a:lnTo>
                      <a:lnTo>
                        <a:pt x="181" y="20"/>
                      </a:lnTo>
                      <a:lnTo>
                        <a:pt x="172" y="16"/>
                      </a:lnTo>
                      <a:lnTo>
                        <a:pt x="168" y="14"/>
                      </a:lnTo>
                      <a:lnTo>
                        <a:pt x="168" y="14"/>
                      </a:lnTo>
                      <a:lnTo>
                        <a:pt x="166" y="11"/>
                      </a:lnTo>
                      <a:lnTo>
                        <a:pt x="163" y="9"/>
                      </a:lnTo>
                      <a:lnTo>
                        <a:pt x="163" y="9"/>
                      </a:lnTo>
                      <a:lnTo>
                        <a:pt x="159" y="5"/>
                      </a:lnTo>
                      <a:lnTo>
                        <a:pt x="157" y="7"/>
                      </a:lnTo>
                      <a:lnTo>
                        <a:pt x="155" y="11"/>
                      </a:lnTo>
                      <a:lnTo>
                        <a:pt x="153" y="13"/>
                      </a:lnTo>
                      <a:lnTo>
                        <a:pt x="152" y="16"/>
                      </a:lnTo>
                      <a:lnTo>
                        <a:pt x="152" y="16"/>
                      </a:lnTo>
                      <a:lnTo>
                        <a:pt x="148" y="16"/>
                      </a:lnTo>
                      <a:lnTo>
                        <a:pt x="144" y="16"/>
                      </a:lnTo>
                      <a:lnTo>
                        <a:pt x="140" y="16"/>
                      </a:lnTo>
                      <a:lnTo>
                        <a:pt x="140" y="16"/>
                      </a:lnTo>
                      <a:lnTo>
                        <a:pt x="137" y="16"/>
                      </a:lnTo>
                      <a:lnTo>
                        <a:pt x="137" y="16"/>
                      </a:lnTo>
                      <a:lnTo>
                        <a:pt x="131" y="14"/>
                      </a:lnTo>
                      <a:lnTo>
                        <a:pt x="131" y="14"/>
                      </a:lnTo>
                      <a:lnTo>
                        <a:pt x="126" y="11"/>
                      </a:lnTo>
                      <a:lnTo>
                        <a:pt x="120" y="9"/>
                      </a:lnTo>
                      <a:lnTo>
                        <a:pt x="115" y="5"/>
                      </a:lnTo>
                      <a:lnTo>
                        <a:pt x="109" y="1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5" name="Freeform 3180"/>
                <p:cNvSpPr>
                  <a:spLocks/>
                </p:cNvSpPr>
                <p:nvPr/>
              </p:nvSpPr>
              <p:spPr bwMode="auto">
                <a:xfrm>
                  <a:off x="5681" y="2781"/>
                  <a:ext cx="3" cy="4"/>
                </a:xfrm>
                <a:custGeom>
                  <a:avLst/>
                  <a:gdLst>
                    <a:gd name="T0" fmla="*/ 3 w 3"/>
                    <a:gd name="T1" fmla="*/ 0 h 4"/>
                    <a:gd name="T2" fmla="*/ 0 w 3"/>
                    <a:gd name="T3" fmla="*/ 0 h 4"/>
                    <a:gd name="T4" fmla="*/ 0 w 3"/>
                    <a:gd name="T5" fmla="*/ 0 h 4"/>
                    <a:gd name="T6" fmla="*/ 0 w 3"/>
                    <a:gd name="T7" fmla="*/ 2 h 4"/>
                    <a:gd name="T8" fmla="*/ 0 w 3"/>
                    <a:gd name="T9" fmla="*/ 4 h 4"/>
                    <a:gd name="T10" fmla="*/ 1 w 3"/>
                    <a:gd name="T11" fmla="*/ 4 h 4"/>
                    <a:gd name="T12" fmla="*/ 3 w 3"/>
                    <a:gd name="T13" fmla="*/ 4 h 4"/>
                    <a:gd name="T14" fmla="*/ 3 w 3"/>
                    <a:gd name="T15" fmla="*/ 2 h 4"/>
                    <a:gd name="T16" fmla="*/ 3 w 3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6" name="Freeform 3181"/>
                <p:cNvSpPr>
                  <a:spLocks/>
                </p:cNvSpPr>
                <p:nvPr/>
              </p:nvSpPr>
              <p:spPr bwMode="auto">
                <a:xfrm>
                  <a:off x="5684" y="2770"/>
                  <a:ext cx="6" cy="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0 h 4"/>
                    <a:gd name="T4" fmla="*/ 0 w 6"/>
                    <a:gd name="T5" fmla="*/ 0 h 4"/>
                    <a:gd name="T6" fmla="*/ 0 w 6"/>
                    <a:gd name="T7" fmla="*/ 2 h 4"/>
                    <a:gd name="T8" fmla="*/ 0 w 6"/>
                    <a:gd name="T9" fmla="*/ 4 h 4"/>
                    <a:gd name="T10" fmla="*/ 4 w 6"/>
                    <a:gd name="T11" fmla="*/ 4 h 4"/>
                    <a:gd name="T12" fmla="*/ 6 w 6"/>
                    <a:gd name="T13" fmla="*/ 4 h 4"/>
                    <a:gd name="T14" fmla="*/ 6 w 6"/>
                    <a:gd name="T15" fmla="*/ 2 h 4"/>
                    <a:gd name="T16" fmla="*/ 6 w 6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7" name="Freeform 3182"/>
                <p:cNvSpPr>
                  <a:spLocks/>
                </p:cNvSpPr>
                <p:nvPr/>
              </p:nvSpPr>
              <p:spPr bwMode="auto">
                <a:xfrm>
                  <a:off x="5695" y="2720"/>
                  <a:ext cx="15" cy="20"/>
                </a:xfrm>
                <a:custGeom>
                  <a:avLst/>
                  <a:gdLst>
                    <a:gd name="T0" fmla="*/ 15 w 15"/>
                    <a:gd name="T1" fmla="*/ 0 h 20"/>
                    <a:gd name="T2" fmla="*/ 11 w 15"/>
                    <a:gd name="T3" fmla="*/ 0 h 20"/>
                    <a:gd name="T4" fmla="*/ 6 w 15"/>
                    <a:gd name="T5" fmla="*/ 0 h 20"/>
                    <a:gd name="T6" fmla="*/ 4 w 15"/>
                    <a:gd name="T7" fmla="*/ 6 h 20"/>
                    <a:gd name="T8" fmla="*/ 4 w 15"/>
                    <a:gd name="T9" fmla="*/ 11 h 20"/>
                    <a:gd name="T10" fmla="*/ 2 w 15"/>
                    <a:gd name="T11" fmla="*/ 17 h 20"/>
                    <a:gd name="T12" fmla="*/ 2 w 15"/>
                    <a:gd name="T13" fmla="*/ 17 h 20"/>
                    <a:gd name="T14" fmla="*/ 0 w 15"/>
                    <a:gd name="T15" fmla="*/ 20 h 20"/>
                    <a:gd name="T16" fmla="*/ 6 w 15"/>
                    <a:gd name="T17" fmla="*/ 20 h 20"/>
                    <a:gd name="T18" fmla="*/ 11 w 15"/>
                    <a:gd name="T19" fmla="*/ 20 h 20"/>
                    <a:gd name="T20" fmla="*/ 11 w 15"/>
                    <a:gd name="T21" fmla="*/ 17 h 20"/>
                    <a:gd name="T22" fmla="*/ 13 w 15"/>
                    <a:gd name="T23" fmla="*/ 11 h 20"/>
                    <a:gd name="T24" fmla="*/ 13 w 15"/>
                    <a:gd name="T25" fmla="*/ 6 h 20"/>
                    <a:gd name="T26" fmla="*/ 15 w 15"/>
                    <a:gd name="T2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" h="20">
                      <a:moveTo>
                        <a:pt x="15" y="0"/>
                      </a:move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4" y="6"/>
                      </a:lnTo>
                      <a:lnTo>
                        <a:pt x="4" y="11"/>
                      </a:lnTo>
                      <a:lnTo>
                        <a:pt x="2" y="17"/>
                      </a:lnTo>
                      <a:lnTo>
                        <a:pt x="2" y="17"/>
                      </a:lnTo>
                      <a:lnTo>
                        <a:pt x="0" y="20"/>
                      </a:lnTo>
                      <a:lnTo>
                        <a:pt x="6" y="20"/>
                      </a:lnTo>
                      <a:lnTo>
                        <a:pt x="11" y="20"/>
                      </a:lnTo>
                      <a:lnTo>
                        <a:pt x="11" y="17"/>
                      </a:lnTo>
                      <a:lnTo>
                        <a:pt x="13" y="11"/>
                      </a:lnTo>
                      <a:lnTo>
                        <a:pt x="13" y="6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8" name="Freeform 3183"/>
                <p:cNvSpPr>
                  <a:spLocks/>
                </p:cNvSpPr>
                <p:nvPr/>
              </p:nvSpPr>
              <p:spPr bwMode="auto">
                <a:xfrm>
                  <a:off x="5636" y="2707"/>
                  <a:ext cx="22" cy="76"/>
                </a:xfrm>
                <a:custGeom>
                  <a:avLst/>
                  <a:gdLst>
                    <a:gd name="T0" fmla="*/ 21 w 22"/>
                    <a:gd name="T1" fmla="*/ 0 h 76"/>
                    <a:gd name="T2" fmla="*/ 19 w 22"/>
                    <a:gd name="T3" fmla="*/ 2 h 76"/>
                    <a:gd name="T4" fmla="*/ 19 w 22"/>
                    <a:gd name="T5" fmla="*/ 2 h 76"/>
                    <a:gd name="T6" fmla="*/ 19 w 22"/>
                    <a:gd name="T7" fmla="*/ 4 h 76"/>
                    <a:gd name="T8" fmla="*/ 19 w 22"/>
                    <a:gd name="T9" fmla="*/ 4 h 76"/>
                    <a:gd name="T10" fmla="*/ 13 w 22"/>
                    <a:gd name="T11" fmla="*/ 4 h 76"/>
                    <a:gd name="T12" fmla="*/ 10 w 22"/>
                    <a:gd name="T13" fmla="*/ 4 h 76"/>
                    <a:gd name="T14" fmla="*/ 4 w 22"/>
                    <a:gd name="T15" fmla="*/ 6 h 76"/>
                    <a:gd name="T16" fmla="*/ 0 w 22"/>
                    <a:gd name="T17" fmla="*/ 6 h 76"/>
                    <a:gd name="T18" fmla="*/ 2 w 22"/>
                    <a:gd name="T19" fmla="*/ 15 h 76"/>
                    <a:gd name="T20" fmla="*/ 2 w 22"/>
                    <a:gd name="T21" fmla="*/ 24 h 76"/>
                    <a:gd name="T22" fmla="*/ 4 w 22"/>
                    <a:gd name="T23" fmla="*/ 33 h 76"/>
                    <a:gd name="T24" fmla="*/ 4 w 22"/>
                    <a:gd name="T25" fmla="*/ 43 h 76"/>
                    <a:gd name="T26" fmla="*/ 6 w 22"/>
                    <a:gd name="T27" fmla="*/ 52 h 76"/>
                    <a:gd name="T28" fmla="*/ 6 w 22"/>
                    <a:gd name="T29" fmla="*/ 61 h 76"/>
                    <a:gd name="T30" fmla="*/ 8 w 22"/>
                    <a:gd name="T31" fmla="*/ 70 h 76"/>
                    <a:gd name="T32" fmla="*/ 8 w 22"/>
                    <a:gd name="T33" fmla="*/ 76 h 76"/>
                    <a:gd name="T34" fmla="*/ 8 w 22"/>
                    <a:gd name="T35" fmla="*/ 74 h 76"/>
                    <a:gd name="T36" fmla="*/ 10 w 22"/>
                    <a:gd name="T37" fmla="*/ 72 h 76"/>
                    <a:gd name="T38" fmla="*/ 10 w 22"/>
                    <a:gd name="T39" fmla="*/ 69 h 76"/>
                    <a:gd name="T40" fmla="*/ 11 w 22"/>
                    <a:gd name="T41" fmla="*/ 59 h 76"/>
                    <a:gd name="T42" fmla="*/ 11 w 22"/>
                    <a:gd name="T43" fmla="*/ 50 h 76"/>
                    <a:gd name="T44" fmla="*/ 13 w 22"/>
                    <a:gd name="T45" fmla="*/ 39 h 76"/>
                    <a:gd name="T46" fmla="*/ 15 w 22"/>
                    <a:gd name="T47" fmla="*/ 28 h 76"/>
                    <a:gd name="T48" fmla="*/ 17 w 22"/>
                    <a:gd name="T49" fmla="*/ 15 h 76"/>
                    <a:gd name="T50" fmla="*/ 21 w 22"/>
                    <a:gd name="T51" fmla="*/ 4 h 76"/>
                    <a:gd name="T52" fmla="*/ 21 w 22"/>
                    <a:gd name="T53" fmla="*/ 4 h 76"/>
                    <a:gd name="T54" fmla="*/ 21 w 22"/>
                    <a:gd name="T55" fmla="*/ 2 h 76"/>
                    <a:gd name="T56" fmla="*/ 21 w 22"/>
                    <a:gd name="T57" fmla="*/ 2 h 76"/>
                    <a:gd name="T58" fmla="*/ 22 w 22"/>
                    <a:gd name="T59" fmla="*/ 2 h 76"/>
                    <a:gd name="T60" fmla="*/ 21 w 22"/>
                    <a:gd name="T61" fmla="*/ 2 h 76"/>
                    <a:gd name="T62" fmla="*/ 21 w 22"/>
                    <a:gd name="T63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2" h="76">
                      <a:moveTo>
                        <a:pt x="21" y="0"/>
                      </a:moveTo>
                      <a:lnTo>
                        <a:pt x="19" y="2"/>
                      </a:lnTo>
                      <a:lnTo>
                        <a:pt x="19" y="2"/>
                      </a:lnTo>
                      <a:lnTo>
                        <a:pt x="19" y="4"/>
                      </a:lnTo>
                      <a:lnTo>
                        <a:pt x="19" y="4"/>
                      </a:lnTo>
                      <a:lnTo>
                        <a:pt x="13" y="4"/>
                      </a:lnTo>
                      <a:lnTo>
                        <a:pt x="10" y="4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2" y="15"/>
                      </a:lnTo>
                      <a:lnTo>
                        <a:pt x="2" y="24"/>
                      </a:lnTo>
                      <a:lnTo>
                        <a:pt x="4" y="33"/>
                      </a:lnTo>
                      <a:lnTo>
                        <a:pt x="4" y="43"/>
                      </a:lnTo>
                      <a:lnTo>
                        <a:pt x="6" y="52"/>
                      </a:lnTo>
                      <a:lnTo>
                        <a:pt x="6" y="61"/>
                      </a:lnTo>
                      <a:lnTo>
                        <a:pt x="8" y="70"/>
                      </a:lnTo>
                      <a:lnTo>
                        <a:pt x="8" y="76"/>
                      </a:lnTo>
                      <a:lnTo>
                        <a:pt x="8" y="74"/>
                      </a:lnTo>
                      <a:lnTo>
                        <a:pt x="10" y="72"/>
                      </a:lnTo>
                      <a:lnTo>
                        <a:pt x="10" y="69"/>
                      </a:lnTo>
                      <a:lnTo>
                        <a:pt x="11" y="59"/>
                      </a:lnTo>
                      <a:lnTo>
                        <a:pt x="11" y="50"/>
                      </a:lnTo>
                      <a:lnTo>
                        <a:pt x="13" y="39"/>
                      </a:lnTo>
                      <a:lnTo>
                        <a:pt x="15" y="28"/>
                      </a:lnTo>
                      <a:lnTo>
                        <a:pt x="17" y="15"/>
                      </a:lnTo>
                      <a:lnTo>
                        <a:pt x="21" y="4"/>
                      </a:lnTo>
                      <a:lnTo>
                        <a:pt x="21" y="4"/>
                      </a:lnTo>
                      <a:lnTo>
                        <a:pt x="21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1" y="2"/>
                      </a:lnTo>
                      <a:lnTo>
                        <a:pt x="2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69" name="Freeform 3184"/>
                <p:cNvSpPr>
                  <a:spLocks/>
                </p:cNvSpPr>
                <p:nvPr/>
              </p:nvSpPr>
              <p:spPr bwMode="auto">
                <a:xfrm>
                  <a:off x="5668" y="2558"/>
                  <a:ext cx="42" cy="129"/>
                </a:xfrm>
                <a:custGeom>
                  <a:avLst/>
                  <a:gdLst>
                    <a:gd name="T0" fmla="*/ 38 w 42"/>
                    <a:gd name="T1" fmla="*/ 0 h 129"/>
                    <a:gd name="T2" fmla="*/ 31 w 42"/>
                    <a:gd name="T3" fmla="*/ 0 h 129"/>
                    <a:gd name="T4" fmla="*/ 27 w 42"/>
                    <a:gd name="T5" fmla="*/ 3 h 129"/>
                    <a:gd name="T6" fmla="*/ 29 w 42"/>
                    <a:gd name="T7" fmla="*/ 7 h 129"/>
                    <a:gd name="T8" fmla="*/ 29 w 42"/>
                    <a:gd name="T9" fmla="*/ 13 h 129"/>
                    <a:gd name="T10" fmla="*/ 27 w 42"/>
                    <a:gd name="T11" fmla="*/ 16 h 129"/>
                    <a:gd name="T12" fmla="*/ 26 w 42"/>
                    <a:gd name="T13" fmla="*/ 26 h 129"/>
                    <a:gd name="T14" fmla="*/ 22 w 42"/>
                    <a:gd name="T15" fmla="*/ 33 h 129"/>
                    <a:gd name="T16" fmla="*/ 9 w 42"/>
                    <a:gd name="T17" fmla="*/ 35 h 129"/>
                    <a:gd name="T18" fmla="*/ 0 w 42"/>
                    <a:gd name="T19" fmla="*/ 37 h 129"/>
                    <a:gd name="T20" fmla="*/ 0 w 42"/>
                    <a:gd name="T21" fmla="*/ 37 h 129"/>
                    <a:gd name="T22" fmla="*/ 7 w 42"/>
                    <a:gd name="T23" fmla="*/ 40 h 129"/>
                    <a:gd name="T24" fmla="*/ 11 w 42"/>
                    <a:gd name="T25" fmla="*/ 42 h 129"/>
                    <a:gd name="T26" fmla="*/ 11 w 42"/>
                    <a:gd name="T27" fmla="*/ 50 h 129"/>
                    <a:gd name="T28" fmla="*/ 11 w 42"/>
                    <a:gd name="T29" fmla="*/ 59 h 129"/>
                    <a:gd name="T30" fmla="*/ 5 w 42"/>
                    <a:gd name="T31" fmla="*/ 61 h 129"/>
                    <a:gd name="T32" fmla="*/ 3 w 42"/>
                    <a:gd name="T33" fmla="*/ 72 h 129"/>
                    <a:gd name="T34" fmla="*/ 3 w 42"/>
                    <a:gd name="T35" fmla="*/ 81 h 129"/>
                    <a:gd name="T36" fmla="*/ 5 w 42"/>
                    <a:gd name="T37" fmla="*/ 96 h 129"/>
                    <a:gd name="T38" fmla="*/ 5 w 42"/>
                    <a:gd name="T39" fmla="*/ 103 h 129"/>
                    <a:gd name="T40" fmla="*/ 3 w 42"/>
                    <a:gd name="T41" fmla="*/ 120 h 129"/>
                    <a:gd name="T42" fmla="*/ 5 w 42"/>
                    <a:gd name="T43" fmla="*/ 129 h 129"/>
                    <a:gd name="T44" fmla="*/ 11 w 42"/>
                    <a:gd name="T45" fmla="*/ 122 h 129"/>
                    <a:gd name="T46" fmla="*/ 9 w 42"/>
                    <a:gd name="T47" fmla="*/ 107 h 129"/>
                    <a:gd name="T48" fmla="*/ 11 w 42"/>
                    <a:gd name="T49" fmla="*/ 90 h 129"/>
                    <a:gd name="T50" fmla="*/ 11 w 42"/>
                    <a:gd name="T51" fmla="*/ 75 h 129"/>
                    <a:gd name="T52" fmla="*/ 11 w 42"/>
                    <a:gd name="T53" fmla="*/ 68 h 129"/>
                    <a:gd name="T54" fmla="*/ 18 w 42"/>
                    <a:gd name="T55" fmla="*/ 63 h 129"/>
                    <a:gd name="T56" fmla="*/ 26 w 42"/>
                    <a:gd name="T57" fmla="*/ 55 h 129"/>
                    <a:gd name="T58" fmla="*/ 29 w 42"/>
                    <a:gd name="T59" fmla="*/ 46 h 129"/>
                    <a:gd name="T60" fmla="*/ 33 w 42"/>
                    <a:gd name="T61" fmla="*/ 39 h 129"/>
                    <a:gd name="T62" fmla="*/ 37 w 42"/>
                    <a:gd name="T63" fmla="*/ 18 h 129"/>
                    <a:gd name="T64" fmla="*/ 42 w 42"/>
                    <a:gd name="T65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2" h="129">
                      <a:moveTo>
                        <a:pt x="42" y="0"/>
                      </a:moveTo>
                      <a:lnTo>
                        <a:pt x="38" y="0"/>
                      </a:lnTo>
                      <a:lnTo>
                        <a:pt x="35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27" y="3"/>
                      </a:lnTo>
                      <a:lnTo>
                        <a:pt x="29" y="7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9" y="13"/>
                      </a:lnTo>
                      <a:lnTo>
                        <a:pt x="29" y="13"/>
                      </a:lnTo>
                      <a:lnTo>
                        <a:pt x="27" y="16"/>
                      </a:lnTo>
                      <a:lnTo>
                        <a:pt x="27" y="20"/>
                      </a:lnTo>
                      <a:lnTo>
                        <a:pt x="26" y="26"/>
                      </a:lnTo>
                      <a:lnTo>
                        <a:pt x="22" y="33"/>
                      </a:lnTo>
                      <a:lnTo>
                        <a:pt x="22" y="33"/>
                      </a:lnTo>
                      <a:lnTo>
                        <a:pt x="16" y="33"/>
                      </a:lnTo>
                      <a:lnTo>
                        <a:pt x="9" y="35"/>
                      </a:lnTo>
                      <a:lnTo>
                        <a:pt x="3" y="37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3" y="39"/>
                      </a:lnTo>
                      <a:lnTo>
                        <a:pt x="7" y="40"/>
                      </a:lnTo>
                      <a:lnTo>
                        <a:pt x="11" y="42"/>
                      </a:lnTo>
                      <a:lnTo>
                        <a:pt x="11" y="42"/>
                      </a:lnTo>
                      <a:lnTo>
                        <a:pt x="11" y="46"/>
                      </a:lnTo>
                      <a:lnTo>
                        <a:pt x="11" y="50"/>
                      </a:lnTo>
                      <a:lnTo>
                        <a:pt x="11" y="55"/>
                      </a:lnTo>
                      <a:lnTo>
                        <a:pt x="11" y="59"/>
                      </a:lnTo>
                      <a:lnTo>
                        <a:pt x="11" y="59"/>
                      </a:lnTo>
                      <a:lnTo>
                        <a:pt x="5" y="61"/>
                      </a:lnTo>
                      <a:lnTo>
                        <a:pt x="2" y="63"/>
                      </a:lnTo>
                      <a:lnTo>
                        <a:pt x="3" y="72"/>
                      </a:lnTo>
                      <a:lnTo>
                        <a:pt x="3" y="81"/>
                      </a:lnTo>
                      <a:lnTo>
                        <a:pt x="3" y="81"/>
                      </a:lnTo>
                      <a:lnTo>
                        <a:pt x="5" y="88"/>
                      </a:lnTo>
                      <a:lnTo>
                        <a:pt x="5" y="96"/>
                      </a:lnTo>
                      <a:lnTo>
                        <a:pt x="5" y="103"/>
                      </a:lnTo>
                      <a:lnTo>
                        <a:pt x="5" y="103"/>
                      </a:lnTo>
                      <a:lnTo>
                        <a:pt x="5" y="112"/>
                      </a:lnTo>
                      <a:lnTo>
                        <a:pt x="3" y="120"/>
                      </a:lnTo>
                      <a:lnTo>
                        <a:pt x="0" y="129"/>
                      </a:lnTo>
                      <a:lnTo>
                        <a:pt x="5" y="129"/>
                      </a:lnTo>
                      <a:lnTo>
                        <a:pt x="11" y="129"/>
                      </a:lnTo>
                      <a:lnTo>
                        <a:pt x="11" y="122"/>
                      </a:lnTo>
                      <a:lnTo>
                        <a:pt x="9" y="114"/>
                      </a:lnTo>
                      <a:lnTo>
                        <a:pt x="9" y="107"/>
                      </a:lnTo>
                      <a:lnTo>
                        <a:pt x="11" y="98"/>
                      </a:lnTo>
                      <a:lnTo>
                        <a:pt x="11" y="90"/>
                      </a:lnTo>
                      <a:lnTo>
                        <a:pt x="11" y="83"/>
                      </a:lnTo>
                      <a:lnTo>
                        <a:pt x="11" y="75"/>
                      </a:lnTo>
                      <a:lnTo>
                        <a:pt x="11" y="68"/>
                      </a:lnTo>
                      <a:lnTo>
                        <a:pt x="11" y="68"/>
                      </a:lnTo>
                      <a:lnTo>
                        <a:pt x="14" y="64"/>
                      </a:lnTo>
                      <a:lnTo>
                        <a:pt x="18" y="63"/>
                      </a:lnTo>
                      <a:lnTo>
                        <a:pt x="22" y="59"/>
                      </a:lnTo>
                      <a:lnTo>
                        <a:pt x="26" y="55"/>
                      </a:lnTo>
                      <a:lnTo>
                        <a:pt x="27" y="51"/>
                      </a:lnTo>
                      <a:lnTo>
                        <a:pt x="29" y="46"/>
                      </a:lnTo>
                      <a:lnTo>
                        <a:pt x="31" y="42"/>
                      </a:lnTo>
                      <a:lnTo>
                        <a:pt x="33" y="39"/>
                      </a:lnTo>
                      <a:lnTo>
                        <a:pt x="35" y="27"/>
                      </a:lnTo>
                      <a:lnTo>
                        <a:pt x="37" y="18"/>
                      </a:lnTo>
                      <a:lnTo>
                        <a:pt x="40" y="9"/>
                      </a:lnTo>
                      <a:lnTo>
                        <a:pt x="4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0" name="Freeform 3185"/>
                <p:cNvSpPr>
                  <a:spLocks/>
                </p:cNvSpPr>
                <p:nvPr/>
              </p:nvSpPr>
              <p:spPr bwMode="auto">
                <a:xfrm>
                  <a:off x="5721" y="2449"/>
                  <a:ext cx="17" cy="74"/>
                </a:xfrm>
                <a:custGeom>
                  <a:avLst/>
                  <a:gdLst>
                    <a:gd name="T0" fmla="*/ 17 w 17"/>
                    <a:gd name="T1" fmla="*/ 0 h 74"/>
                    <a:gd name="T2" fmla="*/ 15 w 17"/>
                    <a:gd name="T3" fmla="*/ 0 h 74"/>
                    <a:gd name="T4" fmla="*/ 11 w 17"/>
                    <a:gd name="T5" fmla="*/ 0 h 74"/>
                    <a:gd name="T6" fmla="*/ 8 w 17"/>
                    <a:gd name="T7" fmla="*/ 2 h 74"/>
                    <a:gd name="T8" fmla="*/ 6 w 17"/>
                    <a:gd name="T9" fmla="*/ 2 h 74"/>
                    <a:gd name="T10" fmla="*/ 4 w 17"/>
                    <a:gd name="T11" fmla="*/ 11 h 74"/>
                    <a:gd name="T12" fmla="*/ 4 w 17"/>
                    <a:gd name="T13" fmla="*/ 20 h 74"/>
                    <a:gd name="T14" fmla="*/ 4 w 17"/>
                    <a:gd name="T15" fmla="*/ 29 h 74"/>
                    <a:gd name="T16" fmla="*/ 2 w 17"/>
                    <a:gd name="T17" fmla="*/ 39 h 74"/>
                    <a:gd name="T18" fmla="*/ 2 w 17"/>
                    <a:gd name="T19" fmla="*/ 48 h 74"/>
                    <a:gd name="T20" fmla="*/ 2 w 17"/>
                    <a:gd name="T21" fmla="*/ 57 h 74"/>
                    <a:gd name="T22" fmla="*/ 2 w 17"/>
                    <a:gd name="T23" fmla="*/ 66 h 74"/>
                    <a:gd name="T24" fmla="*/ 0 w 17"/>
                    <a:gd name="T25" fmla="*/ 74 h 74"/>
                    <a:gd name="T26" fmla="*/ 4 w 17"/>
                    <a:gd name="T27" fmla="*/ 70 h 74"/>
                    <a:gd name="T28" fmla="*/ 4 w 17"/>
                    <a:gd name="T29" fmla="*/ 70 h 74"/>
                    <a:gd name="T30" fmla="*/ 8 w 17"/>
                    <a:gd name="T31" fmla="*/ 68 h 74"/>
                    <a:gd name="T32" fmla="*/ 9 w 17"/>
                    <a:gd name="T33" fmla="*/ 61 h 74"/>
                    <a:gd name="T34" fmla="*/ 9 w 17"/>
                    <a:gd name="T35" fmla="*/ 52 h 74"/>
                    <a:gd name="T36" fmla="*/ 11 w 17"/>
                    <a:gd name="T37" fmla="*/ 42 h 74"/>
                    <a:gd name="T38" fmla="*/ 11 w 17"/>
                    <a:gd name="T39" fmla="*/ 33 h 74"/>
                    <a:gd name="T40" fmla="*/ 13 w 17"/>
                    <a:gd name="T41" fmla="*/ 24 h 74"/>
                    <a:gd name="T42" fmla="*/ 13 w 17"/>
                    <a:gd name="T43" fmla="*/ 17 h 74"/>
                    <a:gd name="T44" fmla="*/ 15 w 17"/>
                    <a:gd name="T45" fmla="*/ 7 h 74"/>
                    <a:gd name="T46" fmla="*/ 17 w 17"/>
                    <a:gd name="T47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7" h="74">
                      <a:moveTo>
                        <a:pt x="17" y="0"/>
                      </a:move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4" y="11"/>
                      </a:lnTo>
                      <a:lnTo>
                        <a:pt x="4" y="20"/>
                      </a:lnTo>
                      <a:lnTo>
                        <a:pt x="4" y="29"/>
                      </a:lnTo>
                      <a:lnTo>
                        <a:pt x="2" y="39"/>
                      </a:lnTo>
                      <a:lnTo>
                        <a:pt x="2" y="48"/>
                      </a:lnTo>
                      <a:lnTo>
                        <a:pt x="2" y="57"/>
                      </a:lnTo>
                      <a:lnTo>
                        <a:pt x="2" y="66"/>
                      </a:lnTo>
                      <a:lnTo>
                        <a:pt x="0" y="74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8" y="68"/>
                      </a:lnTo>
                      <a:lnTo>
                        <a:pt x="9" y="61"/>
                      </a:lnTo>
                      <a:lnTo>
                        <a:pt x="9" y="52"/>
                      </a:lnTo>
                      <a:lnTo>
                        <a:pt x="11" y="42"/>
                      </a:lnTo>
                      <a:lnTo>
                        <a:pt x="11" y="33"/>
                      </a:lnTo>
                      <a:lnTo>
                        <a:pt x="13" y="24"/>
                      </a:lnTo>
                      <a:lnTo>
                        <a:pt x="13" y="17"/>
                      </a:lnTo>
                      <a:lnTo>
                        <a:pt x="15" y="7"/>
                      </a:lnTo>
                      <a:lnTo>
                        <a:pt x="1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1" name="Freeform 3186"/>
                <p:cNvSpPr>
                  <a:spLocks/>
                </p:cNvSpPr>
                <p:nvPr/>
              </p:nvSpPr>
              <p:spPr bwMode="auto">
                <a:xfrm>
                  <a:off x="5727" y="2410"/>
                  <a:ext cx="3" cy="4"/>
                </a:xfrm>
                <a:custGeom>
                  <a:avLst/>
                  <a:gdLst>
                    <a:gd name="T0" fmla="*/ 3 w 3"/>
                    <a:gd name="T1" fmla="*/ 0 h 4"/>
                    <a:gd name="T2" fmla="*/ 2 w 3"/>
                    <a:gd name="T3" fmla="*/ 0 h 4"/>
                    <a:gd name="T4" fmla="*/ 0 w 3"/>
                    <a:gd name="T5" fmla="*/ 0 h 4"/>
                    <a:gd name="T6" fmla="*/ 0 w 3"/>
                    <a:gd name="T7" fmla="*/ 2 h 4"/>
                    <a:gd name="T8" fmla="*/ 0 w 3"/>
                    <a:gd name="T9" fmla="*/ 4 h 4"/>
                    <a:gd name="T10" fmla="*/ 3 w 3"/>
                    <a:gd name="T11" fmla="*/ 4 h 4"/>
                    <a:gd name="T12" fmla="*/ 3 w 3"/>
                    <a:gd name="T13" fmla="*/ 4 h 4"/>
                    <a:gd name="T14" fmla="*/ 3 w 3"/>
                    <a:gd name="T15" fmla="*/ 2 h 4"/>
                    <a:gd name="T16" fmla="*/ 3 w 3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2" name="Freeform 3187"/>
                <p:cNvSpPr>
                  <a:spLocks/>
                </p:cNvSpPr>
                <p:nvPr/>
              </p:nvSpPr>
              <p:spPr bwMode="auto">
                <a:xfrm>
                  <a:off x="5754" y="2344"/>
                  <a:ext cx="4" cy="14"/>
                </a:xfrm>
                <a:custGeom>
                  <a:avLst/>
                  <a:gdLst>
                    <a:gd name="T0" fmla="*/ 4 w 4"/>
                    <a:gd name="T1" fmla="*/ 0 h 14"/>
                    <a:gd name="T2" fmla="*/ 2 w 4"/>
                    <a:gd name="T3" fmla="*/ 0 h 14"/>
                    <a:gd name="T4" fmla="*/ 0 w 4"/>
                    <a:gd name="T5" fmla="*/ 0 h 14"/>
                    <a:gd name="T6" fmla="*/ 0 w 4"/>
                    <a:gd name="T7" fmla="*/ 3 h 14"/>
                    <a:gd name="T8" fmla="*/ 0 w 4"/>
                    <a:gd name="T9" fmla="*/ 7 h 14"/>
                    <a:gd name="T10" fmla="*/ 0 w 4"/>
                    <a:gd name="T11" fmla="*/ 13 h 14"/>
                    <a:gd name="T12" fmla="*/ 0 w 4"/>
                    <a:gd name="T13" fmla="*/ 14 h 14"/>
                    <a:gd name="T14" fmla="*/ 2 w 4"/>
                    <a:gd name="T15" fmla="*/ 14 h 14"/>
                    <a:gd name="T16" fmla="*/ 4 w 4"/>
                    <a:gd name="T17" fmla="*/ 14 h 14"/>
                    <a:gd name="T18" fmla="*/ 4 w 4"/>
                    <a:gd name="T19" fmla="*/ 11 h 14"/>
                    <a:gd name="T20" fmla="*/ 4 w 4"/>
                    <a:gd name="T21" fmla="*/ 7 h 14"/>
                    <a:gd name="T22" fmla="*/ 4 w 4"/>
                    <a:gd name="T23" fmla="*/ 3 h 14"/>
                    <a:gd name="T24" fmla="*/ 4 w 4"/>
                    <a:gd name="T25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" h="1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4" y="14"/>
                      </a:lnTo>
                      <a:lnTo>
                        <a:pt x="4" y="11"/>
                      </a:lnTo>
                      <a:lnTo>
                        <a:pt x="4" y="7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3" name="Freeform 3188"/>
                <p:cNvSpPr>
                  <a:spLocks/>
                </p:cNvSpPr>
                <p:nvPr/>
              </p:nvSpPr>
              <p:spPr bwMode="auto">
                <a:xfrm>
                  <a:off x="5749" y="2322"/>
                  <a:ext cx="4" cy="9"/>
                </a:xfrm>
                <a:custGeom>
                  <a:avLst/>
                  <a:gdLst>
                    <a:gd name="T0" fmla="*/ 2 w 4"/>
                    <a:gd name="T1" fmla="*/ 0 h 9"/>
                    <a:gd name="T2" fmla="*/ 0 w 4"/>
                    <a:gd name="T3" fmla="*/ 0 h 9"/>
                    <a:gd name="T4" fmla="*/ 2 w 4"/>
                    <a:gd name="T5" fmla="*/ 5 h 9"/>
                    <a:gd name="T6" fmla="*/ 2 w 4"/>
                    <a:gd name="T7" fmla="*/ 9 h 9"/>
                    <a:gd name="T8" fmla="*/ 4 w 4"/>
                    <a:gd name="T9" fmla="*/ 9 h 9"/>
                    <a:gd name="T10" fmla="*/ 4 w 4"/>
                    <a:gd name="T11" fmla="*/ 9 h 9"/>
                    <a:gd name="T12" fmla="*/ 4 w 4"/>
                    <a:gd name="T13" fmla="*/ 7 h 9"/>
                    <a:gd name="T14" fmla="*/ 4 w 4"/>
                    <a:gd name="T15" fmla="*/ 5 h 9"/>
                    <a:gd name="T16" fmla="*/ 4 w 4"/>
                    <a:gd name="T17" fmla="*/ 3 h 9"/>
                    <a:gd name="T18" fmla="*/ 4 w 4"/>
                    <a:gd name="T19" fmla="*/ 3 h 9"/>
                    <a:gd name="T20" fmla="*/ 4 w 4"/>
                    <a:gd name="T21" fmla="*/ 1 h 9"/>
                    <a:gd name="T22" fmla="*/ 4 w 4"/>
                    <a:gd name="T23" fmla="*/ 1 h 9"/>
                    <a:gd name="T24" fmla="*/ 4 w 4"/>
                    <a:gd name="T25" fmla="*/ 1 h 9"/>
                    <a:gd name="T26" fmla="*/ 2 w 4"/>
                    <a:gd name="T27" fmla="*/ 1 h 9"/>
                    <a:gd name="T28" fmla="*/ 2 w 4"/>
                    <a:gd name="T29" fmla="*/ 1 h 9"/>
                    <a:gd name="T30" fmla="*/ 2 w 4"/>
                    <a:gd name="T31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9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4" name="Freeform 3189"/>
                <p:cNvSpPr>
                  <a:spLocks/>
                </p:cNvSpPr>
                <p:nvPr/>
              </p:nvSpPr>
              <p:spPr bwMode="auto">
                <a:xfrm>
                  <a:off x="5749" y="2301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5" name="Freeform 3190"/>
                <p:cNvSpPr>
                  <a:spLocks/>
                </p:cNvSpPr>
                <p:nvPr/>
              </p:nvSpPr>
              <p:spPr bwMode="auto">
                <a:xfrm>
                  <a:off x="5743" y="2257"/>
                  <a:ext cx="8" cy="9"/>
                </a:xfrm>
                <a:custGeom>
                  <a:avLst/>
                  <a:gdLst>
                    <a:gd name="T0" fmla="*/ 2 w 8"/>
                    <a:gd name="T1" fmla="*/ 0 h 9"/>
                    <a:gd name="T2" fmla="*/ 2 w 8"/>
                    <a:gd name="T3" fmla="*/ 6 h 9"/>
                    <a:gd name="T4" fmla="*/ 0 w 8"/>
                    <a:gd name="T5" fmla="*/ 9 h 9"/>
                    <a:gd name="T6" fmla="*/ 4 w 8"/>
                    <a:gd name="T7" fmla="*/ 7 h 9"/>
                    <a:gd name="T8" fmla="*/ 8 w 8"/>
                    <a:gd name="T9" fmla="*/ 6 h 9"/>
                    <a:gd name="T10" fmla="*/ 4 w 8"/>
                    <a:gd name="T11" fmla="*/ 4 h 9"/>
                    <a:gd name="T12" fmla="*/ 2 w 8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9">
                      <a:moveTo>
                        <a:pt x="2" y="0"/>
                      </a:moveTo>
                      <a:lnTo>
                        <a:pt x="2" y="6"/>
                      </a:lnTo>
                      <a:lnTo>
                        <a:pt x="0" y="9"/>
                      </a:lnTo>
                      <a:lnTo>
                        <a:pt x="4" y="7"/>
                      </a:lnTo>
                      <a:lnTo>
                        <a:pt x="8" y="6"/>
                      </a:lnTo>
                      <a:lnTo>
                        <a:pt x="4" y="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6" name="Freeform 3191"/>
                <p:cNvSpPr>
                  <a:spLocks/>
                </p:cNvSpPr>
                <p:nvPr/>
              </p:nvSpPr>
              <p:spPr bwMode="auto">
                <a:xfrm>
                  <a:off x="5732" y="2235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7" name="Freeform 3192"/>
                <p:cNvSpPr>
                  <a:spLocks/>
                </p:cNvSpPr>
                <p:nvPr/>
              </p:nvSpPr>
              <p:spPr bwMode="auto">
                <a:xfrm>
                  <a:off x="5721" y="2220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8" name="Freeform 3193"/>
                <p:cNvSpPr>
                  <a:spLocks/>
                </p:cNvSpPr>
                <p:nvPr/>
              </p:nvSpPr>
              <p:spPr bwMode="auto">
                <a:xfrm>
                  <a:off x="5694" y="2170"/>
                  <a:ext cx="3" cy="4"/>
                </a:xfrm>
                <a:custGeom>
                  <a:avLst/>
                  <a:gdLst>
                    <a:gd name="T0" fmla="*/ 3 w 3"/>
                    <a:gd name="T1" fmla="*/ 0 h 4"/>
                    <a:gd name="T2" fmla="*/ 1 w 3"/>
                    <a:gd name="T3" fmla="*/ 0 h 4"/>
                    <a:gd name="T4" fmla="*/ 0 w 3"/>
                    <a:gd name="T5" fmla="*/ 0 h 4"/>
                    <a:gd name="T6" fmla="*/ 0 w 3"/>
                    <a:gd name="T7" fmla="*/ 2 h 4"/>
                    <a:gd name="T8" fmla="*/ 0 w 3"/>
                    <a:gd name="T9" fmla="*/ 4 h 4"/>
                    <a:gd name="T10" fmla="*/ 1 w 3"/>
                    <a:gd name="T11" fmla="*/ 4 h 4"/>
                    <a:gd name="T12" fmla="*/ 3 w 3"/>
                    <a:gd name="T13" fmla="*/ 4 h 4"/>
                    <a:gd name="T14" fmla="*/ 3 w 3"/>
                    <a:gd name="T15" fmla="*/ 2 h 4"/>
                    <a:gd name="T16" fmla="*/ 3 w 3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79" name="Freeform 3194"/>
                <p:cNvSpPr>
                  <a:spLocks/>
                </p:cNvSpPr>
                <p:nvPr/>
              </p:nvSpPr>
              <p:spPr bwMode="auto">
                <a:xfrm>
                  <a:off x="5710" y="2159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0" name="Freeform 3195"/>
                <p:cNvSpPr>
                  <a:spLocks/>
                </p:cNvSpPr>
                <p:nvPr/>
              </p:nvSpPr>
              <p:spPr bwMode="auto">
                <a:xfrm>
                  <a:off x="5723" y="2155"/>
                  <a:ext cx="4" cy="12"/>
                </a:xfrm>
                <a:custGeom>
                  <a:avLst/>
                  <a:gdLst>
                    <a:gd name="T0" fmla="*/ 0 w 4"/>
                    <a:gd name="T1" fmla="*/ 0 h 12"/>
                    <a:gd name="T2" fmla="*/ 0 w 4"/>
                    <a:gd name="T3" fmla="*/ 2 h 12"/>
                    <a:gd name="T4" fmla="*/ 2 w 4"/>
                    <a:gd name="T5" fmla="*/ 6 h 12"/>
                    <a:gd name="T6" fmla="*/ 2 w 4"/>
                    <a:gd name="T7" fmla="*/ 10 h 12"/>
                    <a:gd name="T8" fmla="*/ 2 w 4"/>
                    <a:gd name="T9" fmla="*/ 12 h 12"/>
                    <a:gd name="T10" fmla="*/ 4 w 4"/>
                    <a:gd name="T11" fmla="*/ 12 h 12"/>
                    <a:gd name="T12" fmla="*/ 4 w 4"/>
                    <a:gd name="T13" fmla="*/ 8 h 12"/>
                    <a:gd name="T14" fmla="*/ 4 w 4"/>
                    <a:gd name="T15" fmla="*/ 8 h 12"/>
                    <a:gd name="T16" fmla="*/ 4 w 4"/>
                    <a:gd name="T17" fmla="*/ 6 h 12"/>
                    <a:gd name="T18" fmla="*/ 4 w 4"/>
                    <a:gd name="T19" fmla="*/ 4 h 12"/>
                    <a:gd name="T20" fmla="*/ 4 w 4"/>
                    <a:gd name="T21" fmla="*/ 4 h 12"/>
                    <a:gd name="T22" fmla="*/ 2 w 4"/>
                    <a:gd name="T23" fmla="*/ 2 h 12"/>
                    <a:gd name="T24" fmla="*/ 0 w 4"/>
                    <a:gd name="T25" fmla="*/ 0 h 12"/>
                    <a:gd name="T26" fmla="*/ 0 w 4"/>
                    <a:gd name="T2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1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2" y="10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1" name="Freeform 3196"/>
                <p:cNvSpPr>
                  <a:spLocks/>
                </p:cNvSpPr>
                <p:nvPr/>
              </p:nvSpPr>
              <p:spPr bwMode="auto">
                <a:xfrm>
                  <a:off x="5719" y="2126"/>
                  <a:ext cx="11" cy="4"/>
                </a:xfrm>
                <a:custGeom>
                  <a:avLst/>
                  <a:gdLst>
                    <a:gd name="T0" fmla="*/ 11 w 11"/>
                    <a:gd name="T1" fmla="*/ 0 h 4"/>
                    <a:gd name="T2" fmla="*/ 6 w 11"/>
                    <a:gd name="T3" fmla="*/ 0 h 4"/>
                    <a:gd name="T4" fmla="*/ 0 w 11"/>
                    <a:gd name="T5" fmla="*/ 0 h 4"/>
                    <a:gd name="T6" fmla="*/ 0 w 11"/>
                    <a:gd name="T7" fmla="*/ 2 h 4"/>
                    <a:gd name="T8" fmla="*/ 0 w 11"/>
                    <a:gd name="T9" fmla="*/ 4 h 4"/>
                    <a:gd name="T10" fmla="*/ 6 w 11"/>
                    <a:gd name="T11" fmla="*/ 4 h 4"/>
                    <a:gd name="T12" fmla="*/ 11 w 11"/>
                    <a:gd name="T13" fmla="*/ 4 h 4"/>
                    <a:gd name="T14" fmla="*/ 11 w 11"/>
                    <a:gd name="T15" fmla="*/ 2 h 4"/>
                    <a:gd name="T16" fmla="*/ 11 w 11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4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6" y="4"/>
                      </a:lnTo>
                      <a:lnTo>
                        <a:pt x="11" y="4"/>
                      </a:lnTo>
                      <a:lnTo>
                        <a:pt x="11" y="2"/>
                      </a:lnTo>
                      <a:lnTo>
                        <a:pt x="11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2" name="Freeform 3197"/>
                <p:cNvSpPr>
                  <a:spLocks/>
                </p:cNvSpPr>
                <p:nvPr/>
              </p:nvSpPr>
              <p:spPr bwMode="auto">
                <a:xfrm>
                  <a:off x="5716" y="2106"/>
                  <a:ext cx="7" cy="9"/>
                </a:xfrm>
                <a:custGeom>
                  <a:avLst/>
                  <a:gdLst>
                    <a:gd name="T0" fmla="*/ 2 w 7"/>
                    <a:gd name="T1" fmla="*/ 0 h 9"/>
                    <a:gd name="T2" fmla="*/ 0 w 7"/>
                    <a:gd name="T3" fmla="*/ 0 h 9"/>
                    <a:gd name="T4" fmla="*/ 0 w 7"/>
                    <a:gd name="T5" fmla="*/ 2 h 9"/>
                    <a:gd name="T6" fmla="*/ 0 w 7"/>
                    <a:gd name="T7" fmla="*/ 5 h 9"/>
                    <a:gd name="T8" fmla="*/ 0 w 7"/>
                    <a:gd name="T9" fmla="*/ 9 h 9"/>
                    <a:gd name="T10" fmla="*/ 3 w 7"/>
                    <a:gd name="T11" fmla="*/ 7 h 9"/>
                    <a:gd name="T12" fmla="*/ 7 w 7"/>
                    <a:gd name="T13" fmla="*/ 5 h 9"/>
                    <a:gd name="T14" fmla="*/ 5 w 7"/>
                    <a:gd name="T15" fmla="*/ 2 h 9"/>
                    <a:gd name="T16" fmla="*/ 2 w 7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9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3" y="7"/>
                      </a:lnTo>
                      <a:lnTo>
                        <a:pt x="7" y="5"/>
                      </a:lnTo>
                      <a:lnTo>
                        <a:pt x="5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3" name="Freeform 3198"/>
                <p:cNvSpPr>
                  <a:spLocks/>
                </p:cNvSpPr>
                <p:nvPr/>
              </p:nvSpPr>
              <p:spPr bwMode="auto">
                <a:xfrm>
                  <a:off x="5682" y="2095"/>
                  <a:ext cx="4" cy="3"/>
                </a:xfrm>
                <a:custGeom>
                  <a:avLst/>
                  <a:gdLst>
                    <a:gd name="T0" fmla="*/ 4 w 4"/>
                    <a:gd name="T1" fmla="*/ 0 h 3"/>
                    <a:gd name="T2" fmla="*/ 2 w 4"/>
                    <a:gd name="T3" fmla="*/ 0 h 3"/>
                    <a:gd name="T4" fmla="*/ 0 w 4"/>
                    <a:gd name="T5" fmla="*/ 0 h 3"/>
                    <a:gd name="T6" fmla="*/ 0 w 4"/>
                    <a:gd name="T7" fmla="*/ 1 h 3"/>
                    <a:gd name="T8" fmla="*/ 0 w 4"/>
                    <a:gd name="T9" fmla="*/ 3 h 3"/>
                    <a:gd name="T10" fmla="*/ 2 w 4"/>
                    <a:gd name="T11" fmla="*/ 3 h 3"/>
                    <a:gd name="T12" fmla="*/ 4 w 4"/>
                    <a:gd name="T13" fmla="*/ 3 h 3"/>
                    <a:gd name="T14" fmla="*/ 4 w 4"/>
                    <a:gd name="T15" fmla="*/ 1 h 3"/>
                    <a:gd name="T16" fmla="*/ 4 w 4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4" name="Freeform 3199"/>
                <p:cNvSpPr>
                  <a:spLocks/>
                </p:cNvSpPr>
                <p:nvPr/>
              </p:nvSpPr>
              <p:spPr bwMode="auto">
                <a:xfrm>
                  <a:off x="5705" y="2089"/>
                  <a:ext cx="9" cy="13"/>
                </a:xfrm>
                <a:custGeom>
                  <a:avLst/>
                  <a:gdLst>
                    <a:gd name="T0" fmla="*/ 9 w 9"/>
                    <a:gd name="T1" fmla="*/ 0 h 13"/>
                    <a:gd name="T2" fmla="*/ 3 w 9"/>
                    <a:gd name="T3" fmla="*/ 0 h 13"/>
                    <a:gd name="T4" fmla="*/ 0 w 9"/>
                    <a:gd name="T5" fmla="*/ 0 h 13"/>
                    <a:gd name="T6" fmla="*/ 1 w 9"/>
                    <a:gd name="T7" fmla="*/ 2 h 13"/>
                    <a:gd name="T8" fmla="*/ 3 w 9"/>
                    <a:gd name="T9" fmla="*/ 6 h 13"/>
                    <a:gd name="T10" fmla="*/ 5 w 9"/>
                    <a:gd name="T11" fmla="*/ 11 h 13"/>
                    <a:gd name="T12" fmla="*/ 7 w 9"/>
                    <a:gd name="T13" fmla="*/ 13 h 13"/>
                    <a:gd name="T14" fmla="*/ 7 w 9"/>
                    <a:gd name="T15" fmla="*/ 13 h 13"/>
                    <a:gd name="T16" fmla="*/ 7 w 9"/>
                    <a:gd name="T17" fmla="*/ 13 h 13"/>
                    <a:gd name="T18" fmla="*/ 9 w 9"/>
                    <a:gd name="T19" fmla="*/ 13 h 13"/>
                    <a:gd name="T20" fmla="*/ 9 w 9"/>
                    <a:gd name="T21" fmla="*/ 9 h 13"/>
                    <a:gd name="T22" fmla="*/ 9 w 9"/>
                    <a:gd name="T23" fmla="*/ 6 h 13"/>
                    <a:gd name="T24" fmla="*/ 9 w 9"/>
                    <a:gd name="T25" fmla="*/ 2 h 13"/>
                    <a:gd name="T26" fmla="*/ 9 w 9"/>
                    <a:gd name="T2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13">
                      <a:moveTo>
                        <a:pt x="9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6"/>
                      </a:lnTo>
                      <a:lnTo>
                        <a:pt x="5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9" y="13"/>
                      </a:lnTo>
                      <a:lnTo>
                        <a:pt x="9" y="9"/>
                      </a:lnTo>
                      <a:lnTo>
                        <a:pt x="9" y="6"/>
                      </a:lnTo>
                      <a:lnTo>
                        <a:pt x="9" y="2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5" name="Freeform 3200"/>
                <p:cNvSpPr>
                  <a:spLocks/>
                </p:cNvSpPr>
                <p:nvPr/>
              </p:nvSpPr>
              <p:spPr bwMode="auto">
                <a:xfrm>
                  <a:off x="5677" y="2050"/>
                  <a:ext cx="4" cy="4"/>
                </a:xfrm>
                <a:custGeom>
                  <a:avLst/>
                  <a:gdLst>
                    <a:gd name="T0" fmla="*/ 4 w 4"/>
                    <a:gd name="T1" fmla="*/ 0 h 4"/>
                    <a:gd name="T2" fmla="*/ 2 w 4"/>
                    <a:gd name="T3" fmla="*/ 0 h 4"/>
                    <a:gd name="T4" fmla="*/ 0 w 4"/>
                    <a:gd name="T5" fmla="*/ 0 h 4"/>
                    <a:gd name="T6" fmla="*/ 0 w 4"/>
                    <a:gd name="T7" fmla="*/ 2 h 4"/>
                    <a:gd name="T8" fmla="*/ 0 w 4"/>
                    <a:gd name="T9" fmla="*/ 4 h 4"/>
                    <a:gd name="T10" fmla="*/ 2 w 4"/>
                    <a:gd name="T11" fmla="*/ 4 h 4"/>
                    <a:gd name="T12" fmla="*/ 4 w 4"/>
                    <a:gd name="T13" fmla="*/ 4 h 4"/>
                    <a:gd name="T14" fmla="*/ 4 w 4"/>
                    <a:gd name="T15" fmla="*/ 2 h 4"/>
                    <a:gd name="T16" fmla="*/ 4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6" name="Freeform 3201"/>
                <p:cNvSpPr>
                  <a:spLocks/>
                </p:cNvSpPr>
                <p:nvPr/>
              </p:nvSpPr>
              <p:spPr bwMode="auto">
                <a:xfrm>
                  <a:off x="5655" y="1991"/>
                  <a:ext cx="7" cy="8"/>
                </a:xfrm>
                <a:custGeom>
                  <a:avLst/>
                  <a:gdLst>
                    <a:gd name="T0" fmla="*/ 2 w 7"/>
                    <a:gd name="T1" fmla="*/ 0 h 8"/>
                    <a:gd name="T2" fmla="*/ 0 w 7"/>
                    <a:gd name="T3" fmla="*/ 4 h 8"/>
                    <a:gd name="T4" fmla="*/ 0 w 7"/>
                    <a:gd name="T5" fmla="*/ 8 h 8"/>
                    <a:gd name="T6" fmla="*/ 3 w 7"/>
                    <a:gd name="T7" fmla="*/ 8 h 8"/>
                    <a:gd name="T8" fmla="*/ 7 w 7"/>
                    <a:gd name="T9" fmla="*/ 6 h 8"/>
                    <a:gd name="T10" fmla="*/ 3 w 7"/>
                    <a:gd name="T11" fmla="*/ 2 h 8"/>
                    <a:gd name="T12" fmla="*/ 2 w 7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7" y="6"/>
                      </a:lnTo>
                      <a:lnTo>
                        <a:pt x="3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7" name="Freeform 3202"/>
                <p:cNvSpPr>
                  <a:spLocks/>
                </p:cNvSpPr>
                <p:nvPr/>
              </p:nvSpPr>
              <p:spPr bwMode="auto">
                <a:xfrm>
                  <a:off x="5686" y="1978"/>
                  <a:ext cx="6" cy="8"/>
                </a:xfrm>
                <a:custGeom>
                  <a:avLst/>
                  <a:gdLst>
                    <a:gd name="T0" fmla="*/ 2 w 6"/>
                    <a:gd name="T1" fmla="*/ 0 h 8"/>
                    <a:gd name="T2" fmla="*/ 4 w 6"/>
                    <a:gd name="T3" fmla="*/ 0 h 8"/>
                    <a:gd name="T4" fmla="*/ 4 w 6"/>
                    <a:gd name="T5" fmla="*/ 0 h 8"/>
                    <a:gd name="T6" fmla="*/ 4 w 6"/>
                    <a:gd name="T7" fmla="*/ 2 h 8"/>
                    <a:gd name="T8" fmla="*/ 6 w 6"/>
                    <a:gd name="T9" fmla="*/ 2 h 8"/>
                    <a:gd name="T10" fmla="*/ 6 w 6"/>
                    <a:gd name="T11" fmla="*/ 4 h 8"/>
                    <a:gd name="T12" fmla="*/ 4 w 6"/>
                    <a:gd name="T13" fmla="*/ 6 h 8"/>
                    <a:gd name="T14" fmla="*/ 4 w 6"/>
                    <a:gd name="T15" fmla="*/ 8 h 8"/>
                    <a:gd name="T16" fmla="*/ 2 w 6"/>
                    <a:gd name="T17" fmla="*/ 8 h 8"/>
                    <a:gd name="T18" fmla="*/ 0 w 6"/>
                    <a:gd name="T19" fmla="*/ 6 h 8"/>
                    <a:gd name="T20" fmla="*/ 0 w 6"/>
                    <a:gd name="T21" fmla="*/ 6 h 8"/>
                    <a:gd name="T22" fmla="*/ 0 w 6"/>
                    <a:gd name="T23" fmla="*/ 2 h 8"/>
                    <a:gd name="T24" fmla="*/ 0 w 6"/>
                    <a:gd name="T25" fmla="*/ 2 h 8"/>
                    <a:gd name="T26" fmla="*/ 0 w 6"/>
                    <a:gd name="T27" fmla="*/ 2 h 8"/>
                    <a:gd name="T28" fmla="*/ 0 w 6"/>
                    <a:gd name="T29" fmla="*/ 2 h 8"/>
                    <a:gd name="T30" fmla="*/ 2 w 6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" h="8">
                      <a:moveTo>
                        <a:pt x="2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8" name="Freeform 3203"/>
                <p:cNvSpPr>
                  <a:spLocks/>
                </p:cNvSpPr>
                <p:nvPr/>
              </p:nvSpPr>
              <p:spPr bwMode="auto">
                <a:xfrm>
                  <a:off x="5684" y="1965"/>
                  <a:ext cx="19" cy="78"/>
                </a:xfrm>
                <a:custGeom>
                  <a:avLst/>
                  <a:gdLst>
                    <a:gd name="T0" fmla="*/ 8 w 19"/>
                    <a:gd name="T1" fmla="*/ 0 h 78"/>
                    <a:gd name="T2" fmla="*/ 6 w 19"/>
                    <a:gd name="T3" fmla="*/ 6 h 78"/>
                    <a:gd name="T4" fmla="*/ 4 w 19"/>
                    <a:gd name="T5" fmla="*/ 11 h 78"/>
                    <a:gd name="T6" fmla="*/ 2 w 19"/>
                    <a:gd name="T7" fmla="*/ 11 h 78"/>
                    <a:gd name="T8" fmla="*/ 2 w 19"/>
                    <a:gd name="T9" fmla="*/ 13 h 78"/>
                    <a:gd name="T10" fmla="*/ 0 w 19"/>
                    <a:gd name="T11" fmla="*/ 13 h 78"/>
                    <a:gd name="T12" fmla="*/ 2 w 19"/>
                    <a:gd name="T13" fmla="*/ 21 h 78"/>
                    <a:gd name="T14" fmla="*/ 2 w 19"/>
                    <a:gd name="T15" fmla="*/ 28 h 78"/>
                    <a:gd name="T16" fmla="*/ 2 w 19"/>
                    <a:gd name="T17" fmla="*/ 37 h 78"/>
                    <a:gd name="T18" fmla="*/ 4 w 19"/>
                    <a:gd name="T19" fmla="*/ 45 h 78"/>
                    <a:gd name="T20" fmla="*/ 4 w 19"/>
                    <a:gd name="T21" fmla="*/ 52 h 78"/>
                    <a:gd name="T22" fmla="*/ 6 w 19"/>
                    <a:gd name="T23" fmla="*/ 59 h 78"/>
                    <a:gd name="T24" fmla="*/ 6 w 19"/>
                    <a:gd name="T25" fmla="*/ 67 h 78"/>
                    <a:gd name="T26" fmla="*/ 8 w 19"/>
                    <a:gd name="T27" fmla="*/ 74 h 78"/>
                    <a:gd name="T28" fmla="*/ 10 w 19"/>
                    <a:gd name="T29" fmla="*/ 74 h 78"/>
                    <a:gd name="T30" fmla="*/ 13 w 19"/>
                    <a:gd name="T31" fmla="*/ 76 h 78"/>
                    <a:gd name="T32" fmla="*/ 17 w 19"/>
                    <a:gd name="T33" fmla="*/ 78 h 78"/>
                    <a:gd name="T34" fmla="*/ 19 w 19"/>
                    <a:gd name="T35" fmla="*/ 78 h 78"/>
                    <a:gd name="T36" fmla="*/ 17 w 19"/>
                    <a:gd name="T37" fmla="*/ 63 h 78"/>
                    <a:gd name="T38" fmla="*/ 17 w 19"/>
                    <a:gd name="T39" fmla="*/ 50 h 78"/>
                    <a:gd name="T40" fmla="*/ 15 w 19"/>
                    <a:gd name="T41" fmla="*/ 43 h 78"/>
                    <a:gd name="T42" fmla="*/ 13 w 19"/>
                    <a:gd name="T43" fmla="*/ 35 h 78"/>
                    <a:gd name="T44" fmla="*/ 11 w 19"/>
                    <a:gd name="T45" fmla="*/ 32 h 78"/>
                    <a:gd name="T46" fmla="*/ 11 w 19"/>
                    <a:gd name="T47" fmla="*/ 28 h 78"/>
                    <a:gd name="T48" fmla="*/ 10 w 19"/>
                    <a:gd name="T49" fmla="*/ 26 h 78"/>
                    <a:gd name="T50" fmla="*/ 6 w 19"/>
                    <a:gd name="T51" fmla="*/ 23 h 78"/>
                    <a:gd name="T52" fmla="*/ 8 w 19"/>
                    <a:gd name="T53" fmla="*/ 23 h 78"/>
                    <a:gd name="T54" fmla="*/ 8 w 19"/>
                    <a:gd name="T55" fmla="*/ 21 h 78"/>
                    <a:gd name="T56" fmla="*/ 8 w 19"/>
                    <a:gd name="T57" fmla="*/ 21 h 78"/>
                    <a:gd name="T58" fmla="*/ 10 w 19"/>
                    <a:gd name="T59" fmla="*/ 19 h 78"/>
                    <a:gd name="T60" fmla="*/ 13 w 19"/>
                    <a:gd name="T61" fmla="*/ 15 h 78"/>
                    <a:gd name="T62" fmla="*/ 13 w 19"/>
                    <a:gd name="T63" fmla="*/ 15 h 78"/>
                    <a:gd name="T64" fmla="*/ 15 w 19"/>
                    <a:gd name="T65" fmla="*/ 11 h 78"/>
                    <a:gd name="T66" fmla="*/ 11 w 19"/>
                    <a:gd name="T67" fmla="*/ 6 h 78"/>
                    <a:gd name="T68" fmla="*/ 8 w 19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" h="78">
                      <a:moveTo>
                        <a:pt x="8" y="0"/>
                      </a:moveTo>
                      <a:lnTo>
                        <a:pt x="6" y="6"/>
                      </a:lnTo>
                      <a:lnTo>
                        <a:pt x="4" y="11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0" y="13"/>
                      </a:lnTo>
                      <a:lnTo>
                        <a:pt x="2" y="21"/>
                      </a:lnTo>
                      <a:lnTo>
                        <a:pt x="2" y="28"/>
                      </a:lnTo>
                      <a:lnTo>
                        <a:pt x="2" y="37"/>
                      </a:lnTo>
                      <a:lnTo>
                        <a:pt x="4" y="45"/>
                      </a:lnTo>
                      <a:lnTo>
                        <a:pt x="4" y="52"/>
                      </a:lnTo>
                      <a:lnTo>
                        <a:pt x="6" y="59"/>
                      </a:lnTo>
                      <a:lnTo>
                        <a:pt x="6" y="67"/>
                      </a:lnTo>
                      <a:lnTo>
                        <a:pt x="8" y="74"/>
                      </a:lnTo>
                      <a:lnTo>
                        <a:pt x="10" y="74"/>
                      </a:lnTo>
                      <a:lnTo>
                        <a:pt x="13" y="76"/>
                      </a:lnTo>
                      <a:lnTo>
                        <a:pt x="17" y="78"/>
                      </a:lnTo>
                      <a:lnTo>
                        <a:pt x="19" y="78"/>
                      </a:lnTo>
                      <a:lnTo>
                        <a:pt x="17" y="63"/>
                      </a:lnTo>
                      <a:lnTo>
                        <a:pt x="17" y="50"/>
                      </a:lnTo>
                      <a:lnTo>
                        <a:pt x="15" y="43"/>
                      </a:lnTo>
                      <a:lnTo>
                        <a:pt x="13" y="35"/>
                      </a:lnTo>
                      <a:lnTo>
                        <a:pt x="11" y="32"/>
                      </a:lnTo>
                      <a:lnTo>
                        <a:pt x="11" y="28"/>
                      </a:lnTo>
                      <a:lnTo>
                        <a:pt x="10" y="26"/>
                      </a:lnTo>
                      <a:lnTo>
                        <a:pt x="6" y="23"/>
                      </a:lnTo>
                      <a:lnTo>
                        <a:pt x="8" y="23"/>
                      </a:lnTo>
                      <a:lnTo>
                        <a:pt x="8" y="21"/>
                      </a:lnTo>
                      <a:lnTo>
                        <a:pt x="8" y="21"/>
                      </a:lnTo>
                      <a:lnTo>
                        <a:pt x="10" y="19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5" y="11"/>
                      </a:lnTo>
                      <a:lnTo>
                        <a:pt x="11" y="6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89" name="Freeform 3204"/>
                <p:cNvSpPr>
                  <a:spLocks/>
                </p:cNvSpPr>
                <p:nvPr/>
              </p:nvSpPr>
              <p:spPr bwMode="auto">
                <a:xfrm>
                  <a:off x="5363" y="1414"/>
                  <a:ext cx="334" cy="537"/>
                </a:xfrm>
                <a:custGeom>
                  <a:avLst/>
                  <a:gdLst>
                    <a:gd name="T0" fmla="*/ 89 w 334"/>
                    <a:gd name="T1" fmla="*/ 13 h 537"/>
                    <a:gd name="T2" fmla="*/ 63 w 334"/>
                    <a:gd name="T3" fmla="*/ 40 h 537"/>
                    <a:gd name="T4" fmla="*/ 35 w 334"/>
                    <a:gd name="T5" fmla="*/ 77 h 537"/>
                    <a:gd name="T6" fmla="*/ 41 w 334"/>
                    <a:gd name="T7" fmla="*/ 90 h 537"/>
                    <a:gd name="T8" fmla="*/ 46 w 334"/>
                    <a:gd name="T9" fmla="*/ 110 h 537"/>
                    <a:gd name="T10" fmla="*/ 56 w 334"/>
                    <a:gd name="T11" fmla="*/ 151 h 537"/>
                    <a:gd name="T12" fmla="*/ 48 w 334"/>
                    <a:gd name="T13" fmla="*/ 173 h 537"/>
                    <a:gd name="T14" fmla="*/ 8 w 334"/>
                    <a:gd name="T15" fmla="*/ 179 h 537"/>
                    <a:gd name="T16" fmla="*/ 2 w 334"/>
                    <a:gd name="T17" fmla="*/ 197 h 537"/>
                    <a:gd name="T18" fmla="*/ 17 w 334"/>
                    <a:gd name="T19" fmla="*/ 214 h 537"/>
                    <a:gd name="T20" fmla="*/ 33 w 334"/>
                    <a:gd name="T21" fmla="*/ 214 h 537"/>
                    <a:gd name="T22" fmla="*/ 54 w 334"/>
                    <a:gd name="T23" fmla="*/ 210 h 537"/>
                    <a:gd name="T24" fmla="*/ 63 w 334"/>
                    <a:gd name="T25" fmla="*/ 223 h 537"/>
                    <a:gd name="T26" fmla="*/ 61 w 334"/>
                    <a:gd name="T27" fmla="*/ 265 h 537"/>
                    <a:gd name="T28" fmla="*/ 33 w 334"/>
                    <a:gd name="T29" fmla="*/ 293 h 537"/>
                    <a:gd name="T30" fmla="*/ 15 w 334"/>
                    <a:gd name="T31" fmla="*/ 304 h 537"/>
                    <a:gd name="T32" fmla="*/ 17 w 334"/>
                    <a:gd name="T33" fmla="*/ 323 h 537"/>
                    <a:gd name="T34" fmla="*/ 107 w 334"/>
                    <a:gd name="T35" fmla="*/ 387 h 537"/>
                    <a:gd name="T36" fmla="*/ 198 w 334"/>
                    <a:gd name="T37" fmla="*/ 450 h 537"/>
                    <a:gd name="T38" fmla="*/ 288 w 334"/>
                    <a:gd name="T39" fmla="*/ 515 h 537"/>
                    <a:gd name="T40" fmla="*/ 329 w 334"/>
                    <a:gd name="T41" fmla="*/ 526 h 537"/>
                    <a:gd name="T42" fmla="*/ 331 w 334"/>
                    <a:gd name="T43" fmla="*/ 537 h 537"/>
                    <a:gd name="T44" fmla="*/ 332 w 334"/>
                    <a:gd name="T45" fmla="*/ 509 h 537"/>
                    <a:gd name="T46" fmla="*/ 323 w 334"/>
                    <a:gd name="T47" fmla="*/ 441 h 537"/>
                    <a:gd name="T48" fmla="*/ 314 w 334"/>
                    <a:gd name="T49" fmla="*/ 420 h 537"/>
                    <a:gd name="T50" fmla="*/ 307 w 334"/>
                    <a:gd name="T51" fmla="*/ 413 h 537"/>
                    <a:gd name="T52" fmla="*/ 303 w 334"/>
                    <a:gd name="T53" fmla="*/ 404 h 537"/>
                    <a:gd name="T54" fmla="*/ 292 w 334"/>
                    <a:gd name="T55" fmla="*/ 387 h 537"/>
                    <a:gd name="T56" fmla="*/ 279 w 334"/>
                    <a:gd name="T57" fmla="*/ 376 h 537"/>
                    <a:gd name="T58" fmla="*/ 272 w 334"/>
                    <a:gd name="T59" fmla="*/ 337 h 537"/>
                    <a:gd name="T60" fmla="*/ 273 w 334"/>
                    <a:gd name="T61" fmla="*/ 312 h 537"/>
                    <a:gd name="T62" fmla="*/ 294 w 334"/>
                    <a:gd name="T63" fmla="*/ 297 h 537"/>
                    <a:gd name="T64" fmla="*/ 279 w 334"/>
                    <a:gd name="T65" fmla="*/ 288 h 537"/>
                    <a:gd name="T66" fmla="*/ 262 w 334"/>
                    <a:gd name="T67" fmla="*/ 280 h 537"/>
                    <a:gd name="T68" fmla="*/ 251 w 334"/>
                    <a:gd name="T69" fmla="*/ 273 h 537"/>
                    <a:gd name="T70" fmla="*/ 244 w 334"/>
                    <a:gd name="T71" fmla="*/ 260 h 537"/>
                    <a:gd name="T72" fmla="*/ 236 w 334"/>
                    <a:gd name="T73" fmla="*/ 240 h 537"/>
                    <a:gd name="T74" fmla="*/ 233 w 334"/>
                    <a:gd name="T75" fmla="*/ 182 h 537"/>
                    <a:gd name="T76" fmla="*/ 249 w 334"/>
                    <a:gd name="T77" fmla="*/ 182 h 537"/>
                    <a:gd name="T78" fmla="*/ 260 w 334"/>
                    <a:gd name="T79" fmla="*/ 171 h 537"/>
                    <a:gd name="T80" fmla="*/ 251 w 334"/>
                    <a:gd name="T81" fmla="*/ 145 h 537"/>
                    <a:gd name="T82" fmla="*/ 225 w 334"/>
                    <a:gd name="T83" fmla="*/ 134 h 537"/>
                    <a:gd name="T84" fmla="*/ 200 w 334"/>
                    <a:gd name="T85" fmla="*/ 123 h 537"/>
                    <a:gd name="T86" fmla="*/ 192 w 334"/>
                    <a:gd name="T87" fmla="*/ 105 h 537"/>
                    <a:gd name="T88" fmla="*/ 174 w 334"/>
                    <a:gd name="T89" fmla="*/ 77 h 537"/>
                    <a:gd name="T90" fmla="*/ 168 w 334"/>
                    <a:gd name="T91" fmla="*/ 62 h 537"/>
                    <a:gd name="T92" fmla="*/ 164 w 334"/>
                    <a:gd name="T93" fmla="*/ 49 h 537"/>
                    <a:gd name="T94" fmla="*/ 161 w 334"/>
                    <a:gd name="T95" fmla="*/ 49 h 537"/>
                    <a:gd name="T96" fmla="*/ 155 w 334"/>
                    <a:gd name="T97" fmla="*/ 31 h 537"/>
                    <a:gd name="T98" fmla="*/ 168 w 334"/>
                    <a:gd name="T99" fmla="*/ 35 h 537"/>
                    <a:gd name="T100" fmla="*/ 170 w 334"/>
                    <a:gd name="T101" fmla="*/ 48 h 537"/>
                    <a:gd name="T102" fmla="*/ 196 w 334"/>
                    <a:gd name="T103" fmla="*/ 48 h 537"/>
                    <a:gd name="T104" fmla="*/ 181 w 334"/>
                    <a:gd name="T105" fmla="*/ 20 h 537"/>
                    <a:gd name="T106" fmla="*/ 163 w 334"/>
                    <a:gd name="T107" fmla="*/ 9 h 537"/>
                    <a:gd name="T108" fmla="*/ 153 w 334"/>
                    <a:gd name="T109" fmla="*/ 13 h 537"/>
                    <a:gd name="T110" fmla="*/ 140 w 334"/>
                    <a:gd name="T111" fmla="*/ 16 h 537"/>
                    <a:gd name="T112" fmla="*/ 131 w 334"/>
                    <a:gd name="T113" fmla="*/ 14 h 537"/>
                    <a:gd name="T114" fmla="*/ 102 w 334"/>
                    <a:gd name="T115" fmla="*/ 0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4" h="537">
                      <a:moveTo>
                        <a:pt x="102" y="0"/>
                      </a:moveTo>
                      <a:lnTo>
                        <a:pt x="98" y="3"/>
                      </a:lnTo>
                      <a:lnTo>
                        <a:pt x="94" y="5"/>
                      </a:lnTo>
                      <a:lnTo>
                        <a:pt x="91" y="9"/>
                      </a:lnTo>
                      <a:lnTo>
                        <a:pt x="89" y="13"/>
                      </a:lnTo>
                      <a:lnTo>
                        <a:pt x="85" y="14"/>
                      </a:lnTo>
                      <a:lnTo>
                        <a:pt x="83" y="20"/>
                      </a:lnTo>
                      <a:lnTo>
                        <a:pt x="80" y="25"/>
                      </a:lnTo>
                      <a:lnTo>
                        <a:pt x="76" y="33"/>
                      </a:lnTo>
                      <a:lnTo>
                        <a:pt x="63" y="40"/>
                      </a:lnTo>
                      <a:lnTo>
                        <a:pt x="50" y="48"/>
                      </a:lnTo>
                      <a:lnTo>
                        <a:pt x="39" y="55"/>
                      </a:lnTo>
                      <a:lnTo>
                        <a:pt x="26" y="64"/>
                      </a:lnTo>
                      <a:lnTo>
                        <a:pt x="32" y="70"/>
                      </a:lnTo>
                      <a:lnTo>
                        <a:pt x="35" y="77"/>
                      </a:lnTo>
                      <a:lnTo>
                        <a:pt x="35" y="77"/>
                      </a:lnTo>
                      <a:lnTo>
                        <a:pt x="39" y="83"/>
                      </a:lnTo>
                      <a:lnTo>
                        <a:pt x="39" y="83"/>
                      </a:lnTo>
                      <a:lnTo>
                        <a:pt x="41" y="90"/>
                      </a:lnTo>
                      <a:lnTo>
                        <a:pt x="41" y="90"/>
                      </a:lnTo>
                      <a:lnTo>
                        <a:pt x="45" y="96"/>
                      </a:lnTo>
                      <a:lnTo>
                        <a:pt x="46" y="103"/>
                      </a:lnTo>
                      <a:lnTo>
                        <a:pt x="46" y="103"/>
                      </a:lnTo>
                      <a:lnTo>
                        <a:pt x="46" y="110"/>
                      </a:lnTo>
                      <a:lnTo>
                        <a:pt x="46" y="110"/>
                      </a:lnTo>
                      <a:lnTo>
                        <a:pt x="48" y="118"/>
                      </a:lnTo>
                      <a:lnTo>
                        <a:pt x="52" y="118"/>
                      </a:lnTo>
                      <a:lnTo>
                        <a:pt x="59" y="118"/>
                      </a:lnTo>
                      <a:lnTo>
                        <a:pt x="57" y="138"/>
                      </a:lnTo>
                      <a:lnTo>
                        <a:pt x="56" y="151"/>
                      </a:lnTo>
                      <a:lnTo>
                        <a:pt x="54" y="155"/>
                      </a:lnTo>
                      <a:lnTo>
                        <a:pt x="52" y="160"/>
                      </a:lnTo>
                      <a:lnTo>
                        <a:pt x="52" y="160"/>
                      </a:lnTo>
                      <a:lnTo>
                        <a:pt x="50" y="166"/>
                      </a:lnTo>
                      <a:lnTo>
                        <a:pt x="48" y="173"/>
                      </a:lnTo>
                      <a:lnTo>
                        <a:pt x="37" y="173"/>
                      </a:lnTo>
                      <a:lnTo>
                        <a:pt x="28" y="173"/>
                      </a:lnTo>
                      <a:lnTo>
                        <a:pt x="19" y="175"/>
                      </a:lnTo>
                      <a:lnTo>
                        <a:pt x="9" y="175"/>
                      </a:lnTo>
                      <a:lnTo>
                        <a:pt x="8" y="179"/>
                      </a:lnTo>
                      <a:lnTo>
                        <a:pt x="4" y="184"/>
                      </a:lnTo>
                      <a:lnTo>
                        <a:pt x="4" y="188"/>
                      </a:lnTo>
                      <a:lnTo>
                        <a:pt x="2" y="190"/>
                      </a:lnTo>
                      <a:lnTo>
                        <a:pt x="2" y="193"/>
                      </a:lnTo>
                      <a:lnTo>
                        <a:pt x="2" y="197"/>
                      </a:lnTo>
                      <a:lnTo>
                        <a:pt x="2" y="201"/>
                      </a:lnTo>
                      <a:lnTo>
                        <a:pt x="4" y="206"/>
                      </a:lnTo>
                      <a:lnTo>
                        <a:pt x="8" y="210"/>
                      </a:lnTo>
                      <a:lnTo>
                        <a:pt x="11" y="212"/>
                      </a:lnTo>
                      <a:lnTo>
                        <a:pt x="17" y="214"/>
                      </a:lnTo>
                      <a:lnTo>
                        <a:pt x="21" y="214"/>
                      </a:lnTo>
                      <a:lnTo>
                        <a:pt x="24" y="214"/>
                      </a:lnTo>
                      <a:lnTo>
                        <a:pt x="26" y="214"/>
                      </a:lnTo>
                      <a:lnTo>
                        <a:pt x="30" y="214"/>
                      </a:lnTo>
                      <a:lnTo>
                        <a:pt x="33" y="214"/>
                      </a:lnTo>
                      <a:lnTo>
                        <a:pt x="39" y="212"/>
                      </a:lnTo>
                      <a:lnTo>
                        <a:pt x="46" y="210"/>
                      </a:lnTo>
                      <a:lnTo>
                        <a:pt x="46" y="210"/>
                      </a:lnTo>
                      <a:lnTo>
                        <a:pt x="50" y="210"/>
                      </a:lnTo>
                      <a:lnTo>
                        <a:pt x="54" y="210"/>
                      </a:lnTo>
                      <a:lnTo>
                        <a:pt x="54" y="210"/>
                      </a:lnTo>
                      <a:lnTo>
                        <a:pt x="57" y="210"/>
                      </a:lnTo>
                      <a:lnTo>
                        <a:pt x="61" y="210"/>
                      </a:lnTo>
                      <a:lnTo>
                        <a:pt x="63" y="223"/>
                      </a:lnTo>
                      <a:lnTo>
                        <a:pt x="63" y="223"/>
                      </a:lnTo>
                      <a:lnTo>
                        <a:pt x="65" y="234"/>
                      </a:lnTo>
                      <a:lnTo>
                        <a:pt x="67" y="245"/>
                      </a:lnTo>
                      <a:lnTo>
                        <a:pt x="67" y="245"/>
                      </a:lnTo>
                      <a:lnTo>
                        <a:pt x="68" y="256"/>
                      </a:lnTo>
                      <a:lnTo>
                        <a:pt x="61" y="265"/>
                      </a:lnTo>
                      <a:lnTo>
                        <a:pt x="54" y="273"/>
                      </a:lnTo>
                      <a:lnTo>
                        <a:pt x="46" y="282"/>
                      </a:lnTo>
                      <a:lnTo>
                        <a:pt x="37" y="289"/>
                      </a:lnTo>
                      <a:lnTo>
                        <a:pt x="33" y="293"/>
                      </a:lnTo>
                      <a:lnTo>
                        <a:pt x="33" y="293"/>
                      </a:lnTo>
                      <a:lnTo>
                        <a:pt x="28" y="297"/>
                      </a:lnTo>
                      <a:lnTo>
                        <a:pt x="24" y="299"/>
                      </a:lnTo>
                      <a:lnTo>
                        <a:pt x="24" y="299"/>
                      </a:lnTo>
                      <a:lnTo>
                        <a:pt x="19" y="302"/>
                      </a:lnTo>
                      <a:lnTo>
                        <a:pt x="15" y="304"/>
                      </a:lnTo>
                      <a:lnTo>
                        <a:pt x="15" y="304"/>
                      </a:lnTo>
                      <a:lnTo>
                        <a:pt x="9" y="308"/>
                      </a:lnTo>
                      <a:lnTo>
                        <a:pt x="4" y="310"/>
                      </a:lnTo>
                      <a:lnTo>
                        <a:pt x="0" y="310"/>
                      </a:lnTo>
                      <a:lnTo>
                        <a:pt x="17" y="323"/>
                      </a:lnTo>
                      <a:lnTo>
                        <a:pt x="35" y="336"/>
                      </a:lnTo>
                      <a:lnTo>
                        <a:pt x="54" y="348"/>
                      </a:lnTo>
                      <a:lnTo>
                        <a:pt x="70" y="361"/>
                      </a:lnTo>
                      <a:lnTo>
                        <a:pt x="89" y="374"/>
                      </a:lnTo>
                      <a:lnTo>
                        <a:pt x="107" y="387"/>
                      </a:lnTo>
                      <a:lnTo>
                        <a:pt x="126" y="398"/>
                      </a:lnTo>
                      <a:lnTo>
                        <a:pt x="144" y="411"/>
                      </a:lnTo>
                      <a:lnTo>
                        <a:pt x="161" y="424"/>
                      </a:lnTo>
                      <a:lnTo>
                        <a:pt x="179" y="437"/>
                      </a:lnTo>
                      <a:lnTo>
                        <a:pt x="198" y="450"/>
                      </a:lnTo>
                      <a:lnTo>
                        <a:pt x="216" y="463"/>
                      </a:lnTo>
                      <a:lnTo>
                        <a:pt x="233" y="476"/>
                      </a:lnTo>
                      <a:lnTo>
                        <a:pt x="251" y="489"/>
                      </a:lnTo>
                      <a:lnTo>
                        <a:pt x="270" y="502"/>
                      </a:lnTo>
                      <a:lnTo>
                        <a:pt x="288" y="515"/>
                      </a:lnTo>
                      <a:lnTo>
                        <a:pt x="297" y="518"/>
                      </a:lnTo>
                      <a:lnTo>
                        <a:pt x="308" y="520"/>
                      </a:lnTo>
                      <a:lnTo>
                        <a:pt x="319" y="524"/>
                      </a:lnTo>
                      <a:lnTo>
                        <a:pt x="329" y="526"/>
                      </a:lnTo>
                      <a:lnTo>
                        <a:pt x="329" y="526"/>
                      </a:lnTo>
                      <a:lnTo>
                        <a:pt x="329" y="529"/>
                      </a:lnTo>
                      <a:lnTo>
                        <a:pt x="329" y="533"/>
                      </a:lnTo>
                      <a:lnTo>
                        <a:pt x="329" y="535"/>
                      </a:lnTo>
                      <a:lnTo>
                        <a:pt x="331" y="535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2" y="537"/>
                      </a:lnTo>
                      <a:lnTo>
                        <a:pt x="334" y="537"/>
                      </a:lnTo>
                      <a:lnTo>
                        <a:pt x="332" y="526"/>
                      </a:lnTo>
                      <a:lnTo>
                        <a:pt x="332" y="509"/>
                      </a:lnTo>
                      <a:lnTo>
                        <a:pt x="331" y="489"/>
                      </a:lnTo>
                      <a:lnTo>
                        <a:pt x="329" y="468"/>
                      </a:lnTo>
                      <a:lnTo>
                        <a:pt x="327" y="459"/>
                      </a:lnTo>
                      <a:lnTo>
                        <a:pt x="325" y="450"/>
                      </a:lnTo>
                      <a:lnTo>
                        <a:pt x="323" y="441"/>
                      </a:lnTo>
                      <a:lnTo>
                        <a:pt x="321" y="433"/>
                      </a:lnTo>
                      <a:lnTo>
                        <a:pt x="319" y="430"/>
                      </a:lnTo>
                      <a:lnTo>
                        <a:pt x="318" y="426"/>
                      </a:lnTo>
                      <a:lnTo>
                        <a:pt x="316" y="422"/>
                      </a:lnTo>
                      <a:lnTo>
                        <a:pt x="314" y="420"/>
                      </a:lnTo>
                      <a:lnTo>
                        <a:pt x="312" y="419"/>
                      </a:lnTo>
                      <a:lnTo>
                        <a:pt x="312" y="417"/>
                      </a:lnTo>
                      <a:lnTo>
                        <a:pt x="308" y="415"/>
                      </a:lnTo>
                      <a:lnTo>
                        <a:pt x="308" y="415"/>
                      </a:lnTo>
                      <a:lnTo>
                        <a:pt x="307" y="413"/>
                      </a:lnTo>
                      <a:lnTo>
                        <a:pt x="307" y="413"/>
                      </a:lnTo>
                      <a:lnTo>
                        <a:pt x="307" y="409"/>
                      </a:lnTo>
                      <a:lnTo>
                        <a:pt x="305" y="407"/>
                      </a:lnTo>
                      <a:lnTo>
                        <a:pt x="305" y="407"/>
                      </a:lnTo>
                      <a:lnTo>
                        <a:pt x="303" y="404"/>
                      </a:lnTo>
                      <a:lnTo>
                        <a:pt x="301" y="402"/>
                      </a:lnTo>
                      <a:lnTo>
                        <a:pt x="297" y="396"/>
                      </a:lnTo>
                      <a:lnTo>
                        <a:pt x="294" y="391"/>
                      </a:lnTo>
                      <a:lnTo>
                        <a:pt x="292" y="387"/>
                      </a:lnTo>
                      <a:lnTo>
                        <a:pt x="292" y="387"/>
                      </a:lnTo>
                      <a:lnTo>
                        <a:pt x="288" y="383"/>
                      </a:lnTo>
                      <a:lnTo>
                        <a:pt x="284" y="380"/>
                      </a:lnTo>
                      <a:lnTo>
                        <a:pt x="284" y="380"/>
                      </a:lnTo>
                      <a:lnTo>
                        <a:pt x="284" y="376"/>
                      </a:lnTo>
                      <a:lnTo>
                        <a:pt x="279" y="376"/>
                      </a:lnTo>
                      <a:lnTo>
                        <a:pt x="273" y="376"/>
                      </a:lnTo>
                      <a:lnTo>
                        <a:pt x="272" y="363"/>
                      </a:lnTo>
                      <a:lnTo>
                        <a:pt x="272" y="354"/>
                      </a:lnTo>
                      <a:lnTo>
                        <a:pt x="272" y="345"/>
                      </a:lnTo>
                      <a:lnTo>
                        <a:pt x="272" y="337"/>
                      </a:lnTo>
                      <a:lnTo>
                        <a:pt x="273" y="330"/>
                      </a:lnTo>
                      <a:lnTo>
                        <a:pt x="273" y="323"/>
                      </a:lnTo>
                      <a:lnTo>
                        <a:pt x="273" y="317"/>
                      </a:lnTo>
                      <a:lnTo>
                        <a:pt x="273" y="312"/>
                      </a:lnTo>
                      <a:lnTo>
                        <a:pt x="273" y="312"/>
                      </a:lnTo>
                      <a:lnTo>
                        <a:pt x="279" y="310"/>
                      </a:lnTo>
                      <a:lnTo>
                        <a:pt x="284" y="308"/>
                      </a:lnTo>
                      <a:lnTo>
                        <a:pt x="288" y="304"/>
                      </a:lnTo>
                      <a:lnTo>
                        <a:pt x="294" y="302"/>
                      </a:lnTo>
                      <a:lnTo>
                        <a:pt x="294" y="297"/>
                      </a:lnTo>
                      <a:lnTo>
                        <a:pt x="294" y="293"/>
                      </a:lnTo>
                      <a:lnTo>
                        <a:pt x="288" y="291"/>
                      </a:lnTo>
                      <a:lnTo>
                        <a:pt x="283" y="289"/>
                      </a:lnTo>
                      <a:lnTo>
                        <a:pt x="283" y="289"/>
                      </a:lnTo>
                      <a:lnTo>
                        <a:pt x="279" y="288"/>
                      </a:lnTo>
                      <a:lnTo>
                        <a:pt x="273" y="286"/>
                      </a:lnTo>
                      <a:lnTo>
                        <a:pt x="270" y="284"/>
                      </a:lnTo>
                      <a:lnTo>
                        <a:pt x="266" y="282"/>
                      </a:lnTo>
                      <a:lnTo>
                        <a:pt x="262" y="280"/>
                      </a:lnTo>
                      <a:lnTo>
                        <a:pt x="262" y="280"/>
                      </a:lnTo>
                      <a:lnTo>
                        <a:pt x="259" y="276"/>
                      </a:lnTo>
                      <a:lnTo>
                        <a:pt x="259" y="276"/>
                      </a:lnTo>
                      <a:lnTo>
                        <a:pt x="255" y="275"/>
                      </a:lnTo>
                      <a:lnTo>
                        <a:pt x="251" y="273"/>
                      </a:lnTo>
                      <a:lnTo>
                        <a:pt x="251" y="273"/>
                      </a:lnTo>
                      <a:lnTo>
                        <a:pt x="249" y="269"/>
                      </a:lnTo>
                      <a:lnTo>
                        <a:pt x="248" y="267"/>
                      </a:lnTo>
                      <a:lnTo>
                        <a:pt x="246" y="264"/>
                      </a:lnTo>
                      <a:lnTo>
                        <a:pt x="246" y="264"/>
                      </a:lnTo>
                      <a:lnTo>
                        <a:pt x="244" y="260"/>
                      </a:lnTo>
                      <a:lnTo>
                        <a:pt x="242" y="258"/>
                      </a:lnTo>
                      <a:lnTo>
                        <a:pt x="242" y="258"/>
                      </a:lnTo>
                      <a:lnTo>
                        <a:pt x="240" y="254"/>
                      </a:lnTo>
                      <a:lnTo>
                        <a:pt x="238" y="247"/>
                      </a:lnTo>
                      <a:lnTo>
                        <a:pt x="236" y="240"/>
                      </a:lnTo>
                      <a:lnTo>
                        <a:pt x="236" y="240"/>
                      </a:lnTo>
                      <a:lnTo>
                        <a:pt x="235" y="232"/>
                      </a:lnTo>
                      <a:lnTo>
                        <a:pt x="235" y="223"/>
                      </a:lnTo>
                      <a:lnTo>
                        <a:pt x="233" y="204"/>
                      </a:lnTo>
                      <a:lnTo>
                        <a:pt x="233" y="182"/>
                      </a:lnTo>
                      <a:lnTo>
                        <a:pt x="235" y="182"/>
                      </a:lnTo>
                      <a:lnTo>
                        <a:pt x="238" y="182"/>
                      </a:lnTo>
                      <a:lnTo>
                        <a:pt x="242" y="182"/>
                      </a:lnTo>
                      <a:lnTo>
                        <a:pt x="246" y="182"/>
                      </a:lnTo>
                      <a:lnTo>
                        <a:pt x="249" y="182"/>
                      </a:lnTo>
                      <a:lnTo>
                        <a:pt x="249" y="179"/>
                      </a:lnTo>
                      <a:lnTo>
                        <a:pt x="249" y="171"/>
                      </a:lnTo>
                      <a:lnTo>
                        <a:pt x="249" y="171"/>
                      </a:lnTo>
                      <a:lnTo>
                        <a:pt x="255" y="171"/>
                      </a:lnTo>
                      <a:lnTo>
                        <a:pt x="260" y="171"/>
                      </a:lnTo>
                      <a:lnTo>
                        <a:pt x="259" y="164"/>
                      </a:lnTo>
                      <a:lnTo>
                        <a:pt x="257" y="158"/>
                      </a:lnTo>
                      <a:lnTo>
                        <a:pt x="255" y="153"/>
                      </a:lnTo>
                      <a:lnTo>
                        <a:pt x="253" y="149"/>
                      </a:lnTo>
                      <a:lnTo>
                        <a:pt x="251" y="145"/>
                      </a:lnTo>
                      <a:lnTo>
                        <a:pt x="249" y="144"/>
                      </a:lnTo>
                      <a:lnTo>
                        <a:pt x="246" y="140"/>
                      </a:lnTo>
                      <a:lnTo>
                        <a:pt x="244" y="138"/>
                      </a:lnTo>
                      <a:lnTo>
                        <a:pt x="235" y="136"/>
                      </a:lnTo>
                      <a:lnTo>
                        <a:pt x="225" y="134"/>
                      </a:lnTo>
                      <a:lnTo>
                        <a:pt x="220" y="133"/>
                      </a:lnTo>
                      <a:lnTo>
                        <a:pt x="214" y="131"/>
                      </a:lnTo>
                      <a:lnTo>
                        <a:pt x="207" y="127"/>
                      </a:lnTo>
                      <a:lnTo>
                        <a:pt x="200" y="123"/>
                      </a:lnTo>
                      <a:lnTo>
                        <a:pt x="200" y="123"/>
                      </a:lnTo>
                      <a:lnTo>
                        <a:pt x="198" y="118"/>
                      </a:lnTo>
                      <a:lnTo>
                        <a:pt x="196" y="114"/>
                      </a:lnTo>
                      <a:lnTo>
                        <a:pt x="194" y="109"/>
                      </a:lnTo>
                      <a:lnTo>
                        <a:pt x="194" y="109"/>
                      </a:lnTo>
                      <a:lnTo>
                        <a:pt x="192" y="105"/>
                      </a:lnTo>
                      <a:lnTo>
                        <a:pt x="187" y="97"/>
                      </a:lnTo>
                      <a:lnTo>
                        <a:pt x="181" y="90"/>
                      </a:lnTo>
                      <a:lnTo>
                        <a:pt x="177" y="85"/>
                      </a:lnTo>
                      <a:lnTo>
                        <a:pt x="176" y="81"/>
                      </a:lnTo>
                      <a:lnTo>
                        <a:pt x="174" y="77"/>
                      </a:lnTo>
                      <a:lnTo>
                        <a:pt x="174" y="77"/>
                      </a:lnTo>
                      <a:lnTo>
                        <a:pt x="172" y="73"/>
                      </a:lnTo>
                      <a:lnTo>
                        <a:pt x="170" y="68"/>
                      </a:lnTo>
                      <a:lnTo>
                        <a:pt x="170" y="68"/>
                      </a:lnTo>
                      <a:lnTo>
                        <a:pt x="168" y="62"/>
                      </a:lnTo>
                      <a:lnTo>
                        <a:pt x="166" y="57"/>
                      </a:lnTo>
                      <a:lnTo>
                        <a:pt x="166" y="57"/>
                      </a:lnTo>
                      <a:lnTo>
                        <a:pt x="166" y="51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4" y="49"/>
                      </a:lnTo>
                      <a:lnTo>
                        <a:pt x="163" y="49"/>
                      </a:lnTo>
                      <a:lnTo>
                        <a:pt x="163" y="49"/>
                      </a:lnTo>
                      <a:lnTo>
                        <a:pt x="161" y="49"/>
                      </a:lnTo>
                      <a:lnTo>
                        <a:pt x="161" y="49"/>
                      </a:lnTo>
                      <a:lnTo>
                        <a:pt x="161" y="48"/>
                      </a:lnTo>
                      <a:lnTo>
                        <a:pt x="161" y="48"/>
                      </a:lnTo>
                      <a:lnTo>
                        <a:pt x="159" y="42"/>
                      </a:lnTo>
                      <a:lnTo>
                        <a:pt x="155" y="31"/>
                      </a:lnTo>
                      <a:lnTo>
                        <a:pt x="157" y="31"/>
                      </a:lnTo>
                      <a:lnTo>
                        <a:pt x="163" y="31"/>
                      </a:lnTo>
                      <a:lnTo>
                        <a:pt x="168" y="31"/>
                      </a:lnTo>
                      <a:lnTo>
                        <a:pt x="168" y="31"/>
                      </a:lnTo>
                      <a:lnTo>
                        <a:pt x="168" y="35"/>
                      </a:lnTo>
                      <a:lnTo>
                        <a:pt x="168" y="38"/>
                      </a:lnTo>
                      <a:lnTo>
                        <a:pt x="168" y="40"/>
                      </a:lnTo>
                      <a:lnTo>
                        <a:pt x="168" y="44"/>
                      </a:lnTo>
                      <a:lnTo>
                        <a:pt x="168" y="46"/>
                      </a:lnTo>
                      <a:lnTo>
                        <a:pt x="170" y="48"/>
                      </a:lnTo>
                      <a:lnTo>
                        <a:pt x="176" y="48"/>
                      </a:lnTo>
                      <a:lnTo>
                        <a:pt x="183" y="48"/>
                      </a:lnTo>
                      <a:lnTo>
                        <a:pt x="183" y="48"/>
                      </a:lnTo>
                      <a:lnTo>
                        <a:pt x="188" y="48"/>
                      </a:lnTo>
                      <a:lnTo>
                        <a:pt x="196" y="48"/>
                      </a:lnTo>
                      <a:lnTo>
                        <a:pt x="194" y="42"/>
                      </a:lnTo>
                      <a:lnTo>
                        <a:pt x="194" y="37"/>
                      </a:lnTo>
                      <a:lnTo>
                        <a:pt x="194" y="31"/>
                      </a:lnTo>
                      <a:lnTo>
                        <a:pt x="194" y="25"/>
                      </a:lnTo>
                      <a:lnTo>
                        <a:pt x="181" y="20"/>
                      </a:lnTo>
                      <a:lnTo>
                        <a:pt x="172" y="16"/>
                      </a:lnTo>
                      <a:lnTo>
                        <a:pt x="168" y="14"/>
                      </a:lnTo>
                      <a:lnTo>
                        <a:pt x="168" y="14"/>
                      </a:lnTo>
                      <a:lnTo>
                        <a:pt x="166" y="11"/>
                      </a:lnTo>
                      <a:lnTo>
                        <a:pt x="163" y="9"/>
                      </a:lnTo>
                      <a:lnTo>
                        <a:pt x="163" y="9"/>
                      </a:lnTo>
                      <a:lnTo>
                        <a:pt x="159" y="5"/>
                      </a:lnTo>
                      <a:lnTo>
                        <a:pt x="157" y="7"/>
                      </a:lnTo>
                      <a:lnTo>
                        <a:pt x="155" y="11"/>
                      </a:lnTo>
                      <a:lnTo>
                        <a:pt x="153" y="13"/>
                      </a:lnTo>
                      <a:lnTo>
                        <a:pt x="152" y="16"/>
                      </a:lnTo>
                      <a:lnTo>
                        <a:pt x="152" y="16"/>
                      </a:lnTo>
                      <a:lnTo>
                        <a:pt x="148" y="16"/>
                      </a:lnTo>
                      <a:lnTo>
                        <a:pt x="144" y="16"/>
                      </a:lnTo>
                      <a:lnTo>
                        <a:pt x="140" y="16"/>
                      </a:lnTo>
                      <a:lnTo>
                        <a:pt x="140" y="16"/>
                      </a:lnTo>
                      <a:lnTo>
                        <a:pt x="137" y="16"/>
                      </a:lnTo>
                      <a:lnTo>
                        <a:pt x="137" y="16"/>
                      </a:lnTo>
                      <a:lnTo>
                        <a:pt x="131" y="14"/>
                      </a:lnTo>
                      <a:lnTo>
                        <a:pt x="131" y="14"/>
                      </a:lnTo>
                      <a:lnTo>
                        <a:pt x="126" y="11"/>
                      </a:lnTo>
                      <a:lnTo>
                        <a:pt x="120" y="9"/>
                      </a:lnTo>
                      <a:lnTo>
                        <a:pt x="115" y="5"/>
                      </a:lnTo>
                      <a:lnTo>
                        <a:pt x="109" y="1"/>
                      </a:lnTo>
                      <a:lnTo>
                        <a:pt x="102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0" name="Freeform 3205"/>
                <p:cNvSpPr>
                  <a:spLocks/>
                </p:cNvSpPr>
                <p:nvPr/>
              </p:nvSpPr>
              <p:spPr bwMode="auto">
                <a:xfrm>
                  <a:off x="5361" y="1412"/>
                  <a:ext cx="336" cy="541"/>
                </a:xfrm>
                <a:custGeom>
                  <a:avLst/>
                  <a:gdLst>
                    <a:gd name="T0" fmla="*/ 122 w 336"/>
                    <a:gd name="T1" fmla="*/ 11 h 541"/>
                    <a:gd name="T2" fmla="*/ 142 w 336"/>
                    <a:gd name="T3" fmla="*/ 18 h 541"/>
                    <a:gd name="T4" fmla="*/ 159 w 336"/>
                    <a:gd name="T5" fmla="*/ 9 h 541"/>
                    <a:gd name="T6" fmla="*/ 174 w 336"/>
                    <a:gd name="T7" fmla="*/ 18 h 541"/>
                    <a:gd name="T8" fmla="*/ 190 w 336"/>
                    <a:gd name="T9" fmla="*/ 50 h 541"/>
                    <a:gd name="T10" fmla="*/ 170 w 336"/>
                    <a:gd name="T11" fmla="*/ 42 h 541"/>
                    <a:gd name="T12" fmla="*/ 157 w 336"/>
                    <a:gd name="T13" fmla="*/ 33 h 541"/>
                    <a:gd name="T14" fmla="*/ 165 w 336"/>
                    <a:gd name="T15" fmla="*/ 51 h 541"/>
                    <a:gd name="T16" fmla="*/ 168 w 336"/>
                    <a:gd name="T17" fmla="*/ 59 h 541"/>
                    <a:gd name="T18" fmla="*/ 178 w 336"/>
                    <a:gd name="T19" fmla="*/ 83 h 541"/>
                    <a:gd name="T20" fmla="*/ 198 w 336"/>
                    <a:gd name="T21" fmla="*/ 116 h 541"/>
                    <a:gd name="T22" fmla="*/ 227 w 336"/>
                    <a:gd name="T23" fmla="*/ 136 h 541"/>
                    <a:gd name="T24" fmla="*/ 257 w 336"/>
                    <a:gd name="T25" fmla="*/ 155 h 541"/>
                    <a:gd name="T26" fmla="*/ 251 w 336"/>
                    <a:gd name="T27" fmla="*/ 181 h 541"/>
                    <a:gd name="T28" fmla="*/ 235 w 336"/>
                    <a:gd name="T29" fmla="*/ 206 h 541"/>
                    <a:gd name="T30" fmla="*/ 244 w 336"/>
                    <a:gd name="T31" fmla="*/ 260 h 541"/>
                    <a:gd name="T32" fmla="*/ 253 w 336"/>
                    <a:gd name="T33" fmla="*/ 275 h 541"/>
                    <a:gd name="T34" fmla="*/ 268 w 336"/>
                    <a:gd name="T35" fmla="*/ 284 h 541"/>
                    <a:gd name="T36" fmla="*/ 296 w 336"/>
                    <a:gd name="T37" fmla="*/ 295 h 541"/>
                    <a:gd name="T38" fmla="*/ 275 w 336"/>
                    <a:gd name="T39" fmla="*/ 314 h 541"/>
                    <a:gd name="T40" fmla="*/ 274 w 336"/>
                    <a:gd name="T41" fmla="*/ 365 h 541"/>
                    <a:gd name="T42" fmla="*/ 294 w 336"/>
                    <a:gd name="T43" fmla="*/ 389 h 541"/>
                    <a:gd name="T44" fmla="*/ 307 w 336"/>
                    <a:gd name="T45" fmla="*/ 409 h 541"/>
                    <a:gd name="T46" fmla="*/ 314 w 336"/>
                    <a:gd name="T47" fmla="*/ 421 h 541"/>
                    <a:gd name="T48" fmla="*/ 327 w 336"/>
                    <a:gd name="T49" fmla="*/ 452 h 541"/>
                    <a:gd name="T50" fmla="*/ 334 w 336"/>
                    <a:gd name="T51" fmla="*/ 539 h 541"/>
                    <a:gd name="T52" fmla="*/ 331 w 336"/>
                    <a:gd name="T53" fmla="*/ 537 h 541"/>
                    <a:gd name="T54" fmla="*/ 310 w 336"/>
                    <a:gd name="T55" fmla="*/ 522 h 541"/>
                    <a:gd name="T56" fmla="*/ 200 w 336"/>
                    <a:gd name="T57" fmla="*/ 452 h 541"/>
                    <a:gd name="T58" fmla="*/ 72 w 336"/>
                    <a:gd name="T59" fmla="*/ 363 h 541"/>
                    <a:gd name="T60" fmla="*/ 35 w 336"/>
                    <a:gd name="T61" fmla="*/ 338 h 541"/>
                    <a:gd name="T62" fmla="*/ 163 w 336"/>
                    <a:gd name="T63" fmla="*/ 428 h 541"/>
                    <a:gd name="T64" fmla="*/ 290 w 336"/>
                    <a:gd name="T65" fmla="*/ 518 h 541"/>
                    <a:gd name="T66" fmla="*/ 329 w 336"/>
                    <a:gd name="T67" fmla="*/ 535 h 541"/>
                    <a:gd name="T68" fmla="*/ 333 w 336"/>
                    <a:gd name="T69" fmla="*/ 541 h 541"/>
                    <a:gd name="T70" fmla="*/ 333 w 336"/>
                    <a:gd name="T71" fmla="*/ 470 h 541"/>
                    <a:gd name="T72" fmla="*/ 321 w 336"/>
                    <a:gd name="T73" fmla="*/ 428 h 541"/>
                    <a:gd name="T74" fmla="*/ 312 w 336"/>
                    <a:gd name="T75" fmla="*/ 415 h 541"/>
                    <a:gd name="T76" fmla="*/ 301 w 336"/>
                    <a:gd name="T77" fmla="*/ 397 h 541"/>
                    <a:gd name="T78" fmla="*/ 281 w 336"/>
                    <a:gd name="T79" fmla="*/ 376 h 541"/>
                    <a:gd name="T80" fmla="*/ 277 w 336"/>
                    <a:gd name="T81" fmla="*/ 332 h 541"/>
                    <a:gd name="T82" fmla="*/ 297 w 336"/>
                    <a:gd name="T83" fmla="*/ 306 h 541"/>
                    <a:gd name="T84" fmla="*/ 281 w 336"/>
                    <a:gd name="T85" fmla="*/ 288 h 541"/>
                    <a:gd name="T86" fmla="*/ 255 w 336"/>
                    <a:gd name="T87" fmla="*/ 273 h 541"/>
                    <a:gd name="T88" fmla="*/ 244 w 336"/>
                    <a:gd name="T89" fmla="*/ 256 h 541"/>
                    <a:gd name="T90" fmla="*/ 238 w 336"/>
                    <a:gd name="T91" fmla="*/ 234 h 541"/>
                    <a:gd name="T92" fmla="*/ 251 w 336"/>
                    <a:gd name="T93" fmla="*/ 186 h 541"/>
                    <a:gd name="T94" fmla="*/ 262 w 336"/>
                    <a:gd name="T95" fmla="*/ 166 h 541"/>
                    <a:gd name="T96" fmla="*/ 255 w 336"/>
                    <a:gd name="T97" fmla="*/ 146 h 541"/>
                    <a:gd name="T98" fmla="*/ 237 w 336"/>
                    <a:gd name="T99" fmla="*/ 136 h 541"/>
                    <a:gd name="T100" fmla="*/ 200 w 336"/>
                    <a:gd name="T101" fmla="*/ 114 h 541"/>
                    <a:gd name="T102" fmla="*/ 181 w 336"/>
                    <a:gd name="T103" fmla="*/ 87 h 541"/>
                    <a:gd name="T104" fmla="*/ 176 w 336"/>
                    <a:gd name="T105" fmla="*/ 74 h 541"/>
                    <a:gd name="T106" fmla="*/ 168 w 336"/>
                    <a:gd name="T107" fmla="*/ 50 h 541"/>
                    <a:gd name="T108" fmla="*/ 163 w 336"/>
                    <a:gd name="T109" fmla="*/ 44 h 541"/>
                    <a:gd name="T110" fmla="*/ 168 w 336"/>
                    <a:gd name="T111" fmla="*/ 46 h 541"/>
                    <a:gd name="T112" fmla="*/ 185 w 336"/>
                    <a:gd name="T113" fmla="*/ 51 h 541"/>
                    <a:gd name="T114" fmla="*/ 198 w 336"/>
                    <a:gd name="T115" fmla="*/ 27 h 541"/>
                    <a:gd name="T116" fmla="*/ 161 w 336"/>
                    <a:gd name="T117" fmla="*/ 5 h 541"/>
                    <a:gd name="T118" fmla="*/ 150 w 336"/>
                    <a:gd name="T119" fmla="*/ 16 h 541"/>
                    <a:gd name="T120" fmla="*/ 118 w 336"/>
                    <a:gd name="T121" fmla="*/ 5 h 5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36" h="541">
                      <a:moveTo>
                        <a:pt x="104" y="0"/>
                      </a:move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11" y="3"/>
                      </a:lnTo>
                      <a:lnTo>
                        <a:pt x="117" y="7"/>
                      </a:lnTo>
                      <a:lnTo>
                        <a:pt x="122" y="11"/>
                      </a:lnTo>
                      <a:lnTo>
                        <a:pt x="128" y="13"/>
                      </a:lnTo>
                      <a:lnTo>
                        <a:pt x="133" y="16"/>
                      </a:lnTo>
                      <a:lnTo>
                        <a:pt x="133" y="16"/>
                      </a:lnTo>
                      <a:lnTo>
                        <a:pt x="139" y="18"/>
                      </a:lnTo>
                      <a:lnTo>
                        <a:pt x="139" y="18"/>
                      </a:lnTo>
                      <a:lnTo>
                        <a:pt x="142" y="18"/>
                      </a:lnTo>
                      <a:lnTo>
                        <a:pt x="142" y="18"/>
                      </a:lnTo>
                      <a:lnTo>
                        <a:pt x="146" y="18"/>
                      </a:lnTo>
                      <a:lnTo>
                        <a:pt x="150" y="18"/>
                      </a:lnTo>
                      <a:lnTo>
                        <a:pt x="154" y="18"/>
                      </a:lnTo>
                      <a:lnTo>
                        <a:pt x="154" y="18"/>
                      </a:lnTo>
                      <a:lnTo>
                        <a:pt x="155" y="15"/>
                      </a:lnTo>
                      <a:lnTo>
                        <a:pt x="157" y="13"/>
                      </a:lnTo>
                      <a:lnTo>
                        <a:pt x="159" y="9"/>
                      </a:lnTo>
                      <a:lnTo>
                        <a:pt x="161" y="7"/>
                      </a:lnTo>
                      <a:lnTo>
                        <a:pt x="165" y="11"/>
                      </a:lnTo>
                      <a:lnTo>
                        <a:pt x="165" y="11"/>
                      </a:lnTo>
                      <a:lnTo>
                        <a:pt x="168" y="13"/>
                      </a:lnTo>
                      <a:lnTo>
                        <a:pt x="170" y="16"/>
                      </a:lnTo>
                      <a:lnTo>
                        <a:pt x="170" y="16"/>
                      </a:lnTo>
                      <a:lnTo>
                        <a:pt x="174" y="18"/>
                      </a:lnTo>
                      <a:lnTo>
                        <a:pt x="183" y="22"/>
                      </a:lnTo>
                      <a:lnTo>
                        <a:pt x="196" y="27"/>
                      </a:lnTo>
                      <a:lnTo>
                        <a:pt x="196" y="33"/>
                      </a:lnTo>
                      <a:lnTo>
                        <a:pt x="196" y="39"/>
                      </a:lnTo>
                      <a:lnTo>
                        <a:pt x="196" y="44"/>
                      </a:lnTo>
                      <a:lnTo>
                        <a:pt x="198" y="50"/>
                      </a:lnTo>
                      <a:lnTo>
                        <a:pt x="190" y="50"/>
                      </a:lnTo>
                      <a:lnTo>
                        <a:pt x="185" y="50"/>
                      </a:lnTo>
                      <a:lnTo>
                        <a:pt x="185" y="50"/>
                      </a:lnTo>
                      <a:lnTo>
                        <a:pt x="178" y="50"/>
                      </a:lnTo>
                      <a:lnTo>
                        <a:pt x="172" y="50"/>
                      </a:lnTo>
                      <a:lnTo>
                        <a:pt x="170" y="48"/>
                      </a:lnTo>
                      <a:lnTo>
                        <a:pt x="170" y="46"/>
                      </a:lnTo>
                      <a:lnTo>
                        <a:pt x="170" y="42"/>
                      </a:lnTo>
                      <a:lnTo>
                        <a:pt x="170" y="40"/>
                      </a:lnTo>
                      <a:lnTo>
                        <a:pt x="170" y="37"/>
                      </a:lnTo>
                      <a:lnTo>
                        <a:pt x="170" y="33"/>
                      </a:lnTo>
                      <a:lnTo>
                        <a:pt x="170" y="33"/>
                      </a:lnTo>
                      <a:lnTo>
                        <a:pt x="165" y="33"/>
                      </a:lnTo>
                      <a:lnTo>
                        <a:pt x="159" y="33"/>
                      </a:lnTo>
                      <a:lnTo>
                        <a:pt x="157" y="33"/>
                      </a:lnTo>
                      <a:lnTo>
                        <a:pt x="161" y="44"/>
                      </a:lnTo>
                      <a:lnTo>
                        <a:pt x="163" y="50"/>
                      </a:lnTo>
                      <a:lnTo>
                        <a:pt x="163" y="50"/>
                      </a:lnTo>
                      <a:lnTo>
                        <a:pt x="163" y="51"/>
                      </a:lnTo>
                      <a:lnTo>
                        <a:pt x="163" y="51"/>
                      </a:lnTo>
                      <a:lnTo>
                        <a:pt x="165" y="51"/>
                      </a:lnTo>
                      <a:lnTo>
                        <a:pt x="165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8" y="53"/>
                      </a:lnTo>
                      <a:lnTo>
                        <a:pt x="168" y="59"/>
                      </a:lnTo>
                      <a:lnTo>
                        <a:pt x="168" y="59"/>
                      </a:lnTo>
                      <a:lnTo>
                        <a:pt x="170" y="64"/>
                      </a:lnTo>
                      <a:lnTo>
                        <a:pt x="172" y="70"/>
                      </a:lnTo>
                      <a:lnTo>
                        <a:pt x="172" y="70"/>
                      </a:lnTo>
                      <a:lnTo>
                        <a:pt x="174" y="75"/>
                      </a:lnTo>
                      <a:lnTo>
                        <a:pt x="176" y="79"/>
                      </a:lnTo>
                      <a:lnTo>
                        <a:pt x="176" y="79"/>
                      </a:lnTo>
                      <a:lnTo>
                        <a:pt x="178" y="83"/>
                      </a:lnTo>
                      <a:lnTo>
                        <a:pt x="179" y="87"/>
                      </a:lnTo>
                      <a:lnTo>
                        <a:pt x="183" y="92"/>
                      </a:lnTo>
                      <a:lnTo>
                        <a:pt x="189" y="99"/>
                      </a:lnTo>
                      <a:lnTo>
                        <a:pt x="194" y="107"/>
                      </a:lnTo>
                      <a:lnTo>
                        <a:pt x="196" y="111"/>
                      </a:lnTo>
                      <a:lnTo>
                        <a:pt x="196" y="111"/>
                      </a:lnTo>
                      <a:lnTo>
                        <a:pt x="198" y="116"/>
                      </a:lnTo>
                      <a:lnTo>
                        <a:pt x="200" y="120"/>
                      </a:lnTo>
                      <a:lnTo>
                        <a:pt x="202" y="125"/>
                      </a:lnTo>
                      <a:lnTo>
                        <a:pt x="202" y="125"/>
                      </a:lnTo>
                      <a:lnTo>
                        <a:pt x="209" y="129"/>
                      </a:lnTo>
                      <a:lnTo>
                        <a:pt x="216" y="133"/>
                      </a:lnTo>
                      <a:lnTo>
                        <a:pt x="222" y="135"/>
                      </a:lnTo>
                      <a:lnTo>
                        <a:pt x="227" y="136"/>
                      </a:lnTo>
                      <a:lnTo>
                        <a:pt x="237" y="138"/>
                      </a:lnTo>
                      <a:lnTo>
                        <a:pt x="246" y="140"/>
                      </a:lnTo>
                      <a:lnTo>
                        <a:pt x="248" y="142"/>
                      </a:lnTo>
                      <a:lnTo>
                        <a:pt x="251" y="146"/>
                      </a:lnTo>
                      <a:lnTo>
                        <a:pt x="253" y="147"/>
                      </a:lnTo>
                      <a:lnTo>
                        <a:pt x="255" y="151"/>
                      </a:lnTo>
                      <a:lnTo>
                        <a:pt x="257" y="155"/>
                      </a:lnTo>
                      <a:lnTo>
                        <a:pt x="259" y="160"/>
                      </a:lnTo>
                      <a:lnTo>
                        <a:pt x="261" y="166"/>
                      </a:lnTo>
                      <a:lnTo>
                        <a:pt x="262" y="173"/>
                      </a:lnTo>
                      <a:lnTo>
                        <a:pt x="257" y="173"/>
                      </a:lnTo>
                      <a:lnTo>
                        <a:pt x="251" y="173"/>
                      </a:lnTo>
                      <a:lnTo>
                        <a:pt x="251" y="173"/>
                      </a:lnTo>
                      <a:lnTo>
                        <a:pt x="251" y="181"/>
                      </a:lnTo>
                      <a:lnTo>
                        <a:pt x="251" y="184"/>
                      </a:lnTo>
                      <a:lnTo>
                        <a:pt x="248" y="184"/>
                      </a:lnTo>
                      <a:lnTo>
                        <a:pt x="244" y="184"/>
                      </a:lnTo>
                      <a:lnTo>
                        <a:pt x="240" y="184"/>
                      </a:lnTo>
                      <a:lnTo>
                        <a:pt x="237" y="184"/>
                      </a:lnTo>
                      <a:lnTo>
                        <a:pt x="235" y="184"/>
                      </a:lnTo>
                      <a:lnTo>
                        <a:pt x="235" y="206"/>
                      </a:lnTo>
                      <a:lnTo>
                        <a:pt x="237" y="225"/>
                      </a:lnTo>
                      <a:lnTo>
                        <a:pt x="237" y="234"/>
                      </a:lnTo>
                      <a:lnTo>
                        <a:pt x="238" y="242"/>
                      </a:lnTo>
                      <a:lnTo>
                        <a:pt x="238" y="242"/>
                      </a:lnTo>
                      <a:lnTo>
                        <a:pt x="240" y="249"/>
                      </a:lnTo>
                      <a:lnTo>
                        <a:pt x="242" y="256"/>
                      </a:lnTo>
                      <a:lnTo>
                        <a:pt x="244" y="260"/>
                      </a:lnTo>
                      <a:lnTo>
                        <a:pt x="244" y="260"/>
                      </a:lnTo>
                      <a:lnTo>
                        <a:pt x="246" y="262"/>
                      </a:lnTo>
                      <a:lnTo>
                        <a:pt x="248" y="266"/>
                      </a:lnTo>
                      <a:lnTo>
                        <a:pt x="248" y="266"/>
                      </a:lnTo>
                      <a:lnTo>
                        <a:pt x="250" y="269"/>
                      </a:lnTo>
                      <a:lnTo>
                        <a:pt x="251" y="271"/>
                      </a:lnTo>
                      <a:lnTo>
                        <a:pt x="253" y="275"/>
                      </a:lnTo>
                      <a:lnTo>
                        <a:pt x="253" y="275"/>
                      </a:lnTo>
                      <a:lnTo>
                        <a:pt x="257" y="277"/>
                      </a:lnTo>
                      <a:lnTo>
                        <a:pt x="261" y="278"/>
                      </a:lnTo>
                      <a:lnTo>
                        <a:pt x="261" y="278"/>
                      </a:lnTo>
                      <a:lnTo>
                        <a:pt x="264" y="282"/>
                      </a:lnTo>
                      <a:lnTo>
                        <a:pt x="264" y="282"/>
                      </a:lnTo>
                      <a:lnTo>
                        <a:pt x="268" y="284"/>
                      </a:lnTo>
                      <a:lnTo>
                        <a:pt x="272" y="286"/>
                      </a:lnTo>
                      <a:lnTo>
                        <a:pt x="275" y="288"/>
                      </a:lnTo>
                      <a:lnTo>
                        <a:pt x="281" y="290"/>
                      </a:lnTo>
                      <a:lnTo>
                        <a:pt x="285" y="291"/>
                      </a:lnTo>
                      <a:lnTo>
                        <a:pt x="285" y="291"/>
                      </a:lnTo>
                      <a:lnTo>
                        <a:pt x="290" y="293"/>
                      </a:lnTo>
                      <a:lnTo>
                        <a:pt x="296" y="295"/>
                      </a:lnTo>
                      <a:lnTo>
                        <a:pt x="296" y="299"/>
                      </a:lnTo>
                      <a:lnTo>
                        <a:pt x="296" y="304"/>
                      </a:lnTo>
                      <a:lnTo>
                        <a:pt x="290" y="306"/>
                      </a:lnTo>
                      <a:lnTo>
                        <a:pt x="286" y="310"/>
                      </a:lnTo>
                      <a:lnTo>
                        <a:pt x="281" y="312"/>
                      </a:lnTo>
                      <a:lnTo>
                        <a:pt x="275" y="314"/>
                      </a:lnTo>
                      <a:lnTo>
                        <a:pt x="275" y="314"/>
                      </a:lnTo>
                      <a:lnTo>
                        <a:pt x="275" y="319"/>
                      </a:lnTo>
                      <a:lnTo>
                        <a:pt x="275" y="325"/>
                      </a:lnTo>
                      <a:lnTo>
                        <a:pt x="275" y="332"/>
                      </a:lnTo>
                      <a:lnTo>
                        <a:pt x="274" y="339"/>
                      </a:lnTo>
                      <a:lnTo>
                        <a:pt x="274" y="347"/>
                      </a:lnTo>
                      <a:lnTo>
                        <a:pt x="274" y="356"/>
                      </a:lnTo>
                      <a:lnTo>
                        <a:pt x="274" y="365"/>
                      </a:lnTo>
                      <a:lnTo>
                        <a:pt x="275" y="378"/>
                      </a:lnTo>
                      <a:lnTo>
                        <a:pt x="281" y="378"/>
                      </a:lnTo>
                      <a:lnTo>
                        <a:pt x="286" y="378"/>
                      </a:lnTo>
                      <a:lnTo>
                        <a:pt x="286" y="382"/>
                      </a:lnTo>
                      <a:lnTo>
                        <a:pt x="286" y="382"/>
                      </a:lnTo>
                      <a:lnTo>
                        <a:pt x="290" y="385"/>
                      </a:lnTo>
                      <a:lnTo>
                        <a:pt x="294" y="389"/>
                      </a:lnTo>
                      <a:lnTo>
                        <a:pt x="294" y="389"/>
                      </a:lnTo>
                      <a:lnTo>
                        <a:pt x="296" y="393"/>
                      </a:lnTo>
                      <a:lnTo>
                        <a:pt x="299" y="398"/>
                      </a:lnTo>
                      <a:lnTo>
                        <a:pt x="303" y="404"/>
                      </a:lnTo>
                      <a:lnTo>
                        <a:pt x="305" y="406"/>
                      </a:lnTo>
                      <a:lnTo>
                        <a:pt x="307" y="409"/>
                      </a:lnTo>
                      <a:lnTo>
                        <a:pt x="307" y="409"/>
                      </a:lnTo>
                      <a:lnTo>
                        <a:pt x="309" y="411"/>
                      </a:lnTo>
                      <a:lnTo>
                        <a:pt x="309" y="415"/>
                      </a:lnTo>
                      <a:lnTo>
                        <a:pt x="309" y="415"/>
                      </a:lnTo>
                      <a:lnTo>
                        <a:pt x="310" y="417"/>
                      </a:lnTo>
                      <a:lnTo>
                        <a:pt x="310" y="417"/>
                      </a:lnTo>
                      <a:lnTo>
                        <a:pt x="314" y="419"/>
                      </a:lnTo>
                      <a:lnTo>
                        <a:pt x="314" y="421"/>
                      </a:lnTo>
                      <a:lnTo>
                        <a:pt x="316" y="422"/>
                      </a:lnTo>
                      <a:lnTo>
                        <a:pt x="318" y="424"/>
                      </a:lnTo>
                      <a:lnTo>
                        <a:pt x="320" y="428"/>
                      </a:lnTo>
                      <a:lnTo>
                        <a:pt x="321" y="432"/>
                      </a:lnTo>
                      <a:lnTo>
                        <a:pt x="323" y="435"/>
                      </a:lnTo>
                      <a:lnTo>
                        <a:pt x="325" y="443"/>
                      </a:lnTo>
                      <a:lnTo>
                        <a:pt x="327" y="452"/>
                      </a:lnTo>
                      <a:lnTo>
                        <a:pt x="329" y="461"/>
                      </a:lnTo>
                      <a:lnTo>
                        <a:pt x="331" y="470"/>
                      </a:lnTo>
                      <a:lnTo>
                        <a:pt x="333" y="491"/>
                      </a:lnTo>
                      <a:lnTo>
                        <a:pt x="334" y="511"/>
                      </a:lnTo>
                      <a:lnTo>
                        <a:pt x="334" y="528"/>
                      </a:lnTo>
                      <a:lnTo>
                        <a:pt x="336" y="539"/>
                      </a:lnTo>
                      <a:lnTo>
                        <a:pt x="334" y="539"/>
                      </a:lnTo>
                      <a:lnTo>
                        <a:pt x="333" y="539"/>
                      </a:lnTo>
                      <a:lnTo>
                        <a:pt x="333" y="539"/>
                      </a:lnTo>
                      <a:lnTo>
                        <a:pt x="333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5"/>
                      </a:lnTo>
                      <a:lnTo>
                        <a:pt x="331" y="531"/>
                      </a:lnTo>
                      <a:lnTo>
                        <a:pt x="331" y="528"/>
                      </a:lnTo>
                      <a:lnTo>
                        <a:pt x="331" y="528"/>
                      </a:lnTo>
                      <a:lnTo>
                        <a:pt x="321" y="526"/>
                      </a:lnTo>
                      <a:lnTo>
                        <a:pt x="310" y="522"/>
                      </a:lnTo>
                      <a:lnTo>
                        <a:pt x="299" y="520"/>
                      </a:lnTo>
                      <a:lnTo>
                        <a:pt x="290" y="517"/>
                      </a:lnTo>
                      <a:lnTo>
                        <a:pt x="272" y="504"/>
                      </a:lnTo>
                      <a:lnTo>
                        <a:pt x="253" y="491"/>
                      </a:lnTo>
                      <a:lnTo>
                        <a:pt x="235" y="478"/>
                      </a:lnTo>
                      <a:lnTo>
                        <a:pt x="218" y="465"/>
                      </a:lnTo>
                      <a:lnTo>
                        <a:pt x="200" y="452"/>
                      </a:lnTo>
                      <a:lnTo>
                        <a:pt x="181" y="439"/>
                      </a:lnTo>
                      <a:lnTo>
                        <a:pt x="163" y="426"/>
                      </a:lnTo>
                      <a:lnTo>
                        <a:pt x="146" y="413"/>
                      </a:lnTo>
                      <a:lnTo>
                        <a:pt x="128" y="400"/>
                      </a:lnTo>
                      <a:lnTo>
                        <a:pt x="109" y="389"/>
                      </a:lnTo>
                      <a:lnTo>
                        <a:pt x="91" y="376"/>
                      </a:lnTo>
                      <a:lnTo>
                        <a:pt x="72" y="363"/>
                      </a:lnTo>
                      <a:lnTo>
                        <a:pt x="56" y="350"/>
                      </a:lnTo>
                      <a:lnTo>
                        <a:pt x="37" y="338"/>
                      </a:lnTo>
                      <a:lnTo>
                        <a:pt x="19" y="325"/>
                      </a:lnTo>
                      <a:lnTo>
                        <a:pt x="2" y="312"/>
                      </a:lnTo>
                      <a:lnTo>
                        <a:pt x="0" y="314"/>
                      </a:lnTo>
                      <a:lnTo>
                        <a:pt x="19" y="325"/>
                      </a:lnTo>
                      <a:lnTo>
                        <a:pt x="35" y="338"/>
                      </a:lnTo>
                      <a:lnTo>
                        <a:pt x="54" y="350"/>
                      </a:lnTo>
                      <a:lnTo>
                        <a:pt x="72" y="363"/>
                      </a:lnTo>
                      <a:lnTo>
                        <a:pt x="91" y="376"/>
                      </a:lnTo>
                      <a:lnTo>
                        <a:pt x="107" y="389"/>
                      </a:lnTo>
                      <a:lnTo>
                        <a:pt x="126" y="402"/>
                      </a:lnTo>
                      <a:lnTo>
                        <a:pt x="144" y="415"/>
                      </a:lnTo>
                      <a:lnTo>
                        <a:pt x="163" y="428"/>
                      </a:lnTo>
                      <a:lnTo>
                        <a:pt x="179" y="441"/>
                      </a:lnTo>
                      <a:lnTo>
                        <a:pt x="198" y="454"/>
                      </a:lnTo>
                      <a:lnTo>
                        <a:pt x="216" y="467"/>
                      </a:lnTo>
                      <a:lnTo>
                        <a:pt x="235" y="480"/>
                      </a:lnTo>
                      <a:lnTo>
                        <a:pt x="253" y="493"/>
                      </a:lnTo>
                      <a:lnTo>
                        <a:pt x="272" y="505"/>
                      </a:lnTo>
                      <a:lnTo>
                        <a:pt x="290" y="518"/>
                      </a:lnTo>
                      <a:lnTo>
                        <a:pt x="299" y="520"/>
                      </a:lnTo>
                      <a:lnTo>
                        <a:pt x="310" y="524"/>
                      </a:lnTo>
                      <a:lnTo>
                        <a:pt x="320" y="526"/>
                      </a:lnTo>
                      <a:lnTo>
                        <a:pt x="329" y="529"/>
                      </a:lnTo>
                      <a:lnTo>
                        <a:pt x="329" y="531"/>
                      </a:lnTo>
                      <a:lnTo>
                        <a:pt x="329" y="535"/>
                      </a:lnTo>
                      <a:lnTo>
                        <a:pt x="329" y="535"/>
                      </a:lnTo>
                      <a:lnTo>
                        <a:pt x="331" y="537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3" y="541"/>
                      </a:lnTo>
                      <a:lnTo>
                        <a:pt x="333" y="541"/>
                      </a:lnTo>
                      <a:lnTo>
                        <a:pt x="334" y="541"/>
                      </a:lnTo>
                      <a:lnTo>
                        <a:pt x="336" y="541"/>
                      </a:lnTo>
                      <a:lnTo>
                        <a:pt x="336" y="541"/>
                      </a:lnTo>
                      <a:lnTo>
                        <a:pt x="336" y="528"/>
                      </a:lnTo>
                      <a:lnTo>
                        <a:pt x="336" y="511"/>
                      </a:lnTo>
                      <a:lnTo>
                        <a:pt x="334" y="491"/>
                      </a:lnTo>
                      <a:lnTo>
                        <a:pt x="333" y="470"/>
                      </a:lnTo>
                      <a:lnTo>
                        <a:pt x="331" y="461"/>
                      </a:lnTo>
                      <a:lnTo>
                        <a:pt x="329" y="452"/>
                      </a:lnTo>
                      <a:lnTo>
                        <a:pt x="327" y="443"/>
                      </a:lnTo>
                      <a:lnTo>
                        <a:pt x="323" y="433"/>
                      </a:lnTo>
                      <a:lnTo>
                        <a:pt x="323" y="430"/>
                      </a:lnTo>
                      <a:lnTo>
                        <a:pt x="321" y="428"/>
                      </a:lnTo>
                      <a:lnTo>
                        <a:pt x="321" y="428"/>
                      </a:lnTo>
                      <a:lnTo>
                        <a:pt x="320" y="424"/>
                      </a:lnTo>
                      <a:lnTo>
                        <a:pt x="318" y="422"/>
                      </a:lnTo>
                      <a:lnTo>
                        <a:pt x="318" y="421"/>
                      </a:lnTo>
                      <a:lnTo>
                        <a:pt x="316" y="419"/>
                      </a:lnTo>
                      <a:lnTo>
                        <a:pt x="314" y="417"/>
                      </a:lnTo>
                      <a:lnTo>
                        <a:pt x="314" y="417"/>
                      </a:lnTo>
                      <a:lnTo>
                        <a:pt x="312" y="415"/>
                      </a:lnTo>
                      <a:lnTo>
                        <a:pt x="310" y="415"/>
                      </a:lnTo>
                      <a:lnTo>
                        <a:pt x="309" y="411"/>
                      </a:lnTo>
                      <a:lnTo>
                        <a:pt x="307" y="408"/>
                      </a:lnTo>
                      <a:lnTo>
                        <a:pt x="307" y="406"/>
                      </a:lnTo>
                      <a:lnTo>
                        <a:pt x="307" y="406"/>
                      </a:lnTo>
                      <a:lnTo>
                        <a:pt x="305" y="402"/>
                      </a:lnTo>
                      <a:lnTo>
                        <a:pt x="301" y="397"/>
                      </a:lnTo>
                      <a:lnTo>
                        <a:pt x="297" y="393"/>
                      </a:lnTo>
                      <a:lnTo>
                        <a:pt x="294" y="387"/>
                      </a:lnTo>
                      <a:lnTo>
                        <a:pt x="292" y="384"/>
                      </a:lnTo>
                      <a:lnTo>
                        <a:pt x="288" y="380"/>
                      </a:lnTo>
                      <a:lnTo>
                        <a:pt x="286" y="376"/>
                      </a:lnTo>
                      <a:lnTo>
                        <a:pt x="286" y="376"/>
                      </a:lnTo>
                      <a:lnTo>
                        <a:pt x="281" y="376"/>
                      </a:lnTo>
                      <a:lnTo>
                        <a:pt x="275" y="376"/>
                      </a:lnTo>
                      <a:lnTo>
                        <a:pt x="275" y="365"/>
                      </a:lnTo>
                      <a:lnTo>
                        <a:pt x="275" y="356"/>
                      </a:lnTo>
                      <a:lnTo>
                        <a:pt x="275" y="347"/>
                      </a:lnTo>
                      <a:lnTo>
                        <a:pt x="275" y="339"/>
                      </a:lnTo>
                      <a:lnTo>
                        <a:pt x="277" y="332"/>
                      </a:lnTo>
                      <a:lnTo>
                        <a:pt x="277" y="332"/>
                      </a:lnTo>
                      <a:lnTo>
                        <a:pt x="277" y="325"/>
                      </a:lnTo>
                      <a:lnTo>
                        <a:pt x="277" y="319"/>
                      </a:lnTo>
                      <a:lnTo>
                        <a:pt x="277" y="315"/>
                      </a:lnTo>
                      <a:lnTo>
                        <a:pt x="281" y="314"/>
                      </a:lnTo>
                      <a:lnTo>
                        <a:pt x="286" y="310"/>
                      </a:lnTo>
                      <a:lnTo>
                        <a:pt x="292" y="308"/>
                      </a:lnTo>
                      <a:lnTo>
                        <a:pt x="297" y="306"/>
                      </a:lnTo>
                      <a:lnTo>
                        <a:pt x="297" y="306"/>
                      </a:lnTo>
                      <a:lnTo>
                        <a:pt x="297" y="299"/>
                      </a:lnTo>
                      <a:lnTo>
                        <a:pt x="297" y="295"/>
                      </a:lnTo>
                      <a:lnTo>
                        <a:pt x="297" y="293"/>
                      </a:lnTo>
                      <a:lnTo>
                        <a:pt x="292" y="291"/>
                      </a:lnTo>
                      <a:lnTo>
                        <a:pt x="286" y="290"/>
                      </a:lnTo>
                      <a:lnTo>
                        <a:pt x="281" y="288"/>
                      </a:lnTo>
                      <a:lnTo>
                        <a:pt x="275" y="286"/>
                      </a:lnTo>
                      <a:lnTo>
                        <a:pt x="272" y="284"/>
                      </a:lnTo>
                      <a:lnTo>
                        <a:pt x="268" y="282"/>
                      </a:lnTo>
                      <a:lnTo>
                        <a:pt x="264" y="280"/>
                      </a:lnTo>
                      <a:lnTo>
                        <a:pt x="261" y="278"/>
                      </a:lnTo>
                      <a:lnTo>
                        <a:pt x="259" y="275"/>
                      </a:lnTo>
                      <a:lnTo>
                        <a:pt x="255" y="273"/>
                      </a:lnTo>
                      <a:lnTo>
                        <a:pt x="253" y="271"/>
                      </a:lnTo>
                      <a:lnTo>
                        <a:pt x="251" y="267"/>
                      </a:lnTo>
                      <a:lnTo>
                        <a:pt x="248" y="266"/>
                      </a:lnTo>
                      <a:lnTo>
                        <a:pt x="248" y="262"/>
                      </a:lnTo>
                      <a:lnTo>
                        <a:pt x="246" y="262"/>
                      </a:lnTo>
                      <a:lnTo>
                        <a:pt x="244" y="258"/>
                      </a:lnTo>
                      <a:lnTo>
                        <a:pt x="244" y="256"/>
                      </a:lnTo>
                      <a:lnTo>
                        <a:pt x="242" y="256"/>
                      </a:lnTo>
                      <a:lnTo>
                        <a:pt x="244" y="256"/>
                      </a:lnTo>
                      <a:lnTo>
                        <a:pt x="242" y="256"/>
                      </a:lnTo>
                      <a:lnTo>
                        <a:pt x="244" y="256"/>
                      </a:lnTo>
                      <a:lnTo>
                        <a:pt x="242" y="249"/>
                      </a:lnTo>
                      <a:lnTo>
                        <a:pt x="240" y="242"/>
                      </a:lnTo>
                      <a:lnTo>
                        <a:pt x="238" y="234"/>
                      </a:lnTo>
                      <a:lnTo>
                        <a:pt x="238" y="225"/>
                      </a:lnTo>
                      <a:lnTo>
                        <a:pt x="237" y="206"/>
                      </a:lnTo>
                      <a:lnTo>
                        <a:pt x="237" y="186"/>
                      </a:lnTo>
                      <a:lnTo>
                        <a:pt x="240" y="186"/>
                      </a:lnTo>
                      <a:lnTo>
                        <a:pt x="244" y="186"/>
                      </a:lnTo>
                      <a:lnTo>
                        <a:pt x="248" y="186"/>
                      </a:lnTo>
                      <a:lnTo>
                        <a:pt x="251" y="186"/>
                      </a:lnTo>
                      <a:lnTo>
                        <a:pt x="253" y="186"/>
                      </a:lnTo>
                      <a:lnTo>
                        <a:pt x="253" y="181"/>
                      </a:lnTo>
                      <a:lnTo>
                        <a:pt x="253" y="175"/>
                      </a:lnTo>
                      <a:lnTo>
                        <a:pt x="257" y="175"/>
                      </a:lnTo>
                      <a:lnTo>
                        <a:pt x="262" y="175"/>
                      </a:lnTo>
                      <a:lnTo>
                        <a:pt x="264" y="175"/>
                      </a:lnTo>
                      <a:lnTo>
                        <a:pt x="262" y="166"/>
                      </a:lnTo>
                      <a:lnTo>
                        <a:pt x="262" y="166"/>
                      </a:lnTo>
                      <a:lnTo>
                        <a:pt x="261" y="160"/>
                      </a:lnTo>
                      <a:lnTo>
                        <a:pt x="261" y="160"/>
                      </a:lnTo>
                      <a:lnTo>
                        <a:pt x="259" y="155"/>
                      </a:lnTo>
                      <a:lnTo>
                        <a:pt x="257" y="149"/>
                      </a:lnTo>
                      <a:lnTo>
                        <a:pt x="257" y="149"/>
                      </a:lnTo>
                      <a:lnTo>
                        <a:pt x="255" y="146"/>
                      </a:lnTo>
                      <a:lnTo>
                        <a:pt x="255" y="146"/>
                      </a:lnTo>
                      <a:lnTo>
                        <a:pt x="251" y="144"/>
                      </a:lnTo>
                      <a:lnTo>
                        <a:pt x="250" y="142"/>
                      </a:lnTo>
                      <a:lnTo>
                        <a:pt x="250" y="142"/>
                      </a:lnTo>
                      <a:lnTo>
                        <a:pt x="246" y="140"/>
                      </a:lnTo>
                      <a:lnTo>
                        <a:pt x="246" y="140"/>
                      </a:lnTo>
                      <a:lnTo>
                        <a:pt x="237" y="136"/>
                      </a:lnTo>
                      <a:lnTo>
                        <a:pt x="227" y="135"/>
                      </a:lnTo>
                      <a:lnTo>
                        <a:pt x="222" y="133"/>
                      </a:lnTo>
                      <a:lnTo>
                        <a:pt x="216" y="131"/>
                      </a:lnTo>
                      <a:lnTo>
                        <a:pt x="211" y="127"/>
                      </a:lnTo>
                      <a:lnTo>
                        <a:pt x="203" y="125"/>
                      </a:lnTo>
                      <a:lnTo>
                        <a:pt x="202" y="120"/>
                      </a:lnTo>
                      <a:lnTo>
                        <a:pt x="200" y="114"/>
                      </a:lnTo>
                      <a:lnTo>
                        <a:pt x="200" y="114"/>
                      </a:lnTo>
                      <a:lnTo>
                        <a:pt x="198" y="111"/>
                      </a:lnTo>
                      <a:lnTo>
                        <a:pt x="194" y="107"/>
                      </a:lnTo>
                      <a:lnTo>
                        <a:pt x="194" y="107"/>
                      </a:lnTo>
                      <a:lnTo>
                        <a:pt x="189" y="98"/>
                      </a:lnTo>
                      <a:lnTo>
                        <a:pt x="185" y="90"/>
                      </a:lnTo>
                      <a:lnTo>
                        <a:pt x="181" y="87"/>
                      </a:lnTo>
                      <a:lnTo>
                        <a:pt x="179" y="83"/>
                      </a:lnTo>
                      <a:lnTo>
                        <a:pt x="178" y="79"/>
                      </a:lnTo>
                      <a:lnTo>
                        <a:pt x="176" y="74"/>
                      </a:lnTo>
                      <a:lnTo>
                        <a:pt x="174" y="74"/>
                      </a:lnTo>
                      <a:lnTo>
                        <a:pt x="176" y="74"/>
                      </a:lnTo>
                      <a:lnTo>
                        <a:pt x="174" y="74"/>
                      </a:lnTo>
                      <a:lnTo>
                        <a:pt x="176" y="74"/>
                      </a:lnTo>
                      <a:lnTo>
                        <a:pt x="172" y="70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0" y="59"/>
                      </a:lnTo>
                      <a:lnTo>
                        <a:pt x="170" y="51"/>
                      </a:lnTo>
                      <a:lnTo>
                        <a:pt x="170" y="51"/>
                      </a:lnTo>
                      <a:lnTo>
                        <a:pt x="168" y="50"/>
                      </a:lnTo>
                      <a:lnTo>
                        <a:pt x="166" y="50"/>
                      </a:lnTo>
                      <a:lnTo>
                        <a:pt x="166" y="48"/>
                      </a:lnTo>
                      <a:lnTo>
                        <a:pt x="165" y="50"/>
                      </a:lnTo>
                      <a:lnTo>
                        <a:pt x="165" y="50"/>
                      </a:lnTo>
                      <a:lnTo>
                        <a:pt x="165" y="50"/>
                      </a:lnTo>
                      <a:lnTo>
                        <a:pt x="163" y="50"/>
                      </a:lnTo>
                      <a:lnTo>
                        <a:pt x="163" y="44"/>
                      </a:lnTo>
                      <a:lnTo>
                        <a:pt x="159" y="33"/>
                      </a:lnTo>
                      <a:lnTo>
                        <a:pt x="165" y="33"/>
                      </a:lnTo>
                      <a:lnTo>
                        <a:pt x="168" y="33"/>
                      </a:lnTo>
                      <a:lnTo>
                        <a:pt x="168" y="37"/>
                      </a:lnTo>
                      <a:lnTo>
                        <a:pt x="168" y="40"/>
                      </a:lnTo>
                      <a:lnTo>
                        <a:pt x="168" y="42"/>
                      </a:lnTo>
                      <a:lnTo>
                        <a:pt x="168" y="46"/>
                      </a:lnTo>
                      <a:lnTo>
                        <a:pt x="168" y="46"/>
                      </a:lnTo>
                      <a:lnTo>
                        <a:pt x="170" y="48"/>
                      </a:lnTo>
                      <a:lnTo>
                        <a:pt x="172" y="50"/>
                      </a:lnTo>
                      <a:lnTo>
                        <a:pt x="172" y="50"/>
                      </a:lnTo>
                      <a:lnTo>
                        <a:pt x="178" y="51"/>
                      </a:lnTo>
                      <a:lnTo>
                        <a:pt x="178" y="51"/>
                      </a:lnTo>
                      <a:lnTo>
                        <a:pt x="185" y="51"/>
                      </a:lnTo>
                      <a:lnTo>
                        <a:pt x="190" y="51"/>
                      </a:lnTo>
                      <a:lnTo>
                        <a:pt x="198" y="51"/>
                      </a:lnTo>
                      <a:lnTo>
                        <a:pt x="198" y="51"/>
                      </a:lnTo>
                      <a:lnTo>
                        <a:pt x="198" y="44"/>
                      </a:lnTo>
                      <a:lnTo>
                        <a:pt x="198" y="39"/>
                      </a:lnTo>
                      <a:lnTo>
                        <a:pt x="198" y="33"/>
                      </a:lnTo>
                      <a:lnTo>
                        <a:pt x="198" y="27"/>
                      </a:lnTo>
                      <a:lnTo>
                        <a:pt x="198" y="27"/>
                      </a:lnTo>
                      <a:lnTo>
                        <a:pt x="183" y="20"/>
                      </a:lnTo>
                      <a:lnTo>
                        <a:pt x="176" y="16"/>
                      </a:lnTo>
                      <a:lnTo>
                        <a:pt x="172" y="15"/>
                      </a:lnTo>
                      <a:lnTo>
                        <a:pt x="168" y="13"/>
                      </a:lnTo>
                      <a:lnTo>
                        <a:pt x="165" y="9"/>
                      </a:lnTo>
                      <a:lnTo>
                        <a:pt x="161" y="5"/>
                      </a:lnTo>
                      <a:lnTo>
                        <a:pt x="161" y="5"/>
                      </a:lnTo>
                      <a:lnTo>
                        <a:pt x="159" y="9"/>
                      </a:lnTo>
                      <a:lnTo>
                        <a:pt x="157" y="11"/>
                      </a:lnTo>
                      <a:lnTo>
                        <a:pt x="155" y="15"/>
                      </a:lnTo>
                      <a:lnTo>
                        <a:pt x="155" y="15"/>
                      </a:lnTo>
                      <a:lnTo>
                        <a:pt x="154" y="16"/>
                      </a:lnTo>
                      <a:lnTo>
                        <a:pt x="150" y="16"/>
                      </a:lnTo>
                      <a:lnTo>
                        <a:pt x="146" y="16"/>
                      </a:lnTo>
                      <a:lnTo>
                        <a:pt x="142" y="16"/>
                      </a:lnTo>
                      <a:lnTo>
                        <a:pt x="141" y="16"/>
                      </a:lnTo>
                      <a:lnTo>
                        <a:pt x="133" y="15"/>
                      </a:lnTo>
                      <a:lnTo>
                        <a:pt x="130" y="13"/>
                      </a:lnTo>
                      <a:lnTo>
                        <a:pt x="122" y="9"/>
                      </a:lnTo>
                      <a:lnTo>
                        <a:pt x="118" y="5"/>
                      </a:lnTo>
                      <a:lnTo>
                        <a:pt x="118" y="5"/>
                      </a:lnTo>
                      <a:lnTo>
                        <a:pt x="111" y="3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1" name="Freeform 3206"/>
                <p:cNvSpPr>
                  <a:spLocks/>
                </p:cNvSpPr>
                <p:nvPr/>
              </p:nvSpPr>
              <p:spPr bwMode="auto">
                <a:xfrm>
                  <a:off x="5361" y="1412"/>
                  <a:ext cx="336" cy="541"/>
                </a:xfrm>
                <a:custGeom>
                  <a:avLst/>
                  <a:gdLst>
                    <a:gd name="T0" fmla="*/ 122 w 336"/>
                    <a:gd name="T1" fmla="*/ 11 h 541"/>
                    <a:gd name="T2" fmla="*/ 142 w 336"/>
                    <a:gd name="T3" fmla="*/ 18 h 541"/>
                    <a:gd name="T4" fmla="*/ 159 w 336"/>
                    <a:gd name="T5" fmla="*/ 9 h 541"/>
                    <a:gd name="T6" fmla="*/ 174 w 336"/>
                    <a:gd name="T7" fmla="*/ 18 h 541"/>
                    <a:gd name="T8" fmla="*/ 190 w 336"/>
                    <a:gd name="T9" fmla="*/ 50 h 541"/>
                    <a:gd name="T10" fmla="*/ 170 w 336"/>
                    <a:gd name="T11" fmla="*/ 42 h 541"/>
                    <a:gd name="T12" fmla="*/ 157 w 336"/>
                    <a:gd name="T13" fmla="*/ 33 h 541"/>
                    <a:gd name="T14" fmla="*/ 165 w 336"/>
                    <a:gd name="T15" fmla="*/ 51 h 541"/>
                    <a:gd name="T16" fmla="*/ 168 w 336"/>
                    <a:gd name="T17" fmla="*/ 59 h 541"/>
                    <a:gd name="T18" fmla="*/ 178 w 336"/>
                    <a:gd name="T19" fmla="*/ 83 h 541"/>
                    <a:gd name="T20" fmla="*/ 198 w 336"/>
                    <a:gd name="T21" fmla="*/ 116 h 541"/>
                    <a:gd name="T22" fmla="*/ 227 w 336"/>
                    <a:gd name="T23" fmla="*/ 136 h 541"/>
                    <a:gd name="T24" fmla="*/ 257 w 336"/>
                    <a:gd name="T25" fmla="*/ 155 h 541"/>
                    <a:gd name="T26" fmla="*/ 251 w 336"/>
                    <a:gd name="T27" fmla="*/ 181 h 541"/>
                    <a:gd name="T28" fmla="*/ 235 w 336"/>
                    <a:gd name="T29" fmla="*/ 206 h 541"/>
                    <a:gd name="T30" fmla="*/ 244 w 336"/>
                    <a:gd name="T31" fmla="*/ 260 h 541"/>
                    <a:gd name="T32" fmla="*/ 253 w 336"/>
                    <a:gd name="T33" fmla="*/ 275 h 541"/>
                    <a:gd name="T34" fmla="*/ 268 w 336"/>
                    <a:gd name="T35" fmla="*/ 284 h 541"/>
                    <a:gd name="T36" fmla="*/ 296 w 336"/>
                    <a:gd name="T37" fmla="*/ 295 h 541"/>
                    <a:gd name="T38" fmla="*/ 275 w 336"/>
                    <a:gd name="T39" fmla="*/ 314 h 541"/>
                    <a:gd name="T40" fmla="*/ 274 w 336"/>
                    <a:gd name="T41" fmla="*/ 365 h 541"/>
                    <a:gd name="T42" fmla="*/ 294 w 336"/>
                    <a:gd name="T43" fmla="*/ 389 h 541"/>
                    <a:gd name="T44" fmla="*/ 307 w 336"/>
                    <a:gd name="T45" fmla="*/ 409 h 541"/>
                    <a:gd name="T46" fmla="*/ 314 w 336"/>
                    <a:gd name="T47" fmla="*/ 421 h 541"/>
                    <a:gd name="T48" fmla="*/ 327 w 336"/>
                    <a:gd name="T49" fmla="*/ 452 h 541"/>
                    <a:gd name="T50" fmla="*/ 334 w 336"/>
                    <a:gd name="T51" fmla="*/ 539 h 541"/>
                    <a:gd name="T52" fmla="*/ 331 w 336"/>
                    <a:gd name="T53" fmla="*/ 537 h 541"/>
                    <a:gd name="T54" fmla="*/ 310 w 336"/>
                    <a:gd name="T55" fmla="*/ 522 h 541"/>
                    <a:gd name="T56" fmla="*/ 200 w 336"/>
                    <a:gd name="T57" fmla="*/ 452 h 541"/>
                    <a:gd name="T58" fmla="*/ 72 w 336"/>
                    <a:gd name="T59" fmla="*/ 363 h 541"/>
                    <a:gd name="T60" fmla="*/ 35 w 336"/>
                    <a:gd name="T61" fmla="*/ 338 h 541"/>
                    <a:gd name="T62" fmla="*/ 163 w 336"/>
                    <a:gd name="T63" fmla="*/ 428 h 541"/>
                    <a:gd name="T64" fmla="*/ 290 w 336"/>
                    <a:gd name="T65" fmla="*/ 518 h 541"/>
                    <a:gd name="T66" fmla="*/ 329 w 336"/>
                    <a:gd name="T67" fmla="*/ 535 h 541"/>
                    <a:gd name="T68" fmla="*/ 333 w 336"/>
                    <a:gd name="T69" fmla="*/ 541 h 541"/>
                    <a:gd name="T70" fmla="*/ 333 w 336"/>
                    <a:gd name="T71" fmla="*/ 470 h 541"/>
                    <a:gd name="T72" fmla="*/ 321 w 336"/>
                    <a:gd name="T73" fmla="*/ 428 h 541"/>
                    <a:gd name="T74" fmla="*/ 312 w 336"/>
                    <a:gd name="T75" fmla="*/ 415 h 541"/>
                    <a:gd name="T76" fmla="*/ 301 w 336"/>
                    <a:gd name="T77" fmla="*/ 397 h 541"/>
                    <a:gd name="T78" fmla="*/ 281 w 336"/>
                    <a:gd name="T79" fmla="*/ 376 h 541"/>
                    <a:gd name="T80" fmla="*/ 277 w 336"/>
                    <a:gd name="T81" fmla="*/ 332 h 541"/>
                    <a:gd name="T82" fmla="*/ 297 w 336"/>
                    <a:gd name="T83" fmla="*/ 306 h 541"/>
                    <a:gd name="T84" fmla="*/ 281 w 336"/>
                    <a:gd name="T85" fmla="*/ 288 h 541"/>
                    <a:gd name="T86" fmla="*/ 255 w 336"/>
                    <a:gd name="T87" fmla="*/ 273 h 541"/>
                    <a:gd name="T88" fmla="*/ 244 w 336"/>
                    <a:gd name="T89" fmla="*/ 256 h 541"/>
                    <a:gd name="T90" fmla="*/ 238 w 336"/>
                    <a:gd name="T91" fmla="*/ 234 h 541"/>
                    <a:gd name="T92" fmla="*/ 251 w 336"/>
                    <a:gd name="T93" fmla="*/ 186 h 541"/>
                    <a:gd name="T94" fmla="*/ 262 w 336"/>
                    <a:gd name="T95" fmla="*/ 166 h 541"/>
                    <a:gd name="T96" fmla="*/ 255 w 336"/>
                    <a:gd name="T97" fmla="*/ 146 h 541"/>
                    <a:gd name="T98" fmla="*/ 237 w 336"/>
                    <a:gd name="T99" fmla="*/ 136 h 541"/>
                    <a:gd name="T100" fmla="*/ 200 w 336"/>
                    <a:gd name="T101" fmla="*/ 114 h 541"/>
                    <a:gd name="T102" fmla="*/ 181 w 336"/>
                    <a:gd name="T103" fmla="*/ 87 h 541"/>
                    <a:gd name="T104" fmla="*/ 176 w 336"/>
                    <a:gd name="T105" fmla="*/ 74 h 541"/>
                    <a:gd name="T106" fmla="*/ 168 w 336"/>
                    <a:gd name="T107" fmla="*/ 50 h 541"/>
                    <a:gd name="T108" fmla="*/ 163 w 336"/>
                    <a:gd name="T109" fmla="*/ 44 h 541"/>
                    <a:gd name="T110" fmla="*/ 168 w 336"/>
                    <a:gd name="T111" fmla="*/ 46 h 541"/>
                    <a:gd name="T112" fmla="*/ 185 w 336"/>
                    <a:gd name="T113" fmla="*/ 51 h 541"/>
                    <a:gd name="T114" fmla="*/ 198 w 336"/>
                    <a:gd name="T115" fmla="*/ 27 h 541"/>
                    <a:gd name="T116" fmla="*/ 161 w 336"/>
                    <a:gd name="T117" fmla="*/ 5 h 541"/>
                    <a:gd name="T118" fmla="*/ 150 w 336"/>
                    <a:gd name="T119" fmla="*/ 16 h 541"/>
                    <a:gd name="T120" fmla="*/ 118 w 336"/>
                    <a:gd name="T121" fmla="*/ 5 h 5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36" h="541">
                      <a:moveTo>
                        <a:pt x="104" y="0"/>
                      </a:move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04" y="2"/>
                      </a:lnTo>
                      <a:lnTo>
                        <a:pt x="111" y="3"/>
                      </a:lnTo>
                      <a:lnTo>
                        <a:pt x="117" y="7"/>
                      </a:lnTo>
                      <a:lnTo>
                        <a:pt x="122" y="11"/>
                      </a:lnTo>
                      <a:lnTo>
                        <a:pt x="128" y="13"/>
                      </a:lnTo>
                      <a:lnTo>
                        <a:pt x="133" y="16"/>
                      </a:lnTo>
                      <a:lnTo>
                        <a:pt x="133" y="16"/>
                      </a:lnTo>
                      <a:lnTo>
                        <a:pt x="139" y="18"/>
                      </a:lnTo>
                      <a:lnTo>
                        <a:pt x="139" y="18"/>
                      </a:lnTo>
                      <a:lnTo>
                        <a:pt x="142" y="18"/>
                      </a:lnTo>
                      <a:lnTo>
                        <a:pt x="142" y="18"/>
                      </a:lnTo>
                      <a:lnTo>
                        <a:pt x="146" y="18"/>
                      </a:lnTo>
                      <a:lnTo>
                        <a:pt x="150" y="18"/>
                      </a:lnTo>
                      <a:lnTo>
                        <a:pt x="154" y="18"/>
                      </a:lnTo>
                      <a:lnTo>
                        <a:pt x="154" y="18"/>
                      </a:lnTo>
                      <a:lnTo>
                        <a:pt x="155" y="15"/>
                      </a:lnTo>
                      <a:lnTo>
                        <a:pt x="157" y="13"/>
                      </a:lnTo>
                      <a:lnTo>
                        <a:pt x="159" y="9"/>
                      </a:lnTo>
                      <a:lnTo>
                        <a:pt x="161" y="7"/>
                      </a:lnTo>
                      <a:lnTo>
                        <a:pt x="165" y="11"/>
                      </a:lnTo>
                      <a:lnTo>
                        <a:pt x="165" y="11"/>
                      </a:lnTo>
                      <a:lnTo>
                        <a:pt x="168" y="13"/>
                      </a:lnTo>
                      <a:lnTo>
                        <a:pt x="170" y="16"/>
                      </a:lnTo>
                      <a:lnTo>
                        <a:pt x="170" y="16"/>
                      </a:lnTo>
                      <a:lnTo>
                        <a:pt x="174" y="18"/>
                      </a:lnTo>
                      <a:lnTo>
                        <a:pt x="183" y="22"/>
                      </a:lnTo>
                      <a:lnTo>
                        <a:pt x="196" y="27"/>
                      </a:lnTo>
                      <a:lnTo>
                        <a:pt x="196" y="33"/>
                      </a:lnTo>
                      <a:lnTo>
                        <a:pt x="196" y="39"/>
                      </a:lnTo>
                      <a:lnTo>
                        <a:pt x="196" y="44"/>
                      </a:lnTo>
                      <a:lnTo>
                        <a:pt x="198" y="50"/>
                      </a:lnTo>
                      <a:lnTo>
                        <a:pt x="190" y="50"/>
                      </a:lnTo>
                      <a:lnTo>
                        <a:pt x="185" y="50"/>
                      </a:lnTo>
                      <a:lnTo>
                        <a:pt x="185" y="50"/>
                      </a:lnTo>
                      <a:lnTo>
                        <a:pt x="178" y="50"/>
                      </a:lnTo>
                      <a:lnTo>
                        <a:pt x="172" y="50"/>
                      </a:lnTo>
                      <a:lnTo>
                        <a:pt x="170" y="48"/>
                      </a:lnTo>
                      <a:lnTo>
                        <a:pt x="170" y="46"/>
                      </a:lnTo>
                      <a:lnTo>
                        <a:pt x="170" y="42"/>
                      </a:lnTo>
                      <a:lnTo>
                        <a:pt x="170" y="40"/>
                      </a:lnTo>
                      <a:lnTo>
                        <a:pt x="170" y="37"/>
                      </a:lnTo>
                      <a:lnTo>
                        <a:pt x="170" y="33"/>
                      </a:lnTo>
                      <a:lnTo>
                        <a:pt x="170" y="33"/>
                      </a:lnTo>
                      <a:lnTo>
                        <a:pt x="165" y="33"/>
                      </a:lnTo>
                      <a:lnTo>
                        <a:pt x="159" y="33"/>
                      </a:lnTo>
                      <a:lnTo>
                        <a:pt x="157" y="33"/>
                      </a:lnTo>
                      <a:lnTo>
                        <a:pt x="161" y="44"/>
                      </a:lnTo>
                      <a:lnTo>
                        <a:pt x="163" y="50"/>
                      </a:lnTo>
                      <a:lnTo>
                        <a:pt x="163" y="50"/>
                      </a:lnTo>
                      <a:lnTo>
                        <a:pt x="163" y="51"/>
                      </a:lnTo>
                      <a:lnTo>
                        <a:pt x="163" y="51"/>
                      </a:lnTo>
                      <a:lnTo>
                        <a:pt x="165" y="51"/>
                      </a:lnTo>
                      <a:lnTo>
                        <a:pt x="165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6" y="51"/>
                      </a:lnTo>
                      <a:lnTo>
                        <a:pt x="168" y="53"/>
                      </a:lnTo>
                      <a:lnTo>
                        <a:pt x="168" y="59"/>
                      </a:lnTo>
                      <a:lnTo>
                        <a:pt x="168" y="59"/>
                      </a:lnTo>
                      <a:lnTo>
                        <a:pt x="170" y="64"/>
                      </a:lnTo>
                      <a:lnTo>
                        <a:pt x="172" y="70"/>
                      </a:lnTo>
                      <a:lnTo>
                        <a:pt x="172" y="70"/>
                      </a:lnTo>
                      <a:lnTo>
                        <a:pt x="174" y="75"/>
                      </a:lnTo>
                      <a:lnTo>
                        <a:pt x="176" y="79"/>
                      </a:lnTo>
                      <a:lnTo>
                        <a:pt x="176" y="79"/>
                      </a:lnTo>
                      <a:lnTo>
                        <a:pt x="178" y="83"/>
                      </a:lnTo>
                      <a:lnTo>
                        <a:pt x="179" y="87"/>
                      </a:lnTo>
                      <a:lnTo>
                        <a:pt x="183" y="92"/>
                      </a:lnTo>
                      <a:lnTo>
                        <a:pt x="189" y="99"/>
                      </a:lnTo>
                      <a:lnTo>
                        <a:pt x="194" y="107"/>
                      </a:lnTo>
                      <a:lnTo>
                        <a:pt x="196" y="111"/>
                      </a:lnTo>
                      <a:lnTo>
                        <a:pt x="196" y="111"/>
                      </a:lnTo>
                      <a:lnTo>
                        <a:pt x="198" y="116"/>
                      </a:lnTo>
                      <a:lnTo>
                        <a:pt x="200" y="120"/>
                      </a:lnTo>
                      <a:lnTo>
                        <a:pt x="202" y="125"/>
                      </a:lnTo>
                      <a:lnTo>
                        <a:pt x="202" y="125"/>
                      </a:lnTo>
                      <a:lnTo>
                        <a:pt x="209" y="129"/>
                      </a:lnTo>
                      <a:lnTo>
                        <a:pt x="216" y="133"/>
                      </a:lnTo>
                      <a:lnTo>
                        <a:pt x="222" y="135"/>
                      </a:lnTo>
                      <a:lnTo>
                        <a:pt x="227" y="136"/>
                      </a:lnTo>
                      <a:lnTo>
                        <a:pt x="237" y="138"/>
                      </a:lnTo>
                      <a:lnTo>
                        <a:pt x="246" y="140"/>
                      </a:lnTo>
                      <a:lnTo>
                        <a:pt x="248" y="142"/>
                      </a:lnTo>
                      <a:lnTo>
                        <a:pt x="251" y="146"/>
                      </a:lnTo>
                      <a:lnTo>
                        <a:pt x="253" y="147"/>
                      </a:lnTo>
                      <a:lnTo>
                        <a:pt x="255" y="151"/>
                      </a:lnTo>
                      <a:lnTo>
                        <a:pt x="257" y="155"/>
                      </a:lnTo>
                      <a:lnTo>
                        <a:pt x="259" y="160"/>
                      </a:lnTo>
                      <a:lnTo>
                        <a:pt x="261" y="166"/>
                      </a:lnTo>
                      <a:lnTo>
                        <a:pt x="262" y="173"/>
                      </a:lnTo>
                      <a:lnTo>
                        <a:pt x="257" y="173"/>
                      </a:lnTo>
                      <a:lnTo>
                        <a:pt x="251" y="173"/>
                      </a:lnTo>
                      <a:lnTo>
                        <a:pt x="251" y="173"/>
                      </a:lnTo>
                      <a:lnTo>
                        <a:pt x="251" y="181"/>
                      </a:lnTo>
                      <a:lnTo>
                        <a:pt x="251" y="184"/>
                      </a:lnTo>
                      <a:lnTo>
                        <a:pt x="248" y="184"/>
                      </a:lnTo>
                      <a:lnTo>
                        <a:pt x="244" y="184"/>
                      </a:lnTo>
                      <a:lnTo>
                        <a:pt x="240" y="184"/>
                      </a:lnTo>
                      <a:lnTo>
                        <a:pt x="237" y="184"/>
                      </a:lnTo>
                      <a:lnTo>
                        <a:pt x="235" y="184"/>
                      </a:lnTo>
                      <a:lnTo>
                        <a:pt x="235" y="206"/>
                      </a:lnTo>
                      <a:lnTo>
                        <a:pt x="237" y="225"/>
                      </a:lnTo>
                      <a:lnTo>
                        <a:pt x="237" y="234"/>
                      </a:lnTo>
                      <a:lnTo>
                        <a:pt x="238" y="242"/>
                      </a:lnTo>
                      <a:lnTo>
                        <a:pt x="238" y="242"/>
                      </a:lnTo>
                      <a:lnTo>
                        <a:pt x="240" y="249"/>
                      </a:lnTo>
                      <a:lnTo>
                        <a:pt x="242" y="256"/>
                      </a:lnTo>
                      <a:lnTo>
                        <a:pt x="244" y="260"/>
                      </a:lnTo>
                      <a:lnTo>
                        <a:pt x="244" y="260"/>
                      </a:lnTo>
                      <a:lnTo>
                        <a:pt x="246" y="262"/>
                      </a:lnTo>
                      <a:lnTo>
                        <a:pt x="248" y="266"/>
                      </a:lnTo>
                      <a:lnTo>
                        <a:pt x="248" y="266"/>
                      </a:lnTo>
                      <a:lnTo>
                        <a:pt x="250" y="269"/>
                      </a:lnTo>
                      <a:lnTo>
                        <a:pt x="251" y="271"/>
                      </a:lnTo>
                      <a:lnTo>
                        <a:pt x="253" y="275"/>
                      </a:lnTo>
                      <a:lnTo>
                        <a:pt x="253" y="275"/>
                      </a:lnTo>
                      <a:lnTo>
                        <a:pt x="257" y="277"/>
                      </a:lnTo>
                      <a:lnTo>
                        <a:pt x="261" y="278"/>
                      </a:lnTo>
                      <a:lnTo>
                        <a:pt x="261" y="278"/>
                      </a:lnTo>
                      <a:lnTo>
                        <a:pt x="264" y="282"/>
                      </a:lnTo>
                      <a:lnTo>
                        <a:pt x="264" y="282"/>
                      </a:lnTo>
                      <a:lnTo>
                        <a:pt x="268" y="284"/>
                      </a:lnTo>
                      <a:lnTo>
                        <a:pt x="272" y="286"/>
                      </a:lnTo>
                      <a:lnTo>
                        <a:pt x="275" y="288"/>
                      </a:lnTo>
                      <a:lnTo>
                        <a:pt x="281" y="290"/>
                      </a:lnTo>
                      <a:lnTo>
                        <a:pt x="285" y="291"/>
                      </a:lnTo>
                      <a:lnTo>
                        <a:pt x="285" y="291"/>
                      </a:lnTo>
                      <a:lnTo>
                        <a:pt x="290" y="293"/>
                      </a:lnTo>
                      <a:lnTo>
                        <a:pt x="296" y="295"/>
                      </a:lnTo>
                      <a:lnTo>
                        <a:pt x="296" y="299"/>
                      </a:lnTo>
                      <a:lnTo>
                        <a:pt x="296" y="304"/>
                      </a:lnTo>
                      <a:lnTo>
                        <a:pt x="290" y="306"/>
                      </a:lnTo>
                      <a:lnTo>
                        <a:pt x="286" y="310"/>
                      </a:lnTo>
                      <a:lnTo>
                        <a:pt x="281" y="312"/>
                      </a:lnTo>
                      <a:lnTo>
                        <a:pt x="275" y="314"/>
                      </a:lnTo>
                      <a:lnTo>
                        <a:pt x="275" y="314"/>
                      </a:lnTo>
                      <a:lnTo>
                        <a:pt x="275" y="319"/>
                      </a:lnTo>
                      <a:lnTo>
                        <a:pt x="275" y="325"/>
                      </a:lnTo>
                      <a:lnTo>
                        <a:pt x="275" y="332"/>
                      </a:lnTo>
                      <a:lnTo>
                        <a:pt x="274" y="339"/>
                      </a:lnTo>
                      <a:lnTo>
                        <a:pt x="274" y="347"/>
                      </a:lnTo>
                      <a:lnTo>
                        <a:pt x="274" y="356"/>
                      </a:lnTo>
                      <a:lnTo>
                        <a:pt x="274" y="365"/>
                      </a:lnTo>
                      <a:lnTo>
                        <a:pt x="275" y="378"/>
                      </a:lnTo>
                      <a:lnTo>
                        <a:pt x="281" y="378"/>
                      </a:lnTo>
                      <a:lnTo>
                        <a:pt x="286" y="378"/>
                      </a:lnTo>
                      <a:lnTo>
                        <a:pt x="286" y="382"/>
                      </a:lnTo>
                      <a:lnTo>
                        <a:pt x="286" y="382"/>
                      </a:lnTo>
                      <a:lnTo>
                        <a:pt x="290" y="385"/>
                      </a:lnTo>
                      <a:lnTo>
                        <a:pt x="294" y="389"/>
                      </a:lnTo>
                      <a:lnTo>
                        <a:pt x="294" y="389"/>
                      </a:lnTo>
                      <a:lnTo>
                        <a:pt x="296" y="393"/>
                      </a:lnTo>
                      <a:lnTo>
                        <a:pt x="299" y="398"/>
                      </a:lnTo>
                      <a:lnTo>
                        <a:pt x="303" y="404"/>
                      </a:lnTo>
                      <a:lnTo>
                        <a:pt x="305" y="406"/>
                      </a:lnTo>
                      <a:lnTo>
                        <a:pt x="307" y="409"/>
                      </a:lnTo>
                      <a:lnTo>
                        <a:pt x="307" y="409"/>
                      </a:lnTo>
                      <a:lnTo>
                        <a:pt x="309" y="411"/>
                      </a:lnTo>
                      <a:lnTo>
                        <a:pt x="309" y="415"/>
                      </a:lnTo>
                      <a:lnTo>
                        <a:pt x="309" y="415"/>
                      </a:lnTo>
                      <a:lnTo>
                        <a:pt x="310" y="417"/>
                      </a:lnTo>
                      <a:lnTo>
                        <a:pt x="310" y="417"/>
                      </a:lnTo>
                      <a:lnTo>
                        <a:pt x="314" y="419"/>
                      </a:lnTo>
                      <a:lnTo>
                        <a:pt x="314" y="421"/>
                      </a:lnTo>
                      <a:lnTo>
                        <a:pt x="316" y="422"/>
                      </a:lnTo>
                      <a:lnTo>
                        <a:pt x="318" y="424"/>
                      </a:lnTo>
                      <a:lnTo>
                        <a:pt x="320" y="428"/>
                      </a:lnTo>
                      <a:lnTo>
                        <a:pt x="321" y="432"/>
                      </a:lnTo>
                      <a:lnTo>
                        <a:pt x="323" y="435"/>
                      </a:lnTo>
                      <a:lnTo>
                        <a:pt x="325" y="443"/>
                      </a:lnTo>
                      <a:lnTo>
                        <a:pt x="327" y="452"/>
                      </a:lnTo>
                      <a:lnTo>
                        <a:pt x="329" y="461"/>
                      </a:lnTo>
                      <a:lnTo>
                        <a:pt x="331" y="470"/>
                      </a:lnTo>
                      <a:lnTo>
                        <a:pt x="333" y="491"/>
                      </a:lnTo>
                      <a:lnTo>
                        <a:pt x="334" y="511"/>
                      </a:lnTo>
                      <a:lnTo>
                        <a:pt x="334" y="528"/>
                      </a:lnTo>
                      <a:lnTo>
                        <a:pt x="336" y="539"/>
                      </a:lnTo>
                      <a:lnTo>
                        <a:pt x="334" y="539"/>
                      </a:lnTo>
                      <a:lnTo>
                        <a:pt x="333" y="539"/>
                      </a:lnTo>
                      <a:lnTo>
                        <a:pt x="333" y="539"/>
                      </a:lnTo>
                      <a:lnTo>
                        <a:pt x="333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7"/>
                      </a:lnTo>
                      <a:lnTo>
                        <a:pt x="331" y="535"/>
                      </a:lnTo>
                      <a:lnTo>
                        <a:pt x="331" y="531"/>
                      </a:lnTo>
                      <a:lnTo>
                        <a:pt x="331" y="528"/>
                      </a:lnTo>
                      <a:lnTo>
                        <a:pt x="331" y="528"/>
                      </a:lnTo>
                      <a:lnTo>
                        <a:pt x="321" y="526"/>
                      </a:lnTo>
                      <a:lnTo>
                        <a:pt x="310" y="522"/>
                      </a:lnTo>
                      <a:lnTo>
                        <a:pt x="299" y="520"/>
                      </a:lnTo>
                      <a:lnTo>
                        <a:pt x="290" y="517"/>
                      </a:lnTo>
                      <a:lnTo>
                        <a:pt x="272" y="504"/>
                      </a:lnTo>
                      <a:lnTo>
                        <a:pt x="253" y="491"/>
                      </a:lnTo>
                      <a:lnTo>
                        <a:pt x="235" y="478"/>
                      </a:lnTo>
                      <a:lnTo>
                        <a:pt x="218" y="465"/>
                      </a:lnTo>
                      <a:lnTo>
                        <a:pt x="200" y="452"/>
                      </a:lnTo>
                      <a:lnTo>
                        <a:pt x="181" y="439"/>
                      </a:lnTo>
                      <a:lnTo>
                        <a:pt x="163" y="426"/>
                      </a:lnTo>
                      <a:lnTo>
                        <a:pt x="146" y="413"/>
                      </a:lnTo>
                      <a:lnTo>
                        <a:pt x="128" y="400"/>
                      </a:lnTo>
                      <a:lnTo>
                        <a:pt x="109" y="389"/>
                      </a:lnTo>
                      <a:lnTo>
                        <a:pt x="91" y="376"/>
                      </a:lnTo>
                      <a:lnTo>
                        <a:pt x="72" y="363"/>
                      </a:lnTo>
                      <a:lnTo>
                        <a:pt x="56" y="350"/>
                      </a:lnTo>
                      <a:lnTo>
                        <a:pt x="37" y="338"/>
                      </a:lnTo>
                      <a:lnTo>
                        <a:pt x="19" y="325"/>
                      </a:lnTo>
                      <a:lnTo>
                        <a:pt x="2" y="312"/>
                      </a:lnTo>
                      <a:lnTo>
                        <a:pt x="0" y="314"/>
                      </a:lnTo>
                      <a:lnTo>
                        <a:pt x="19" y="325"/>
                      </a:lnTo>
                      <a:lnTo>
                        <a:pt x="35" y="338"/>
                      </a:lnTo>
                      <a:lnTo>
                        <a:pt x="54" y="350"/>
                      </a:lnTo>
                      <a:lnTo>
                        <a:pt x="72" y="363"/>
                      </a:lnTo>
                      <a:lnTo>
                        <a:pt x="91" y="376"/>
                      </a:lnTo>
                      <a:lnTo>
                        <a:pt x="107" y="389"/>
                      </a:lnTo>
                      <a:lnTo>
                        <a:pt x="126" y="402"/>
                      </a:lnTo>
                      <a:lnTo>
                        <a:pt x="144" y="415"/>
                      </a:lnTo>
                      <a:lnTo>
                        <a:pt x="163" y="428"/>
                      </a:lnTo>
                      <a:lnTo>
                        <a:pt x="179" y="441"/>
                      </a:lnTo>
                      <a:lnTo>
                        <a:pt x="198" y="454"/>
                      </a:lnTo>
                      <a:lnTo>
                        <a:pt x="216" y="467"/>
                      </a:lnTo>
                      <a:lnTo>
                        <a:pt x="235" y="480"/>
                      </a:lnTo>
                      <a:lnTo>
                        <a:pt x="253" y="493"/>
                      </a:lnTo>
                      <a:lnTo>
                        <a:pt x="272" y="505"/>
                      </a:lnTo>
                      <a:lnTo>
                        <a:pt x="290" y="518"/>
                      </a:lnTo>
                      <a:lnTo>
                        <a:pt x="299" y="520"/>
                      </a:lnTo>
                      <a:lnTo>
                        <a:pt x="310" y="524"/>
                      </a:lnTo>
                      <a:lnTo>
                        <a:pt x="320" y="526"/>
                      </a:lnTo>
                      <a:lnTo>
                        <a:pt x="329" y="529"/>
                      </a:lnTo>
                      <a:lnTo>
                        <a:pt x="329" y="531"/>
                      </a:lnTo>
                      <a:lnTo>
                        <a:pt x="329" y="535"/>
                      </a:lnTo>
                      <a:lnTo>
                        <a:pt x="329" y="535"/>
                      </a:lnTo>
                      <a:lnTo>
                        <a:pt x="331" y="537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1" y="539"/>
                      </a:lnTo>
                      <a:lnTo>
                        <a:pt x="333" y="541"/>
                      </a:lnTo>
                      <a:lnTo>
                        <a:pt x="333" y="541"/>
                      </a:lnTo>
                      <a:lnTo>
                        <a:pt x="334" y="541"/>
                      </a:lnTo>
                      <a:lnTo>
                        <a:pt x="336" y="541"/>
                      </a:lnTo>
                      <a:lnTo>
                        <a:pt x="336" y="541"/>
                      </a:lnTo>
                      <a:lnTo>
                        <a:pt x="336" y="528"/>
                      </a:lnTo>
                      <a:lnTo>
                        <a:pt x="336" y="511"/>
                      </a:lnTo>
                      <a:lnTo>
                        <a:pt x="334" y="491"/>
                      </a:lnTo>
                      <a:lnTo>
                        <a:pt x="333" y="470"/>
                      </a:lnTo>
                      <a:lnTo>
                        <a:pt x="331" y="461"/>
                      </a:lnTo>
                      <a:lnTo>
                        <a:pt x="329" y="452"/>
                      </a:lnTo>
                      <a:lnTo>
                        <a:pt x="327" y="443"/>
                      </a:lnTo>
                      <a:lnTo>
                        <a:pt x="323" y="433"/>
                      </a:lnTo>
                      <a:lnTo>
                        <a:pt x="323" y="430"/>
                      </a:lnTo>
                      <a:lnTo>
                        <a:pt x="321" y="428"/>
                      </a:lnTo>
                      <a:lnTo>
                        <a:pt x="321" y="428"/>
                      </a:lnTo>
                      <a:lnTo>
                        <a:pt x="320" y="424"/>
                      </a:lnTo>
                      <a:lnTo>
                        <a:pt x="318" y="422"/>
                      </a:lnTo>
                      <a:lnTo>
                        <a:pt x="318" y="421"/>
                      </a:lnTo>
                      <a:lnTo>
                        <a:pt x="316" y="419"/>
                      </a:lnTo>
                      <a:lnTo>
                        <a:pt x="314" y="417"/>
                      </a:lnTo>
                      <a:lnTo>
                        <a:pt x="314" y="417"/>
                      </a:lnTo>
                      <a:lnTo>
                        <a:pt x="312" y="415"/>
                      </a:lnTo>
                      <a:lnTo>
                        <a:pt x="310" y="415"/>
                      </a:lnTo>
                      <a:lnTo>
                        <a:pt x="309" y="411"/>
                      </a:lnTo>
                      <a:lnTo>
                        <a:pt x="307" y="408"/>
                      </a:lnTo>
                      <a:lnTo>
                        <a:pt x="307" y="406"/>
                      </a:lnTo>
                      <a:lnTo>
                        <a:pt x="307" y="406"/>
                      </a:lnTo>
                      <a:lnTo>
                        <a:pt x="305" y="402"/>
                      </a:lnTo>
                      <a:lnTo>
                        <a:pt x="301" y="397"/>
                      </a:lnTo>
                      <a:lnTo>
                        <a:pt x="297" y="393"/>
                      </a:lnTo>
                      <a:lnTo>
                        <a:pt x="294" y="387"/>
                      </a:lnTo>
                      <a:lnTo>
                        <a:pt x="292" y="384"/>
                      </a:lnTo>
                      <a:lnTo>
                        <a:pt x="288" y="380"/>
                      </a:lnTo>
                      <a:lnTo>
                        <a:pt x="286" y="376"/>
                      </a:lnTo>
                      <a:lnTo>
                        <a:pt x="286" y="376"/>
                      </a:lnTo>
                      <a:lnTo>
                        <a:pt x="281" y="376"/>
                      </a:lnTo>
                      <a:lnTo>
                        <a:pt x="275" y="376"/>
                      </a:lnTo>
                      <a:lnTo>
                        <a:pt x="275" y="365"/>
                      </a:lnTo>
                      <a:lnTo>
                        <a:pt x="275" y="356"/>
                      </a:lnTo>
                      <a:lnTo>
                        <a:pt x="275" y="347"/>
                      </a:lnTo>
                      <a:lnTo>
                        <a:pt x="275" y="339"/>
                      </a:lnTo>
                      <a:lnTo>
                        <a:pt x="277" y="332"/>
                      </a:lnTo>
                      <a:lnTo>
                        <a:pt x="277" y="332"/>
                      </a:lnTo>
                      <a:lnTo>
                        <a:pt x="277" y="325"/>
                      </a:lnTo>
                      <a:lnTo>
                        <a:pt x="277" y="319"/>
                      </a:lnTo>
                      <a:lnTo>
                        <a:pt x="277" y="315"/>
                      </a:lnTo>
                      <a:lnTo>
                        <a:pt x="281" y="314"/>
                      </a:lnTo>
                      <a:lnTo>
                        <a:pt x="286" y="310"/>
                      </a:lnTo>
                      <a:lnTo>
                        <a:pt x="292" y="308"/>
                      </a:lnTo>
                      <a:lnTo>
                        <a:pt x="297" y="306"/>
                      </a:lnTo>
                      <a:lnTo>
                        <a:pt x="297" y="306"/>
                      </a:lnTo>
                      <a:lnTo>
                        <a:pt x="297" y="299"/>
                      </a:lnTo>
                      <a:lnTo>
                        <a:pt x="297" y="295"/>
                      </a:lnTo>
                      <a:lnTo>
                        <a:pt x="297" y="293"/>
                      </a:lnTo>
                      <a:lnTo>
                        <a:pt x="292" y="291"/>
                      </a:lnTo>
                      <a:lnTo>
                        <a:pt x="286" y="290"/>
                      </a:lnTo>
                      <a:lnTo>
                        <a:pt x="281" y="288"/>
                      </a:lnTo>
                      <a:lnTo>
                        <a:pt x="275" y="286"/>
                      </a:lnTo>
                      <a:lnTo>
                        <a:pt x="272" y="284"/>
                      </a:lnTo>
                      <a:lnTo>
                        <a:pt x="268" y="282"/>
                      </a:lnTo>
                      <a:lnTo>
                        <a:pt x="264" y="280"/>
                      </a:lnTo>
                      <a:lnTo>
                        <a:pt x="261" y="278"/>
                      </a:lnTo>
                      <a:lnTo>
                        <a:pt x="259" y="275"/>
                      </a:lnTo>
                      <a:lnTo>
                        <a:pt x="255" y="273"/>
                      </a:lnTo>
                      <a:lnTo>
                        <a:pt x="253" y="271"/>
                      </a:lnTo>
                      <a:lnTo>
                        <a:pt x="251" y="267"/>
                      </a:lnTo>
                      <a:lnTo>
                        <a:pt x="248" y="266"/>
                      </a:lnTo>
                      <a:lnTo>
                        <a:pt x="248" y="262"/>
                      </a:lnTo>
                      <a:lnTo>
                        <a:pt x="246" y="262"/>
                      </a:lnTo>
                      <a:lnTo>
                        <a:pt x="244" y="258"/>
                      </a:lnTo>
                      <a:lnTo>
                        <a:pt x="244" y="256"/>
                      </a:lnTo>
                      <a:lnTo>
                        <a:pt x="242" y="256"/>
                      </a:lnTo>
                      <a:lnTo>
                        <a:pt x="244" y="256"/>
                      </a:lnTo>
                      <a:lnTo>
                        <a:pt x="242" y="256"/>
                      </a:lnTo>
                      <a:lnTo>
                        <a:pt x="244" y="256"/>
                      </a:lnTo>
                      <a:lnTo>
                        <a:pt x="242" y="249"/>
                      </a:lnTo>
                      <a:lnTo>
                        <a:pt x="240" y="242"/>
                      </a:lnTo>
                      <a:lnTo>
                        <a:pt x="238" y="234"/>
                      </a:lnTo>
                      <a:lnTo>
                        <a:pt x="238" y="225"/>
                      </a:lnTo>
                      <a:lnTo>
                        <a:pt x="237" y="206"/>
                      </a:lnTo>
                      <a:lnTo>
                        <a:pt x="237" y="186"/>
                      </a:lnTo>
                      <a:lnTo>
                        <a:pt x="240" y="186"/>
                      </a:lnTo>
                      <a:lnTo>
                        <a:pt x="244" y="186"/>
                      </a:lnTo>
                      <a:lnTo>
                        <a:pt x="248" y="186"/>
                      </a:lnTo>
                      <a:lnTo>
                        <a:pt x="251" y="186"/>
                      </a:lnTo>
                      <a:lnTo>
                        <a:pt x="253" y="186"/>
                      </a:lnTo>
                      <a:lnTo>
                        <a:pt x="253" y="181"/>
                      </a:lnTo>
                      <a:lnTo>
                        <a:pt x="253" y="175"/>
                      </a:lnTo>
                      <a:lnTo>
                        <a:pt x="257" y="175"/>
                      </a:lnTo>
                      <a:lnTo>
                        <a:pt x="262" y="175"/>
                      </a:lnTo>
                      <a:lnTo>
                        <a:pt x="264" y="175"/>
                      </a:lnTo>
                      <a:lnTo>
                        <a:pt x="262" y="166"/>
                      </a:lnTo>
                      <a:lnTo>
                        <a:pt x="262" y="166"/>
                      </a:lnTo>
                      <a:lnTo>
                        <a:pt x="261" y="160"/>
                      </a:lnTo>
                      <a:lnTo>
                        <a:pt x="261" y="160"/>
                      </a:lnTo>
                      <a:lnTo>
                        <a:pt x="259" y="155"/>
                      </a:lnTo>
                      <a:lnTo>
                        <a:pt x="257" y="149"/>
                      </a:lnTo>
                      <a:lnTo>
                        <a:pt x="257" y="149"/>
                      </a:lnTo>
                      <a:lnTo>
                        <a:pt x="255" y="146"/>
                      </a:lnTo>
                      <a:lnTo>
                        <a:pt x="255" y="146"/>
                      </a:lnTo>
                      <a:lnTo>
                        <a:pt x="251" y="144"/>
                      </a:lnTo>
                      <a:lnTo>
                        <a:pt x="250" y="142"/>
                      </a:lnTo>
                      <a:lnTo>
                        <a:pt x="250" y="142"/>
                      </a:lnTo>
                      <a:lnTo>
                        <a:pt x="246" y="140"/>
                      </a:lnTo>
                      <a:lnTo>
                        <a:pt x="246" y="140"/>
                      </a:lnTo>
                      <a:lnTo>
                        <a:pt x="237" y="136"/>
                      </a:lnTo>
                      <a:lnTo>
                        <a:pt x="227" y="135"/>
                      </a:lnTo>
                      <a:lnTo>
                        <a:pt x="222" y="133"/>
                      </a:lnTo>
                      <a:lnTo>
                        <a:pt x="216" y="131"/>
                      </a:lnTo>
                      <a:lnTo>
                        <a:pt x="211" y="127"/>
                      </a:lnTo>
                      <a:lnTo>
                        <a:pt x="203" y="125"/>
                      </a:lnTo>
                      <a:lnTo>
                        <a:pt x="202" y="120"/>
                      </a:lnTo>
                      <a:lnTo>
                        <a:pt x="200" y="114"/>
                      </a:lnTo>
                      <a:lnTo>
                        <a:pt x="200" y="114"/>
                      </a:lnTo>
                      <a:lnTo>
                        <a:pt x="198" y="111"/>
                      </a:lnTo>
                      <a:lnTo>
                        <a:pt x="194" y="107"/>
                      </a:lnTo>
                      <a:lnTo>
                        <a:pt x="194" y="107"/>
                      </a:lnTo>
                      <a:lnTo>
                        <a:pt x="189" y="98"/>
                      </a:lnTo>
                      <a:lnTo>
                        <a:pt x="185" y="90"/>
                      </a:lnTo>
                      <a:lnTo>
                        <a:pt x="181" y="87"/>
                      </a:lnTo>
                      <a:lnTo>
                        <a:pt x="179" y="83"/>
                      </a:lnTo>
                      <a:lnTo>
                        <a:pt x="178" y="79"/>
                      </a:lnTo>
                      <a:lnTo>
                        <a:pt x="176" y="74"/>
                      </a:lnTo>
                      <a:lnTo>
                        <a:pt x="174" y="74"/>
                      </a:lnTo>
                      <a:lnTo>
                        <a:pt x="176" y="74"/>
                      </a:lnTo>
                      <a:lnTo>
                        <a:pt x="174" y="74"/>
                      </a:lnTo>
                      <a:lnTo>
                        <a:pt x="176" y="74"/>
                      </a:lnTo>
                      <a:lnTo>
                        <a:pt x="172" y="70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0" y="59"/>
                      </a:lnTo>
                      <a:lnTo>
                        <a:pt x="170" y="51"/>
                      </a:lnTo>
                      <a:lnTo>
                        <a:pt x="170" y="51"/>
                      </a:lnTo>
                      <a:lnTo>
                        <a:pt x="168" y="50"/>
                      </a:lnTo>
                      <a:lnTo>
                        <a:pt x="166" y="50"/>
                      </a:lnTo>
                      <a:lnTo>
                        <a:pt x="166" y="48"/>
                      </a:lnTo>
                      <a:lnTo>
                        <a:pt x="165" y="50"/>
                      </a:lnTo>
                      <a:lnTo>
                        <a:pt x="165" y="50"/>
                      </a:lnTo>
                      <a:lnTo>
                        <a:pt x="165" y="50"/>
                      </a:lnTo>
                      <a:lnTo>
                        <a:pt x="163" y="50"/>
                      </a:lnTo>
                      <a:lnTo>
                        <a:pt x="163" y="44"/>
                      </a:lnTo>
                      <a:lnTo>
                        <a:pt x="159" y="33"/>
                      </a:lnTo>
                      <a:lnTo>
                        <a:pt x="165" y="33"/>
                      </a:lnTo>
                      <a:lnTo>
                        <a:pt x="168" y="33"/>
                      </a:lnTo>
                      <a:lnTo>
                        <a:pt x="168" y="37"/>
                      </a:lnTo>
                      <a:lnTo>
                        <a:pt x="168" y="40"/>
                      </a:lnTo>
                      <a:lnTo>
                        <a:pt x="168" y="42"/>
                      </a:lnTo>
                      <a:lnTo>
                        <a:pt x="168" y="46"/>
                      </a:lnTo>
                      <a:lnTo>
                        <a:pt x="168" y="46"/>
                      </a:lnTo>
                      <a:lnTo>
                        <a:pt x="170" y="48"/>
                      </a:lnTo>
                      <a:lnTo>
                        <a:pt x="172" y="50"/>
                      </a:lnTo>
                      <a:lnTo>
                        <a:pt x="172" y="50"/>
                      </a:lnTo>
                      <a:lnTo>
                        <a:pt x="178" y="51"/>
                      </a:lnTo>
                      <a:lnTo>
                        <a:pt x="178" y="51"/>
                      </a:lnTo>
                      <a:lnTo>
                        <a:pt x="185" y="51"/>
                      </a:lnTo>
                      <a:lnTo>
                        <a:pt x="190" y="51"/>
                      </a:lnTo>
                      <a:lnTo>
                        <a:pt x="198" y="51"/>
                      </a:lnTo>
                      <a:lnTo>
                        <a:pt x="198" y="51"/>
                      </a:lnTo>
                      <a:lnTo>
                        <a:pt x="198" y="44"/>
                      </a:lnTo>
                      <a:lnTo>
                        <a:pt x="198" y="39"/>
                      </a:lnTo>
                      <a:lnTo>
                        <a:pt x="198" y="33"/>
                      </a:lnTo>
                      <a:lnTo>
                        <a:pt x="198" y="27"/>
                      </a:lnTo>
                      <a:lnTo>
                        <a:pt x="198" y="27"/>
                      </a:lnTo>
                      <a:lnTo>
                        <a:pt x="183" y="20"/>
                      </a:lnTo>
                      <a:lnTo>
                        <a:pt x="176" y="16"/>
                      </a:lnTo>
                      <a:lnTo>
                        <a:pt x="172" y="15"/>
                      </a:lnTo>
                      <a:lnTo>
                        <a:pt x="168" y="13"/>
                      </a:lnTo>
                      <a:lnTo>
                        <a:pt x="165" y="9"/>
                      </a:lnTo>
                      <a:lnTo>
                        <a:pt x="161" y="5"/>
                      </a:lnTo>
                      <a:lnTo>
                        <a:pt x="161" y="5"/>
                      </a:lnTo>
                      <a:lnTo>
                        <a:pt x="159" y="9"/>
                      </a:lnTo>
                      <a:lnTo>
                        <a:pt x="157" y="11"/>
                      </a:lnTo>
                      <a:lnTo>
                        <a:pt x="155" y="15"/>
                      </a:lnTo>
                      <a:lnTo>
                        <a:pt x="155" y="15"/>
                      </a:lnTo>
                      <a:lnTo>
                        <a:pt x="154" y="16"/>
                      </a:lnTo>
                      <a:lnTo>
                        <a:pt x="150" y="16"/>
                      </a:lnTo>
                      <a:lnTo>
                        <a:pt x="146" y="16"/>
                      </a:lnTo>
                      <a:lnTo>
                        <a:pt x="142" y="16"/>
                      </a:lnTo>
                      <a:lnTo>
                        <a:pt x="141" y="16"/>
                      </a:lnTo>
                      <a:lnTo>
                        <a:pt x="133" y="15"/>
                      </a:lnTo>
                      <a:lnTo>
                        <a:pt x="130" y="13"/>
                      </a:lnTo>
                      <a:lnTo>
                        <a:pt x="122" y="9"/>
                      </a:lnTo>
                      <a:lnTo>
                        <a:pt x="118" y="5"/>
                      </a:lnTo>
                      <a:lnTo>
                        <a:pt x="118" y="5"/>
                      </a:lnTo>
                      <a:lnTo>
                        <a:pt x="111" y="3"/>
                      </a:lnTo>
                      <a:lnTo>
                        <a:pt x="10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2" name="Freeform 3207"/>
                <p:cNvSpPr>
                  <a:spLocks noEditPoints="1"/>
                </p:cNvSpPr>
                <p:nvPr/>
              </p:nvSpPr>
              <p:spPr bwMode="auto">
                <a:xfrm>
                  <a:off x="5360" y="1532"/>
                  <a:ext cx="341" cy="446"/>
                </a:xfrm>
                <a:custGeom>
                  <a:avLst/>
                  <a:gdLst>
                    <a:gd name="T0" fmla="*/ 332 w 341"/>
                    <a:gd name="T1" fmla="*/ 432 h 446"/>
                    <a:gd name="T2" fmla="*/ 328 w 341"/>
                    <a:gd name="T3" fmla="*/ 437 h 446"/>
                    <a:gd name="T4" fmla="*/ 326 w 341"/>
                    <a:gd name="T5" fmla="*/ 444 h 446"/>
                    <a:gd name="T6" fmla="*/ 324 w 341"/>
                    <a:gd name="T7" fmla="*/ 444 h 446"/>
                    <a:gd name="T8" fmla="*/ 324 w 341"/>
                    <a:gd name="T9" fmla="*/ 444 h 446"/>
                    <a:gd name="T10" fmla="*/ 322 w 341"/>
                    <a:gd name="T11" fmla="*/ 446 h 446"/>
                    <a:gd name="T12" fmla="*/ 322 w 341"/>
                    <a:gd name="T13" fmla="*/ 446 h 446"/>
                    <a:gd name="T14" fmla="*/ 322 w 341"/>
                    <a:gd name="T15" fmla="*/ 446 h 446"/>
                    <a:gd name="T16" fmla="*/ 324 w 341"/>
                    <a:gd name="T17" fmla="*/ 446 h 446"/>
                    <a:gd name="T18" fmla="*/ 322 w 341"/>
                    <a:gd name="T19" fmla="*/ 446 h 446"/>
                    <a:gd name="T20" fmla="*/ 324 w 341"/>
                    <a:gd name="T21" fmla="*/ 444 h 446"/>
                    <a:gd name="T22" fmla="*/ 324 w 341"/>
                    <a:gd name="T23" fmla="*/ 444 h 446"/>
                    <a:gd name="T24" fmla="*/ 326 w 341"/>
                    <a:gd name="T25" fmla="*/ 444 h 446"/>
                    <a:gd name="T26" fmla="*/ 328 w 341"/>
                    <a:gd name="T27" fmla="*/ 437 h 446"/>
                    <a:gd name="T28" fmla="*/ 332 w 341"/>
                    <a:gd name="T29" fmla="*/ 432 h 446"/>
                    <a:gd name="T30" fmla="*/ 332 w 341"/>
                    <a:gd name="T31" fmla="*/ 433 h 446"/>
                    <a:gd name="T32" fmla="*/ 337 w 341"/>
                    <a:gd name="T33" fmla="*/ 437 h 446"/>
                    <a:gd name="T34" fmla="*/ 341 w 341"/>
                    <a:gd name="T35" fmla="*/ 444 h 446"/>
                    <a:gd name="T36" fmla="*/ 337 w 341"/>
                    <a:gd name="T37" fmla="*/ 437 h 446"/>
                    <a:gd name="T38" fmla="*/ 332 w 341"/>
                    <a:gd name="T39" fmla="*/ 433 h 446"/>
                    <a:gd name="T40" fmla="*/ 332 w 341"/>
                    <a:gd name="T41" fmla="*/ 432 h 446"/>
                    <a:gd name="T42" fmla="*/ 0 w 341"/>
                    <a:gd name="T43" fmla="*/ 192 h 446"/>
                    <a:gd name="T44" fmla="*/ 0 w 341"/>
                    <a:gd name="T45" fmla="*/ 192 h 446"/>
                    <a:gd name="T46" fmla="*/ 1 w 341"/>
                    <a:gd name="T47" fmla="*/ 194 h 446"/>
                    <a:gd name="T48" fmla="*/ 0 w 341"/>
                    <a:gd name="T49" fmla="*/ 192 h 446"/>
                    <a:gd name="T50" fmla="*/ 62 w 341"/>
                    <a:gd name="T51" fmla="*/ 0 h 446"/>
                    <a:gd name="T52" fmla="*/ 62 w 341"/>
                    <a:gd name="T53" fmla="*/ 0 h 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41" h="446">
                      <a:moveTo>
                        <a:pt x="332" y="432"/>
                      </a:moveTo>
                      <a:lnTo>
                        <a:pt x="328" y="437"/>
                      </a:lnTo>
                      <a:lnTo>
                        <a:pt x="326" y="444"/>
                      </a:lnTo>
                      <a:lnTo>
                        <a:pt x="324" y="444"/>
                      </a:lnTo>
                      <a:lnTo>
                        <a:pt x="324" y="444"/>
                      </a:lnTo>
                      <a:lnTo>
                        <a:pt x="322" y="446"/>
                      </a:lnTo>
                      <a:lnTo>
                        <a:pt x="322" y="446"/>
                      </a:lnTo>
                      <a:lnTo>
                        <a:pt x="322" y="446"/>
                      </a:lnTo>
                      <a:lnTo>
                        <a:pt x="324" y="446"/>
                      </a:lnTo>
                      <a:lnTo>
                        <a:pt x="322" y="446"/>
                      </a:lnTo>
                      <a:lnTo>
                        <a:pt x="324" y="444"/>
                      </a:lnTo>
                      <a:lnTo>
                        <a:pt x="324" y="444"/>
                      </a:lnTo>
                      <a:lnTo>
                        <a:pt x="326" y="444"/>
                      </a:lnTo>
                      <a:lnTo>
                        <a:pt x="328" y="437"/>
                      </a:lnTo>
                      <a:lnTo>
                        <a:pt x="332" y="432"/>
                      </a:lnTo>
                      <a:lnTo>
                        <a:pt x="332" y="433"/>
                      </a:lnTo>
                      <a:lnTo>
                        <a:pt x="337" y="437"/>
                      </a:lnTo>
                      <a:lnTo>
                        <a:pt x="341" y="444"/>
                      </a:lnTo>
                      <a:lnTo>
                        <a:pt x="337" y="437"/>
                      </a:lnTo>
                      <a:lnTo>
                        <a:pt x="332" y="433"/>
                      </a:lnTo>
                      <a:lnTo>
                        <a:pt x="332" y="432"/>
                      </a:lnTo>
                      <a:close/>
                      <a:moveTo>
                        <a:pt x="0" y="192"/>
                      </a:moveTo>
                      <a:lnTo>
                        <a:pt x="0" y="192"/>
                      </a:lnTo>
                      <a:lnTo>
                        <a:pt x="1" y="194"/>
                      </a:lnTo>
                      <a:lnTo>
                        <a:pt x="0" y="192"/>
                      </a:lnTo>
                      <a:close/>
                      <a:moveTo>
                        <a:pt x="62" y="0"/>
                      </a:moveTo>
                      <a:lnTo>
                        <a:pt x="6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3" name="Freeform 3208"/>
                <p:cNvSpPr>
                  <a:spLocks/>
                </p:cNvSpPr>
                <p:nvPr/>
              </p:nvSpPr>
              <p:spPr bwMode="auto">
                <a:xfrm>
                  <a:off x="5682" y="1964"/>
                  <a:ext cx="19" cy="14"/>
                </a:xfrm>
                <a:custGeom>
                  <a:avLst/>
                  <a:gdLst>
                    <a:gd name="T0" fmla="*/ 10 w 19"/>
                    <a:gd name="T1" fmla="*/ 0 h 14"/>
                    <a:gd name="T2" fmla="*/ 6 w 19"/>
                    <a:gd name="T3" fmla="*/ 5 h 14"/>
                    <a:gd name="T4" fmla="*/ 4 w 19"/>
                    <a:gd name="T5" fmla="*/ 12 h 14"/>
                    <a:gd name="T6" fmla="*/ 2 w 19"/>
                    <a:gd name="T7" fmla="*/ 12 h 14"/>
                    <a:gd name="T8" fmla="*/ 2 w 19"/>
                    <a:gd name="T9" fmla="*/ 12 h 14"/>
                    <a:gd name="T10" fmla="*/ 0 w 19"/>
                    <a:gd name="T11" fmla="*/ 14 h 14"/>
                    <a:gd name="T12" fmla="*/ 0 w 19"/>
                    <a:gd name="T13" fmla="*/ 14 h 14"/>
                    <a:gd name="T14" fmla="*/ 0 w 19"/>
                    <a:gd name="T15" fmla="*/ 14 h 14"/>
                    <a:gd name="T16" fmla="*/ 2 w 19"/>
                    <a:gd name="T17" fmla="*/ 14 h 14"/>
                    <a:gd name="T18" fmla="*/ 0 w 19"/>
                    <a:gd name="T19" fmla="*/ 14 h 14"/>
                    <a:gd name="T20" fmla="*/ 2 w 19"/>
                    <a:gd name="T21" fmla="*/ 12 h 14"/>
                    <a:gd name="T22" fmla="*/ 2 w 19"/>
                    <a:gd name="T23" fmla="*/ 12 h 14"/>
                    <a:gd name="T24" fmla="*/ 4 w 19"/>
                    <a:gd name="T25" fmla="*/ 12 h 14"/>
                    <a:gd name="T26" fmla="*/ 6 w 19"/>
                    <a:gd name="T27" fmla="*/ 5 h 14"/>
                    <a:gd name="T28" fmla="*/ 10 w 19"/>
                    <a:gd name="T29" fmla="*/ 0 h 14"/>
                    <a:gd name="T30" fmla="*/ 10 w 19"/>
                    <a:gd name="T31" fmla="*/ 1 h 14"/>
                    <a:gd name="T32" fmla="*/ 15 w 19"/>
                    <a:gd name="T33" fmla="*/ 5 h 14"/>
                    <a:gd name="T34" fmla="*/ 19 w 19"/>
                    <a:gd name="T35" fmla="*/ 12 h 14"/>
                    <a:gd name="T36" fmla="*/ 15 w 19"/>
                    <a:gd name="T37" fmla="*/ 5 h 14"/>
                    <a:gd name="T38" fmla="*/ 10 w 19"/>
                    <a:gd name="T39" fmla="*/ 1 h 14"/>
                    <a:gd name="T40" fmla="*/ 10 w 19"/>
                    <a:gd name="T41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9" h="14">
                      <a:moveTo>
                        <a:pt x="10" y="0"/>
                      </a:moveTo>
                      <a:lnTo>
                        <a:pt x="6" y="5"/>
                      </a:ln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6" y="5"/>
                      </a:lnTo>
                      <a:lnTo>
                        <a:pt x="10" y="0"/>
                      </a:lnTo>
                      <a:lnTo>
                        <a:pt x="10" y="1"/>
                      </a:lnTo>
                      <a:lnTo>
                        <a:pt x="15" y="5"/>
                      </a:lnTo>
                      <a:lnTo>
                        <a:pt x="19" y="12"/>
                      </a:lnTo>
                      <a:lnTo>
                        <a:pt x="15" y="5"/>
                      </a:lnTo>
                      <a:lnTo>
                        <a:pt x="10" y="1"/>
                      </a:lnTo>
                      <a:lnTo>
                        <a:pt x="1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4" name="Freeform 3209"/>
                <p:cNvSpPr>
                  <a:spLocks/>
                </p:cNvSpPr>
                <p:nvPr/>
              </p:nvSpPr>
              <p:spPr bwMode="auto">
                <a:xfrm>
                  <a:off x="5360" y="1724"/>
                  <a:ext cx="1" cy="2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0 h 2"/>
                    <a:gd name="T4" fmla="*/ 1 w 1"/>
                    <a:gd name="T5" fmla="*/ 2 h 2"/>
                    <a:gd name="T6" fmla="*/ 0 w 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5" name="Line 3210"/>
                <p:cNvSpPr>
                  <a:spLocks noChangeShapeType="1"/>
                </p:cNvSpPr>
                <p:nvPr/>
              </p:nvSpPr>
              <p:spPr bwMode="auto">
                <a:xfrm>
                  <a:off x="5422" y="1532"/>
                  <a:ext cx="1" cy="1"/>
                </a:xfrm>
                <a:prstGeom prst="lin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6" name="Freeform 3211"/>
                <p:cNvSpPr>
                  <a:spLocks noEditPoints="1"/>
                </p:cNvSpPr>
                <p:nvPr/>
              </p:nvSpPr>
              <p:spPr bwMode="auto">
                <a:xfrm>
                  <a:off x="5682" y="1964"/>
                  <a:ext cx="23" cy="81"/>
                </a:xfrm>
                <a:custGeom>
                  <a:avLst/>
                  <a:gdLst>
                    <a:gd name="T0" fmla="*/ 4 w 23"/>
                    <a:gd name="T1" fmla="*/ 14 h 81"/>
                    <a:gd name="T2" fmla="*/ 6 w 23"/>
                    <a:gd name="T3" fmla="*/ 12 h 81"/>
                    <a:gd name="T4" fmla="*/ 10 w 23"/>
                    <a:gd name="T5" fmla="*/ 1 h 81"/>
                    <a:gd name="T6" fmla="*/ 17 w 23"/>
                    <a:gd name="T7" fmla="*/ 12 h 81"/>
                    <a:gd name="T8" fmla="*/ 15 w 23"/>
                    <a:gd name="T9" fmla="*/ 16 h 81"/>
                    <a:gd name="T10" fmla="*/ 10 w 23"/>
                    <a:gd name="T11" fmla="*/ 22 h 81"/>
                    <a:gd name="T12" fmla="*/ 10 w 23"/>
                    <a:gd name="T13" fmla="*/ 24 h 81"/>
                    <a:gd name="T14" fmla="*/ 12 w 23"/>
                    <a:gd name="T15" fmla="*/ 27 h 81"/>
                    <a:gd name="T16" fmla="*/ 13 w 23"/>
                    <a:gd name="T17" fmla="*/ 33 h 81"/>
                    <a:gd name="T18" fmla="*/ 17 w 23"/>
                    <a:gd name="T19" fmla="*/ 44 h 81"/>
                    <a:gd name="T20" fmla="*/ 19 w 23"/>
                    <a:gd name="T21" fmla="*/ 64 h 81"/>
                    <a:gd name="T22" fmla="*/ 19 w 23"/>
                    <a:gd name="T23" fmla="*/ 79 h 81"/>
                    <a:gd name="T24" fmla="*/ 12 w 23"/>
                    <a:gd name="T25" fmla="*/ 75 h 81"/>
                    <a:gd name="T26" fmla="*/ 8 w 23"/>
                    <a:gd name="T27" fmla="*/ 68 h 81"/>
                    <a:gd name="T28" fmla="*/ 6 w 23"/>
                    <a:gd name="T29" fmla="*/ 53 h 81"/>
                    <a:gd name="T30" fmla="*/ 4 w 23"/>
                    <a:gd name="T31" fmla="*/ 38 h 81"/>
                    <a:gd name="T32" fmla="*/ 4 w 23"/>
                    <a:gd name="T33" fmla="*/ 22 h 81"/>
                    <a:gd name="T34" fmla="*/ 10 w 23"/>
                    <a:gd name="T35" fmla="*/ 0 h 81"/>
                    <a:gd name="T36" fmla="*/ 4 w 23"/>
                    <a:gd name="T37" fmla="*/ 12 h 81"/>
                    <a:gd name="T38" fmla="*/ 2 w 23"/>
                    <a:gd name="T39" fmla="*/ 12 h 81"/>
                    <a:gd name="T40" fmla="*/ 2 w 23"/>
                    <a:gd name="T41" fmla="*/ 14 h 81"/>
                    <a:gd name="T42" fmla="*/ 2 w 23"/>
                    <a:gd name="T43" fmla="*/ 14 h 81"/>
                    <a:gd name="T44" fmla="*/ 2 w 23"/>
                    <a:gd name="T45" fmla="*/ 22 h 81"/>
                    <a:gd name="T46" fmla="*/ 4 w 23"/>
                    <a:gd name="T47" fmla="*/ 38 h 81"/>
                    <a:gd name="T48" fmla="*/ 6 w 23"/>
                    <a:gd name="T49" fmla="*/ 53 h 81"/>
                    <a:gd name="T50" fmla="*/ 6 w 23"/>
                    <a:gd name="T51" fmla="*/ 68 h 81"/>
                    <a:gd name="T52" fmla="*/ 8 w 23"/>
                    <a:gd name="T53" fmla="*/ 77 h 81"/>
                    <a:gd name="T54" fmla="*/ 15 w 23"/>
                    <a:gd name="T55" fmla="*/ 79 h 81"/>
                    <a:gd name="T56" fmla="*/ 21 w 23"/>
                    <a:gd name="T57" fmla="*/ 81 h 81"/>
                    <a:gd name="T58" fmla="*/ 21 w 23"/>
                    <a:gd name="T59" fmla="*/ 64 h 81"/>
                    <a:gd name="T60" fmla="*/ 19 w 23"/>
                    <a:gd name="T61" fmla="*/ 44 h 81"/>
                    <a:gd name="T62" fmla="*/ 17 w 23"/>
                    <a:gd name="T63" fmla="*/ 36 h 81"/>
                    <a:gd name="T64" fmla="*/ 13 w 23"/>
                    <a:gd name="T65" fmla="*/ 29 h 81"/>
                    <a:gd name="T66" fmla="*/ 12 w 23"/>
                    <a:gd name="T67" fmla="*/ 25 h 81"/>
                    <a:gd name="T68" fmla="*/ 12 w 23"/>
                    <a:gd name="T69" fmla="*/ 22 h 81"/>
                    <a:gd name="T70" fmla="*/ 13 w 23"/>
                    <a:gd name="T71" fmla="*/ 22 h 81"/>
                    <a:gd name="T72" fmla="*/ 19 w 23"/>
                    <a:gd name="T73" fmla="*/ 12 h 81"/>
                    <a:gd name="T74" fmla="*/ 15 w 23"/>
                    <a:gd name="T75" fmla="*/ 5 h 81"/>
                    <a:gd name="T76" fmla="*/ 10 w 23"/>
                    <a:gd name="T77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3" h="81">
                      <a:moveTo>
                        <a:pt x="2" y="14"/>
                      </a:move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8" y="7"/>
                      </a:lnTo>
                      <a:lnTo>
                        <a:pt x="10" y="1"/>
                      </a:lnTo>
                      <a:lnTo>
                        <a:pt x="13" y="7"/>
                      </a:lnTo>
                      <a:lnTo>
                        <a:pt x="17" y="12"/>
                      </a:lnTo>
                      <a:lnTo>
                        <a:pt x="15" y="16"/>
                      </a:lnTo>
                      <a:lnTo>
                        <a:pt x="15" y="16"/>
                      </a:lnTo>
                      <a:lnTo>
                        <a:pt x="12" y="20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12" y="27"/>
                      </a:lnTo>
                      <a:lnTo>
                        <a:pt x="13" y="29"/>
                      </a:lnTo>
                      <a:lnTo>
                        <a:pt x="13" y="33"/>
                      </a:lnTo>
                      <a:lnTo>
                        <a:pt x="15" y="36"/>
                      </a:lnTo>
                      <a:lnTo>
                        <a:pt x="17" y="44"/>
                      </a:lnTo>
                      <a:lnTo>
                        <a:pt x="19" y="51"/>
                      </a:lnTo>
                      <a:lnTo>
                        <a:pt x="19" y="64"/>
                      </a:lnTo>
                      <a:lnTo>
                        <a:pt x="21" y="79"/>
                      </a:lnTo>
                      <a:lnTo>
                        <a:pt x="19" y="79"/>
                      </a:lnTo>
                      <a:lnTo>
                        <a:pt x="15" y="77"/>
                      </a:lnTo>
                      <a:lnTo>
                        <a:pt x="12" y="75"/>
                      </a:lnTo>
                      <a:lnTo>
                        <a:pt x="10" y="75"/>
                      </a:lnTo>
                      <a:lnTo>
                        <a:pt x="8" y="68"/>
                      </a:lnTo>
                      <a:lnTo>
                        <a:pt x="8" y="60"/>
                      </a:lnTo>
                      <a:lnTo>
                        <a:pt x="6" y="53"/>
                      </a:lnTo>
                      <a:lnTo>
                        <a:pt x="6" y="46"/>
                      </a:lnTo>
                      <a:lnTo>
                        <a:pt x="4" y="38"/>
                      </a:lnTo>
                      <a:lnTo>
                        <a:pt x="4" y="29"/>
                      </a:lnTo>
                      <a:lnTo>
                        <a:pt x="4" y="22"/>
                      </a:lnTo>
                      <a:lnTo>
                        <a:pt x="2" y="14"/>
                      </a:lnTo>
                      <a:close/>
                      <a:moveTo>
                        <a:pt x="10" y="0"/>
                      </a:moveTo>
                      <a:lnTo>
                        <a:pt x="6" y="5"/>
                      </a:ln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2" y="22"/>
                      </a:lnTo>
                      <a:lnTo>
                        <a:pt x="2" y="31"/>
                      </a:lnTo>
                      <a:lnTo>
                        <a:pt x="4" y="38"/>
                      </a:lnTo>
                      <a:lnTo>
                        <a:pt x="4" y="46"/>
                      </a:lnTo>
                      <a:lnTo>
                        <a:pt x="6" y="53"/>
                      </a:lnTo>
                      <a:lnTo>
                        <a:pt x="6" y="60"/>
                      </a:lnTo>
                      <a:lnTo>
                        <a:pt x="6" y="68"/>
                      </a:lnTo>
                      <a:lnTo>
                        <a:pt x="8" y="75"/>
                      </a:lnTo>
                      <a:lnTo>
                        <a:pt x="8" y="77"/>
                      </a:lnTo>
                      <a:lnTo>
                        <a:pt x="12" y="77"/>
                      </a:lnTo>
                      <a:lnTo>
                        <a:pt x="15" y="79"/>
                      </a:lnTo>
                      <a:lnTo>
                        <a:pt x="17" y="79"/>
                      </a:lnTo>
                      <a:lnTo>
                        <a:pt x="21" y="81"/>
                      </a:lnTo>
                      <a:lnTo>
                        <a:pt x="23" y="81"/>
                      </a:lnTo>
                      <a:lnTo>
                        <a:pt x="21" y="64"/>
                      </a:lnTo>
                      <a:lnTo>
                        <a:pt x="19" y="49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17" y="36"/>
                      </a:lnTo>
                      <a:lnTo>
                        <a:pt x="15" y="33"/>
                      </a:lnTo>
                      <a:lnTo>
                        <a:pt x="13" y="29"/>
                      </a:lnTo>
                      <a:lnTo>
                        <a:pt x="13" y="29"/>
                      </a:lnTo>
                      <a:lnTo>
                        <a:pt x="12" y="25"/>
                      </a:lnTo>
                      <a:lnTo>
                        <a:pt x="10" y="24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3" y="22"/>
                      </a:lnTo>
                      <a:lnTo>
                        <a:pt x="15" y="16"/>
                      </a:lnTo>
                      <a:lnTo>
                        <a:pt x="19" y="12"/>
                      </a:lnTo>
                      <a:lnTo>
                        <a:pt x="19" y="12"/>
                      </a:lnTo>
                      <a:lnTo>
                        <a:pt x="15" y="5"/>
                      </a:lnTo>
                      <a:lnTo>
                        <a:pt x="10" y="1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7" name="Freeform 3212"/>
                <p:cNvSpPr>
                  <a:spLocks/>
                </p:cNvSpPr>
                <p:nvPr/>
              </p:nvSpPr>
              <p:spPr bwMode="auto">
                <a:xfrm>
                  <a:off x="5684" y="1965"/>
                  <a:ext cx="19" cy="78"/>
                </a:xfrm>
                <a:custGeom>
                  <a:avLst/>
                  <a:gdLst>
                    <a:gd name="T0" fmla="*/ 0 w 19"/>
                    <a:gd name="T1" fmla="*/ 13 h 78"/>
                    <a:gd name="T2" fmla="*/ 2 w 19"/>
                    <a:gd name="T3" fmla="*/ 13 h 78"/>
                    <a:gd name="T4" fmla="*/ 2 w 19"/>
                    <a:gd name="T5" fmla="*/ 11 h 78"/>
                    <a:gd name="T6" fmla="*/ 4 w 19"/>
                    <a:gd name="T7" fmla="*/ 11 h 78"/>
                    <a:gd name="T8" fmla="*/ 6 w 19"/>
                    <a:gd name="T9" fmla="*/ 6 h 78"/>
                    <a:gd name="T10" fmla="*/ 8 w 19"/>
                    <a:gd name="T11" fmla="*/ 0 h 78"/>
                    <a:gd name="T12" fmla="*/ 11 w 19"/>
                    <a:gd name="T13" fmla="*/ 6 h 78"/>
                    <a:gd name="T14" fmla="*/ 15 w 19"/>
                    <a:gd name="T15" fmla="*/ 11 h 78"/>
                    <a:gd name="T16" fmla="*/ 13 w 19"/>
                    <a:gd name="T17" fmla="*/ 15 h 78"/>
                    <a:gd name="T18" fmla="*/ 13 w 19"/>
                    <a:gd name="T19" fmla="*/ 15 h 78"/>
                    <a:gd name="T20" fmla="*/ 10 w 19"/>
                    <a:gd name="T21" fmla="*/ 19 h 78"/>
                    <a:gd name="T22" fmla="*/ 8 w 19"/>
                    <a:gd name="T23" fmla="*/ 21 h 78"/>
                    <a:gd name="T24" fmla="*/ 8 w 19"/>
                    <a:gd name="T25" fmla="*/ 21 h 78"/>
                    <a:gd name="T26" fmla="*/ 8 w 19"/>
                    <a:gd name="T27" fmla="*/ 23 h 78"/>
                    <a:gd name="T28" fmla="*/ 6 w 19"/>
                    <a:gd name="T29" fmla="*/ 23 h 78"/>
                    <a:gd name="T30" fmla="*/ 10 w 19"/>
                    <a:gd name="T31" fmla="*/ 26 h 78"/>
                    <a:gd name="T32" fmla="*/ 11 w 19"/>
                    <a:gd name="T33" fmla="*/ 28 h 78"/>
                    <a:gd name="T34" fmla="*/ 11 w 19"/>
                    <a:gd name="T35" fmla="*/ 32 h 78"/>
                    <a:gd name="T36" fmla="*/ 13 w 19"/>
                    <a:gd name="T37" fmla="*/ 35 h 78"/>
                    <a:gd name="T38" fmla="*/ 15 w 19"/>
                    <a:gd name="T39" fmla="*/ 43 h 78"/>
                    <a:gd name="T40" fmla="*/ 17 w 19"/>
                    <a:gd name="T41" fmla="*/ 50 h 78"/>
                    <a:gd name="T42" fmla="*/ 17 w 19"/>
                    <a:gd name="T43" fmla="*/ 63 h 78"/>
                    <a:gd name="T44" fmla="*/ 19 w 19"/>
                    <a:gd name="T45" fmla="*/ 78 h 78"/>
                    <a:gd name="T46" fmla="*/ 17 w 19"/>
                    <a:gd name="T47" fmla="*/ 78 h 78"/>
                    <a:gd name="T48" fmla="*/ 13 w 19"/>
                    <a:gd name="T49" fmla="*/ 76 h 78"/>
                    <a:gd name="T50" fmla="*/ 10 w 19"/>
                    <a:gd name="T51" fmla="*/ 74 h 78"/>
                    <a:gd name="T52" fmla="*/ 8 w 19"/>
                    <a:gd name="T53" fmla="*/ 74 h 78"/>
                    <a:gd name="T54" fmla="*/ 6 w 19"/>
                    <a:gd name="T55" fmla="*/ 67 h 78"/>
                    <a:gd name="T56" fmla="*/ 6 w 19"/>
                    <a:gd name="T57" fmla="*/ 59 h 78"/>
                    <a:gd name="T58" fmla="*/ 4 w 19"/>
                    <a:gd name="T59" fmla="*/ 52 h 78"/>
                    <a:gd name="T60" fmla="*/ 4 w 19"/>
                    <a:gd name="T61" fmla="*/ 45 h 78"/>
                    <a:gd name="T62" fmla="*/ 2 w 19"/>
                    <a:gd name="T63" fmla="*/ 37 h 78"/>
                    <a:gd name="T64" fmla="*/ 2 w 19"/>
                    <a:gd name="T65" fmla="*/ 28 h 78"/>
                    <a:gd name="T66" fmla="*/ 2 w 19"/>
                    <a:gd name="T67" fmla="*/ 21 h 78"/>
                    <a:gd name="T68" fmla="*/ 0 w 19"/>
                    <a:gd name="T69" fmla="*/ 13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" h="78">
                      <a:moveTo>
                        <a:pt x="0" y="13"/>
                      </a:move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4" y="11"/>
                      </a:lnTo>
                      <a:lnTo>
                        <a:pt x="6" y="6"/>
                      </a:lnTo>
                      <a:lnTo>
                        <a:pt x="8" y="0"/>
                      </a:lnTo>
                      <a:lnTo>
                        <a:pt x="11" y="6"/>
                      </a:lnTo>
                      <a:lnTo>
                        <a:pt x="15" y="11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0" y="19"/>
                      </a:lnTo>
                      <a:lnTo>
                        <a:pt x="8" y="21"/>
                      </a:lnTo>
                      <a:lnTo>
                        <a:pt x="8" y="21"/>
                      </a:lnTo>
                      <a:lnTo>
                        <a:pt x="8" y="23"/>
                      </a:lnTo>
                      <a:lnTo>
                        <a:pt x="6" y="23"/>
                      </a:lnTo>
                      <a:lnTo>
                        <a:pt x="10" y="26"/>
                      </a:lnTo>
                      <a:lnTo>
                        <a:pt x="11" y="28"/>
                      </a:lnTo>
                      <a:lnTo>
                        <a:pt x="11" y="32"/>
                      </a:lnTo>
                      <a:lnTo>
                        <a:pt x="13" y="35"/>
                      </a:lnTo>
                      <a:lnTo>
                        <a:pt x="15" y="43"/>
                      </a:lnTo>
                      <a:lnTo>
                        <a:pt x="17" y="50"/>
                      </a:lnTo>
                      <a:lnTo>
                        <a:pt x="17" y="63"/>
                      </a:lnTo>
                      <a:lnTo>
                        <a:pt x="19" y="78"/>
                      </a:lnTo>
                      <a:lnTo>
                        <a:pt x="17" y="78"/>
                      </a:lnTo>
                      <a:lnTo>
                        <a:pt x="13" y="76"/>
                      </a:lnTo>
                      <a:lnTo>
                        <a:pt x="10" y="74"/>
                      </a:lnTo>
                      <a:lnTo>
                        <a:pt x="8" y="74"/>
                      </a:lnTo>
                      <a:lnTo>
                        <a:pt x="6" y="67"/>
                      </a:lnTo>
                      <a:lnTo>
                        <a:pt x="6" y="59"/>
                      </a:lnTo>
                      <a:lnTo>
                        <a:pt x="4" y="52"/>
                      </a:lnTo>
                      <a:lnTo>
                        <a:pt x="4" y="45"/>
                      </a:lnTo>
                      <a:lnTo>
                        <a:pt x="2" y="37"/>
                      </a:lnTo>
                      <a:lnTo>
                        <a:pt x="2" y="28"/>
                      </a:lnTo>
                      <a:lnTo>
                        <a:pt x="2" y="21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8" name="Freeform 3213"/>
                <p:cNvSpPr>
                  <a:spLocks/>
                </p:cNvSpPr>
                <p:nvPr/>
              </p:nvSpPr>
              <p:spPr bwMode="auto">
                <a:xfrm>
                  <a:off x="5682" y="1964"/>
                  <a:ext cx="23" cy="81"/>
                </a:xfrm>
                <a:custGeom>
                  <a:avLst/>
                  <a:gdLst>
                    <a:gd name="T0" fmla="*/ 10 w 23"/>
                    <a:gd name="T1" fmla="*/ 0 h 81"/>
                    <a:gd name="T2" fmla="*/ 6 w 23"/>
                    <a:gd name="T3" fmla="*/ 5 h 81"/>
                    <a:gd name="T4" fmla="*/ 4 w 23"/>
                    <a:gd name="T5" fmla="*/ 12 h 81"/>
                    <a:gd name="T6" fmla="*/ 2 w 23"/>
                    <a:gd name="T7" fmla="*/ 12 h 81"/>
                    <a:gd name="T8" fmla="*/ 2 w 23"/>
                    <a:gd name="T9" fmla="*/ 12 h 81"/>
                    <a:gd name="T10" fmla="*/ 0 w 23"/>
                    <a:gd name="T11" fmla="*/ 14 h 81"/>
                    <a:gd name="T12" fmla="*/ 2 w 23"/>
                    <a:gd name="T13" fmla="*/ 14 h 81"/>
                    <a:gd name="T14" fmla="*/ 0 w 23"/>
                    <a:gd name="T15" fmla="*/ 14 h 81"/>
                    <a:gd name="T16" fmla="*/ 2 w 23"/>
                    <a:gd name="T17" fmla="*/ 14 h 81"/>
                    <a:gd name="T18" fmla="*/ 0 w 23"/>
                    <a:gd name="T19" fmla="*/ 14 h 81"/>
                    <a:gd name="T20" fmla="*/ 2 w 23"/>
                    <a:gd name="T21" fmla="*/ 22 h 81"/>
                    <a:gd name="T22" fmla="*/ 2 w 23"/>
                    <a:gd name="T23" fmla="*/ 31 h 81"/>
                    <a:gd name="T24" fmla="*/ 4 w 23"/>
                    <a:gd name="T25" fmla="*/ 38 h 81"/>
                    <a:gd name="T26" fmla="*/ 4 w 23"/>
                    <a:gd name="T27" fmla="*/ 46 h 81"/>
                    <a:gd name="T28" fmla="*/ 6 w 23"/>
                    <a:gd name="T29" fmla="*/ 53 h 81"/>
                    <a:gd name="T30" fmla="*/ 6 w 23"/>
                    <a:gd name="T31" fmla="*/ 60 h 81"/>
                    <a:gd name="T32" fmla="*/ 6 w 23"/>
                    <a:gd name="T33" fmla="*/ 68 h 81"/>
                    <a:gd name="T34" fmla="*/ 8 w 23"/>
                    <a:gd name="T35" fmla="*/ 75 h 81"/>
                    <a:gd name="T36" fmla="*/ 8 w 23"/>
                    <a:gd name="T37" fmla="*/ 77 h 81"/>
                    <a:gd name="T38" fmla="*/ 12 w 23"/>
                    <a:gd name="T39" fmla="*/ 77 h 81"/>
                    <a:gd name="T40" fmla="*/ 15 w 23"/>
                    <a:gd name="T41" fmla="*/ 79 h 81"/>
                    <a:gd name="T42" fmla="*/ 17 w 23"/>
                    <a:gd name="T43" fmla="*/ 79 h 81"/>
                    <a:gd name="T44" fmla="*/ 21 w 23"/>
                    <a:gd name="T45" fmla="*/ 81 h 81"/>
                    <a:gd name="T46" fmla="*/ 23 w 23"/>
                    <a:gd name="T47" fmla="*/ 81 h 81"/>
                    <a:gd name="T48" fmla="*/ 21 w 23"/>
                    <a:gd name="T49" fmla="*/ 64 h 81"/>
                    <a:gd name="T50" fmla="*/ 19 w 23"/>
                    <a:gd name="T51" fmla="*/ 49 h 81"/>
                    <a:gd name="T52" fmla="*/ 19 w 23"/>
                    <a:gd name="T53" fmla="*/ 44 h 81"/>
                    <a:gd name="T54" fmla="*/ 19 w 23"/>
                    <a:gd name="T55" fmla="*/ 44 h 81"/>
                    <a:gd name="T56" fmla="*/ 17 w 23"/>
                    <a:gd name="T57" fmla="*/ 36 h 81"/>
                    <a:gd name="T58" fmla="*/ 15 w 23"/>
                    <a:gd name="T59" fmla="*/ 33 h 81"/>
                    <a:gd name="T60" fmla="*/ 13 w 23"/>
                    <a:gd name="T61" fmla="*/ 29 h 81"/>
                    <a:gd name="T62" fmla="*/ 13 w 23"/>
                    <a:gd name="T63" fmla="*/ 29 h 81"/>
                    <a:gd name="T64" fmla="*/ 12 w 23"/>
                    <a:gd name="T65" fmla="*/ 25 h 81"/>
                    <a:gd name="T66" fmla="*/ 10 w 23"/>
                    <a:gd name="T67" fmla="*/ 24 h 81"/>
                    <a:gd name="T68" fmla="*/ 12 w 23"/>
                    <a:gd name="T69" fmla="*/ 22 h 81"/>
                    <a:gd name="T70" fmla="*/ 13 w 23"/>
                    <a:gd name="T71" fmla="*/ 22 h 81"/>
                    <a:gd name="T72" fmla="*/ 13 w 23"/>
                    <a:gd name="T73" fmla="*/ 22 h 81"/>
                    <a:gd name="T74" fmla="*/ 15 w 23"/>
                    <a:gd name="T75" fmla="*/ 16 h 81"/>
                    <a:gd name="T76" fmla="*/ 19 w 23"/>
                    <a:gd name="T77" fmla="*/ 12 h 81"/>
                    <a:gd name="T78" fmla="*/ 19 w 23"/>
                    <a:gd name="T79" fmla="*/ 12 h 81"/>
                    <a:gd name="T80" fmla="*/ 15 w 23"/>
                    <a:gd name="T81" fmla="*/ 5 h 81"/>
                    <a:gd name="T82" fmla="*/ 10 w 23"/>
                    <a:gd name="T83" fmla="*/ 1 h 81"/>
                    <a:gd name="T84" fmla="*/ 10 w 23"/>
                    <a:gd name="T85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3" h="81">
                      <a:moveTo>
                        <a:pt x="10" y="0"/>
                      </a:moveTo>
                      <a:lnTo>
                        <a:pt x="6" y="5"/>
                      </a:ln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2" y="22"/>
                      </a:lnTo>
                      <a:lnTo>
                        <a:pt x="2" y="31"/>
                      </a:lnTo>
                      <a:lnTo>
                        <a:pt x="4" y="38"/>
                      </a:lnTo>
                      <a:lnTo>
                        <a:pt x="4" y="46"/>
                      </a:lnTo>
                      <a:lnTo>
                        <a:pt x="6" y="53"/>
                      </a:lnTo>
                      <a:lnTo>
                        <a:pt x="6" y="60"/>
                      </a:lnTo>
                      <a:lnTo>
                        <a:pt x="6" y="68"/>
                      </a:lnTo>
                      <a:lnTo>
                        <a:pt x="8" y="75"/>
                      </a:lnTo>
                      <a:lnTo>
                        <a:pt x="8" y="77"/>
                      </a:lnTo>
                      <a:lnTo>
                        <a:pt x="12" y="77"/>
                      </a:lnTo>
                      <a:lnTo>
                        <a:pt x="15" y="79"/>
                      </a:lnTo>
                      <a:lnTo>
                        <a:pt x="17" y="79"/>
                      </a:lnTo>
                      <a:lnTo>
                        <a:pt x="21" y="81"/>
                      </a:lnTo>
                      <a:lnTo>
                        <a:pt x="23" y="81"/>
                      </a:lnTo>
                      <a:lnTo>
                        <a:pt x="21" y="64"/>
                      </a:lnTo>
                      <a:lnTo>
                        <a:pt x="19" y="49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17" y="36"/>
                      </a:lnTo>
                      <a:lnTo>
                        <a:pt x="15" y="33"/>
                      </a:lnTo>
                      <a:lnTo>
                        <a:pt x="13" y="29"/>
                      </a:lnTo>
                      <a:lnTo>
                        <a:pt x="13" y="29"/>
                      </a:lnTo>
                      <a:lnTo>
                        <a:pt x="12" y="25"/>
                      </a:lnTo>
                      <a:lnTo>
                        <a:pt x="10" y="24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3" y="22"/>
                      </a:lnTo>
                      <a:lnTo>
                        <a:pt x="15" y="16"/>
                      </a:lnTo>
                      <a:lnTo>
                        <a:pt x="19" y="12"/>
                      </a:lnTo>
                      <a:lnTo>
                        <a:pt x="19" y="12"/>
                      </a:lnTo>
                      <a:lnTo>
                        <a:pt x="15" y="5"/>
                      </a:lnTo>
                      <a:lnTo>
                        <a:pt x="10" y="1"/>
                      </a:lnTo>
                      <a:lnTo>
                        <a:pt x="10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999" name="Freeform 3214"/>
                <p:cNvSpPr>
                  <a:spLocks/>
                </p:cNvSpPr>
                <p:nvPr/>
              </p:nvSpPr>
              <p:spPr bwMode="auto">
                <a:xfrm>
                  <a:off x="5686" y="1978"/>
                  <a:ext cx="6" cy="2"/>
                </a:xfrm>
                <a:custGeom>
                  <a:avLst/>
                  <a:gdLst>
                    <a:gd name="T0" fmla="*/ 4 w 6"/>
                    <a:gd name="T1" fmla="*/ 0 h 2"/>
                    <a:gd name="T2" fmla="*/ 2 w 6"/>
                    <a:gd name="T3" fmla="*/ 0 h 2"/>
                    <a:gd name="T4" fmla="*/ 0 w 6"/>
                    <a:gd name="T5" fmla="*/ 2 h 2"/>
                    <a:gd name="T6" fmla="*/ 0 w 6"/>
                    <a:gd name="T7" fmla="*/ 2 h 2"/>
                    <a:gd name="T8" fmla="*/ 0 w 6"/>
                    <a:gd name="T9" fmla="*/ 2 h 2"/>
                    <a:gd name="T10" fmla="*/ 0 w 6"/>
                    <a:gd name="T11" fmla="*/ 2 h 2"/>
                    <a:gd name="T12" fmla="*/ 0 w 6"/>
                    <a:gd name="T13" fmla="*/ 2 h 2"/>
                    <a:gd name="T14" fmla="*/ 0 w 6"/>
                    <a:gd name="T15" fmla="*/ 2 h 2"/>
                    <a:gd name="T16" fmla="*/ 0 w 6"/>
                    <a:gd name="T17" fmla="*/ 2 h 2"/>
                    <a:gd name="T18" fmla="*/ 2 w 6"/>
                    <a:gd name="T19" fmla="*/ 0 h 2"/>
                    <a:gd name="T20" fmla="*/ 2 w 6"/>
                    <a:gd name="T21" fmla="*/ 0 h 2"/>
                    <a:gd name="T22" fmla="*/ 2 w 6"/>
                    <a:gd name="T23" fmla="*/ 0 h 2"/>
                    <a:gd name="T24" fmla="*/ 2 w 6"/>
                    <a:gd name="T25" fmla="*/ 0 h 2"/>
                    <a:gd name="T26" fmla="*/ 4 w 6"/>
                    <a:gd name="T27" fmla="*/ 0 h 2"/>
                    <a:gd name="T28" fmla="*/ 4 w 6"/>
                    <a:gd name="T29" fmla="*/ 2 h 2"/>
                    <a:gd name="T30" fmla="*/ 6 w 6"/>
                    <a:gd name="T31" fmla="*/ 2 h 2"/>
                    <a:gd name="T32" fmla="*/ 4 w 6"/>
                    <a:gd name="T33" fmla="*/ 2 h 2"/>
                    <a:gd name="T34" fmla="*/ 4 w 6"/>
                    <a:gd name="T35" fmla="*/ 0 h 2"/>
                    <a:gd name="T36" fmla="*/ 4 w 6"/>
                    <a:gd name="T3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0" name="Freeform 3215"/>
                <p:cNvSpPr>
                  <a:spLocks/>
                </p:cNvSpPr>
                <p:nvPr/>
              </p:nvSpPr>
              <p:spPr bwMode="auto">
                <a:xfrm>
                  <a:off x="5686" y="1978"/>
                  <a:ext cx="6" cy="2"/>
                </a:xfrm>
                <a:custGeom>
                  <a:avLst/>
                  <a:gdLst>
                    <a:gd name="T0" fmla="*/ 4 w 6"/>
                    <a:gd name="T1" fmla="*/ 0 h 2"/>
                    <a:gd name="T2" fmla="*/ 2 w 6"/>
                    <a:gd name="T3" fmla="*/ 0 h 2"/>
                    <a:gd name="T4" fmla="*/ 0 w 6"/>
                    <a:gd name="T5" fmla="*/ 2 h 2"/>
                    <a:gd name="T6" fmla="*/ 0 w 6"/>
                    <a:gd name="T7" fmla="*/ 2 h 2"/>
                    <a:gd name="T8" fmla="*/ 0 w 6"/>
                    <a:gd name="T9" fmla="*/ 2 h 2"/>
                    <a:gd name="T10" fmla="*/ 0 w 6"/>
                    <a:gd name="T11" fmla="*/ 2 h 2"/>
                    <a:gd name="T12" fmla="*/ 0 w 6"/>
                    <a:gd name="T13" fmla="*/ 2 h 2"/>
                    <a:gd name="T14" fmla="*/ 0 w 6"/>
                    <a:gd name="T15" fmla="*/ 2 h 2"/>
                    <a:gd name="T16" fmla="*/ 0 w 6"/>
                    <a:gd name="T17" fmla="*/ 2 h 2"/>
                    <a:gd name="T18" fmla="*/ 2 w 6"/>
                    <a:gd name="T19" fmla="*/ 0 h 2"/>
                    <a:gd name="T20" fmla="*/ 2 w 6"/>
                    <a:gd name="T21" fmla="*/ 0 h 2"/>
                    <a:gd name="T22" fmla="*/ 2 w 6"/>
                    <a:gd name="T23" fmla="*/ 0 h 2"/>
                    <a:gd name="T24" fmla="*/ 2 w 6"/>
                    <a:gd name="T25" fmla="*/ 0 h 2"/>
                    <a:gd name="T26" fmla="*/ 4 w 6"/>
                    <a:gd name="T27" fmla="*/ 0 h 2"/>
                    <a:gd name="T28" fmla="*/ 4 w 6"/>
                    <a:gd name="T29" fmla="*/ 2 h 2"/>
                    <a:gd name="T30" fmla="*/ 6 w 6"/>
                    <a:gd name="T31" fmla="*/ 2 h 2"/>
                    <a:gd name="T32" fmla="*/ 4 w 6"/>
                    <a:gd name="T33" fmla="*/ 2 h 2"/>
                    <a:gd name="T34" fmla="*/ 4 w 6"/>
                    <a:gd name="T35" fmla="*/ 0 h 2"/>
                    <a:gd name="T36" fmla="*/ 4 w 6"/>
                    <a:gd name="T3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1" name="Freeform 3216"/>
                <p:cNvSpPr>
                  <a:spLocks noEditPoints="1"/>
                </p:cNvSpPr>
                <p:nvPr/>
              </p:nvSpPr>
              <p:spPr bwMode="auto">
                <a:xfrm>
                  <a:off x="5686" y="1978"/>
                  <a:ext cx="6" cy="8"/>
                </a:xfrm>
                <a:custGeom>
                  <a:avLst/>
                  <a:gdLst>
                    <a:gd name="T0" fmla="*/ 2 w 6"/>
                    <a:gd name="T1" fmla="*/ 4 h 8"/>
                    <a:gd name="T2" fmla="*/ 2 w 6"/>
                    <a:gd name="T3" fmla="*/ 4 h 8"/>
                    <a:gd name="T4" fmla="*/ 2 w 6"/>
                    <a:gd name="T5" fmla="*/ 2 h 8"/>
                    <a:gd name="T6" fmla="*/ 2 w 6"/>
                    <a:gd name="T7" fmla="*/ 2 h 8"/>
                    <a:gd name="T8" fmla="*/ 4 w 6"/>
                    <a:gd name="T9" fmla="*/ 2 h 8"/>
                    <a:gd name="T10" fmla="*/ 4 w 6"/>
                    <a:gd name="T11" fmla="*/ 2 h 8"/>
                    <a:gd name="T12" fmla="*/ 4 w 6"/>
                    <a:gd name="T13" fmla="*/ 4 h 8"/>
                    <a:gd name="T14" fmla="*/ 4 w 6"/>
                    <a:gd name="T15" fmla="*/ 4 h 8"/>
                    <a:gd name="T16" fmla="*/ 2 w 6"/>
                    <a:gd name="T17" fmla="*/ 6 h 8"/>
                    <a:gd name="T18" fmla="*/ 2 w 6"/>
                    <a:gd name="T19" fmla="*/ 4 h 8"/>
                    <a:gd name="T20" fmla="*/ 2 w 6"/>
                    <a:gd name="T21" fmla="*/ 4 h 8"/>
                    <a:gd name="T22" fmla="*/ 2 w 6"/>
                    <a:gd name="T23" fmla="*/ 0 h 8"/>
                    <a:gd name="T24" fmla="*/ 0 w 6"/>
                    <a:gd name="T25" fmla="*/ 2 h 8"/>
                    <a:gd name="T26" fmla="*/ 0 w 6"/>
                    <a:gd name="T27" fmla="*/ 2 h 8"/>
                    <a:gd name="T28" fmla="*/ 0 w 6"/>
                    <a:gd name="T29" fmla="*/ 2 h 8"/>
                    <a:gd name="T30" fmla="*/ 0 w 6"/>
                    <a:gd name="T31" fmla="*/ 2 h 8"/>
                    <a:gd name="T32" fmla="*/ 0 w 6"/>
                    <a:gd name="T33" fmla="*/ 6 h 8"/>
                    <a:gd name="T34" fmla="*/ 0 w 6"/>
                    <a:gd name="T35" fmla="*/ 6 h 8"/>
                    <a:gd name="T36" fmla="*/ 2 w 6"/>
                    <a:gd name="T37" fmla="*/ 8 h 8"/>
                    <a:gd name="T38" fmla="*/ 4 w 6"/>
                    <a:gd name="T39" fmla="*/ 8 h 8"/>
                    <a:gd name="T40" fmla="*/ 4 w 6"/>
                    <a:gd name="T41" fmla="*/ 6 h 8"/>
                    <a:gd name="T42" fmla="*/ 6 w 6"/>
                    <a:gd name="T43" fmla="*/ 4 h 8"/>
                    <a:gd name="T44" fmla="*/ 6 w 6"/>
                    <a:gd name="T45" fmla="*/ 2 h 8"/>
                    <a:gd name="T46" fmla="*/ 4 w 6"/>
                    <a:gd name="T47" fmla="*/ 2 h 8"/>
                    <a:gd name="T48" fmla="*/ 4 w 6"/>
                    <a:gd name="T49" fmla="*/ 0 h 8"/>
                    <a:gd name="T50" fmla="*/ 2 w 6"/>
                    <a:gd name="T51" fmla="*/ 0 h 8"/>
                    <a:gd name="T52" fmla="*/ 2 w 6"/>
                    <a:gd name="T53" fmla="*/ 0 h 8"/>
                    <a:gd name="T54" fmla="*/ 2 w 6"/>
                    <a:gd name="T55" fmla="*/ 0 h 8"/>
                    <a:gd name="T56" fmla="*/ 2 w 6"/>
                    <a:gd name="T5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" h="8"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2" name="Freeform 3217"/>
                <p:cNvSpPr>
                  <a:spLocks/>
                </p:cNvSpPr>
                <p:nvPr/>
              </p:nvSpPr>
              <p:spPr bwMode="auto">
                <a:xfrm>
                  <a:off x="5688" y="1980"/>
                  <a:ext cx="2" cy="4"/>
                </a:xfrm>
                <a:custGeom>
                  <a:avLst/>
                  <a:gdLst>
                    <a:gd name="T0" fmla="*/ 0 w 2"/>
                    <a:gd name="T1" fmla="*/ 2 h 4"/>
                    <a:gd name="T2" fmla="*/ 0 w 2"/>
                    <a:gd name="T3" fmla="*/ 2 h 4"/>
                    <a:gd name="T4" fmla="*/ 0 w 2"/>
                    <a:gd name="T5" fmla="*/ 0 h 4"/>
                    <a:gd name="T6" fmla="*/ 0 w 2"/>
                    <a:gd name="T7" fmla="*/ 0 h 4"/>
                    <a:gd name="T8" fmla="*/ 2 w 2"/>
                    <a:gd name="T9" fmla="*/ 0 h 4"/>
                    <a:gd name="T10" fmla="*/ 2 w 2"/>
                    <a:gd name="T11" fmla="*/ 0 h 4"/>
                    <a:gd name="T12" fmla="*/ 2 w 2"/>
                    <a:gd name="T13" fmla="*/ 2 h 4"/>
                    <a:gd name="T14" fmla="*/ 2 w 2"/>
                    <a:gd name="T15" fmla="*/ 2 h 4"/>
                    <a:gd name="T16" fmla="*/ 0 w 2"/>
                    <a:gd name="T17" fmla="*/ 4 h 4"/>
                    <a:gd name="T18" fmla="*/ 0 w 2"/>
                    <a:gd name="T19" fmla="*/ 2 h 4"/>
                    <a:gd name="T20" fmla="*/ 0 w 2"/>
                    <a:gd name="T2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" h="4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3" name="Freeform 3218"/>
                <p:cNvSpPr>
                  <a:spLocks/>
                </p:cNvSpPr>
                <p:nvPr/>
              </p:nvSpPr>
              <p:spPr bwMode="auto">
                <a:xfrm>
                  <a:off x="5686" y="1978"/>
                  <a:ext cx="6" cy="8"/>
                </a:xfrm>
                <a:custGeom>
                  <a:avLst/>
                  <a:gdLst>
                    <a:gd name="T0" fmla="*/ 2 w 6"/>
                    <a:gd name="T1" fmla="*/ 0 h 8"/>
                    <a:gd name="T2" fmla="*/ 0 w 6"/>
                    <a:gd name="T3" fmla="*/ 2 h 8"/>
                    <a:gd name="T4" fmla="*/ 0 w 6"/>
                    <a:gd name="T5" fmla="*/ 2 h 8"/>
                    <a:gd name="T6" fmla="*/ 0 w 6"/>
                    <a:gd name="T7" fmla="*/ 2 h 8"/>
                    <a:gd name="T8" fmla="*/ 0 w 6"/>
                    <a:gd name="T9" fmla="*/ 2 h 8"/>
                    <a:gd name="T10" fmla="*/ 0 w 6"/>
                    <a:gd name="T11" fmla="*/ 6 h 8"/>
                    <a:gd name="T12" fmla="*/ 0 w 6"/>
                    <a:gd name="T13" fmla="*/ 6 h 8"/>
                    <a:gd name="T14" fmla="*/ 2 w 6"/>
                    <a:gd name="T15" fmla="*/ 8 h 8"/>
                    <a:gd name="T16" fmla="*/ 4 w 6"/>
                    <a:gd name="T17" fmla="*/ 8 h 8"/>
                    <a:gd name="T18" fmla="*/ 4 w 6"/>
                    <a:gd name="T19" fmla="*/ 6 h 8"/>
                    <a:gd name="T20" fmla="*/ 6 w 6"/>
                    <a:gd name="T21" fmla="*/ 4 h 8"/>
                    <a:gd name="T22" fmla="*/ 6 w 6"/>
                    <a:gd name="T23" fmla="*/ 2 h 8"/>
                    <a:gd name="T24" fmla="*/ 4 w 6"/>
                    <a:gd name="T25" fmla="*/ 2 h 8"/>
                    <a:gd name="T26" fmla="*/ 4 w 6"/>
                    <a:gd name="T27" fmla="*/ 0 h 8"/>
                    <a:gd name="T28" fmla="*/ 2 w 6"/>
                    <a:gd name="T29" fmla="*/ 0 h 8"/>
                    <a:gd name="T30" fmla="*/ 2 w 6"/>
                    <a:gd name="T31" fmla="*/ 0 h 8"/>
                    <a:gd name="T32" fmla="*/ 2 w 6"/>
                    <a:gd name="T33" fmla="*/ 0 h 8"/>
                    <a:gd name="T34" fmla="*/ 2 w 6"/>
                    <a:gd name="T3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" h="8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4" name="Freeform 3219"/>
                <p:cNvSpPr>
                  <a:spLocks/>
                </p:cNvSpPr>
                <p:nvPr/>
              </p:nvSpPr>
              <p:spPr bwMode="auto">
                <a:xfrm>
                  <a:off x="5653" y="1988"/>
                  <a:ext cx="11" cy="14"/>
                </a:xfrm>
                <a:custGeom>
                  <a:avLst/>
                  <a:gdLst>
                    <a:gd name="T0" fmla="*/ 2 w 11"/>
                    <a:gd name="T1" fmla="*/ 0 h 14"/>
                    <a:gd name="T2" fmla="*/ 0 w 11"/>
                    <a:gd name="T3" fmla="*/ 7 h 14"/>
                    <a:gd name="T4" fmla="*/ 0 w 11"/>
                    <a:gd name="T5" fmla="*/ 12 h 14"/>
                    <a:gd name="T6" fmla="*/ 0 w 11"/>
                    <a:gd name="T7" fmla="*/ 14 h 14"/>
                    <a:gd name="T8" fmla="*/ 0 w 11"/>
                    <a:gd name="T9" fmla="*/ 12 h 14"/>
                    <a:gd name="T10" fmla="*/ 0 w 11"/>
                    <a:gd name="T11" fmla="*/ 12 h 14"/>
                    <a:gd name="T12" fmla="*/ 0 w 11"/>
                    <a:gd name="T13" fmla="*/ 12 h 14"/>
                    <a:gd name="T14" fmla="*/ 0 w 11"/>
                    <a:gd name="T15" fmla="*/ 7 h 14"/>
                    <a:gd name="T16" fmla="*/ 2 w 11"/>
                    <a:gd name="T17" fmla="*/ 0 h 14"/>
                    <a:gd name="T18" fmla="*/ 4 w 11"/>
                    <a:gd name="T19" fmla="*/ 1 h 14"/>
                    <a:gd name="T20" fmla="*/ 7 w 11"/>
                    <a:gd name="T21" fmla="*/ 5 h 14"/>
                    <a:gd name="T22" fmla="*/ 11 w 11"/>
                    <a:gd name="T23" fmla="*/ 9 h 14"/>
                    <a:gd name="T24" fmla="*/ 7 w 11"/>
                    <a:gd name="T25" fmla="*/ 5 h 14"/>
                    <a:gd name="T26" fmla="*/ 4 w 11"/>
                    <a:gd name="T27" fmla="*/ 1 h 14"/>
                    <a:gd name="T28" fmla="*/ 2 w 11"/>
                    <a:gd name="T2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4">
                      <a:moveTo>
                        <a:pt x="2" y="0"/>
                      </a:move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7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7" y="5"/>
                      </a:lnTo>
                      <a:lnTo>
                        <a:pt x="11" y="9"/>
                      </a:lnTo>
                      <a:lnTo>
                        <a:pt x="7" y="5"/>
                      </a:lnTo>
                      <a:lnTo>
                        <a:pt x="4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5" name="Freeform 3220"/>
                <p:cNvSpPr>
                  <a:spLocks/>
                </p:cNvSpPr>
                <p:nvPr/>
              </p:nvSpPr>
              <p:spPr bwMode="auto">
                <a:xfrm>
                  <a:off x="5653" y="1988"/>
                  <a:ext cx="11" cy="14"/>
                </a:xfrm>
                <a:custGeom>
                  <a:avLst/>
                  <a:gdLst>
                    <a:gd name="T0" fmla="*/ 2 w 11"/>
                    <a:gd name="T1" fmla="*/ 0 h 14"/>
                    <a:gd name="T2" fmla="*/ 0 w 11"/>
                    <a:gd name="T3" fmla="*/ 7 h 14"/>
                    <a:gd name="T4" fmla="*/ 0 w 11"/>
                    <a:gd name="T5" fmla="*/ 12 h 14"/>
                    <a:gd name="T6" fmla="*/ 0 w 11"/>
                    <a:gd name="T7" fmla="*/ 14 h 14"/>
                    <a:gd name="T8" fmla="*/ 0 w 11"/>
                    <a:gd name="T9" fmla="*/ 12 h 14"/>
                    <a:gd name="T10" fmla="*/ 0 w 11"/>
                    <a:gd name="T11" fmla="*/ 12 h 14"/>
                    <a:gd name="T12" fmla="*/ 0 w 11"/>
                    <a:gd name="T13" fmla="*/ 12 h 14"/>
                    <a:gd name="T14" fmla="*/ 0 w 11"/>
                    <a:gd name="T15" fmla="*/ 7 h 14"/>
                    <a:gd name="T16" fmla="*/ 2 w 11"/>
                    <a:gd name="T17" fmla="*/ 0 h 14"/>
                    <a:gd name="T18" fmla="*/ 4 w 11"/>
                    <a:gd name="T19" fmla="*/ 1 h 14"/>
                    <a:gd name="T20" fmla="*/ 7 w 11"/>
                    <a:gd name="T21" fmla="*/ 5 h 14"/>
                    <a:gd name="T22" fmla="*/ 11 w 11"/>
                    <a:gd name="T23" fmla="*/ 9 h 14"/>
                    <a:gd name="T24" fmla="*/ 7 w 11"/>
                    <a:gd name="T25" fmla="*/ 5 h 14"/>
                    <a:gd name="T26" fmla="*/ 4 w 11"/>
                    <a:gd name="T27" fmla="*/ 1 h 14"/>
                    <a:gd name="T28" fmla="*/ 2 w 11"/>
                    <a:gd name="T2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4">
                      <a:moveTo>
                        <a:pt x="2" y="0"/>
                      </a:move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7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7" y="5"/>
                      </a:lnTo>
                      <a:lnTo>
                        <a:pt x="11" y="9"/>
                      </a:lnTo>
                      <a:lnTo>
                        <a:pt x="7" y="5"/>
                      </a:lnTo>
                      <a:lnTo>
                        <a:pt x="4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6" name="Freeform 3221"/>
                <p:cNvSpPr>
                  <a:spLocks noEditPoints="1"/>
                </p:cNvSpPr>
                <p:nvPr/>
              </p:nvSpPr>
              <p:spPr bwMode="auto">
                <a:xfrm>
                  <a:off x="5653" y="1988"/>
                  <a:ext cx="11" cy="12"/>
                </a:xfrm>
                <a:custGeom>
                  <a:avLst/>
                  <a:gdLst>
                    <a:gd name="T0" fmla="*/ 2 w 11"/>
                    <a:gd name="T1" fmla="*/ 11 h 12"/>
                    <a:gd name="T2" fmla="*/ 2 w 11"/>
                    <a:gd name="T3" fmla="*/ 7 h 12"/>
                    <a:gd name="T4" fmla="*/ 4 w 11"/>
                    <a:gd name="T5" fmla="*/ 3 h 12"/>
                    <a:gd name="T6" fmla="*/ 5 w 11"/>
                    <a:gd name="T7" fmla="*/ 5 h 12"/>
                    <a:gd name="T8" fmla="*/ 9 w 11"/>
                    <a:gd name="T9" fmla="*/ 9 h 12"/>
                    <a:gd name="T10" fmla="*/ 5 w 11"/>
                    <a:gd name="T11" fmla="*/ 11 h 12"/>
                    <a:gd name="T12" fmla="*/ 2 w 11"/>
                    <a:gd name="T13" fmla="*/ 11 h 12"/>
                    <a:gd name="T14" fmla="*/ 2 w 11"/>
                    <a:gd name="T15" fmla="*/ 0 h 12"/>
                    <a:gd name="T16" fmla="*/ 0 w 11"/>
                    <a:gd name="T17" fmla="*/ 7 h 12"/>
                    <a:gd name="T18" fmla="*/ 0 w 11"/>
                    <a:gd name="T19" fmla="*/ 12 h 12"/>
                    <a:gd name="T20" fmla="*/ 0 w 11"/>
                    <a:gd name="T21" fmla="*/ 12 h 12"/>
                    <a:gd name="T22" fmla="*/ 0 w 11"/>
                    <a:gd name="T23" fmla="*/ 12 h 12"/>
                    <a:gd name="T24" fmla="*/ 5 w 11"/>
                    <a:gd name="T25" fmla="*/ 11 h 12"/>
                    <a:gd name="T26" fmla="*/ 11 w 11"/>
                    <a:gd name="T27" fmla="*/ 9 h 12"/>
                    <a:gd name="T28" fmla="*/ 11 w 11"/>
                    <a:gd name="T29" fmla="*/ 9 h 12"/>
                    <a:gd name="T30" fmla="*/ 7 w 11"/>
                    <a:gd name="T31" fmla="*/ 5 h 12"/>
                    <a:gd name="T32" fmla="*/ 4 w 11"/>
                    <a:gd name="T33" fmla="*/ 1 h 12"/>
                    <a:gd name="T34" fmla="*/ 2 w 11"/>
                    <a:gd name="T3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12">
                      <a:moveTo>
                        <a:pt x="2" y="11"/>
                      </a:moveTo>
                      <a:lnTo>
                        <a:pt x="2" y="7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2" y="11"/>
                      </a:lnTo>
                      <a:close/>
                      <a:moveTo>
                        <a:pt x="2" y="0"/>
                      </a:move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1" y="9"/>
                      </a:lnTo>
                      <a:lnTo>
                        <a:pt x="7" y="5"/>
                      </a:lnTo>
                      <a:lnTo>
                        <a:pt x="4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7" name="Freeform 3222"/>
                <p:cNvSpPr>
                  <a:spLocks/>
                </p:cNvSpPr>
                <p:nvPr/>
              </p:nvSpPr>
              <p:spPr bwMode="auto">
                <a:xfrm>
                  <a:off x="5655" y="1991"/>
                  <a:ext cx="7" cy="8"/>
                </a:xfrm>
                <a:custGeom>
                  <a:avLst/>
                  <a:gdLst>
                    <a:gd name="T0" fmla="*/ 0 w 7"/>
                    <a:gd name="T1" fmla="*/ 8 h 8"/>
                    <a:gd name="T2" fmla="*/ 0 w 7"/>
                    <a:gd name="T3" fmla="*/ 4 h 8"/>
                    <a:gd name="T4" fmla="*/ 2 w 7"/>
                    <a:gd name="T5" fmla="*/ 0 h 8"/>
                    <a:gd name="T6" fmla="*/ 3 w 7"/>
                    <a:gd name="T7" fmla="*/ 2 h 8"/>
                    <a:gd name="T8" fmla="*/ 7 w 7"/>
                    <a:gd name="T9" fmla="*/ 6 h 8"/>
                    <a:gd name="T10" fmla="*/ 3 w 7"/>
                    <a:gd name="T11" fmla="*/ 8 h 8"/>
                    <a:gd name="T12" fmla="*/ 0 w 7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8">
                      <a:moveTo>
                        <a:pt x="0" y="8"/>
                      </a:moveTo>
                      <a:lnTo>
                        <a:pt x="0" y="4"/>
                      </a:lnTo>
                      <a:lnTo>
                        <a:pt x="2" y="0"/>
                      </a:lnTo>
                      <a:lnTo>
                        <a:pt x="3" y="2"/>
                      </a:lnTo>
                      <a:lnTo>
                        <a:pt x="7" y="6"/>
                      </a:lnTo>
                      <a:lnTo>
                        <a:pt x="3" y="8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8" name="Freeform 3223"/>
                <p:cNvSpPr>
                  <a:spLocks/>
                </p:cNvSpPr>
                <p:nvPr/>
              </p:nvSpPr>
              <p:spPr bwMode="auto">
                <a:xfrm>
                  <a:off x="5653" y="1988"/>
                  <a:ext cx="11" cy="12"/>
                </a:xfrm>
                <a:custGeom>
                  <a:avLst/>
                  <a:gdLst>
                    <a:gd name="T0" fmla="*/ 2 w 11"/>
                    <a:gd name="T1" fmla="*/ 0 h 12"/>
                    <a:gd name="T2" fmla="*/ 0 w 11"/>
                    <a:gd name="T3" fmla="*/ 7 h 12"/>
                    <a:gd name="T4" fmla="*/ 0 w 11"/>
                    <a:gd name="T5" fmla="*/ 12 h 12"/>
                    <a:gd name="T6" fmla="*/ 0 w 11"/>
                    <a:gd name="T7" fmla="*/ 12 h 12"/>
                    <a:gd name="T8" fmla="*/ 0 w 11"/>
                    <a:gd name="T9" fmla="*/ 12 h 12"/>
                    <a:gd name="T10" fmla="*/ 5 w 11"/>
                    <a:gd name="T11" fmla="*/ 11 h 12"/>
                    <a:gd name="T12" fmla="*/ 11 w 11"/>
                    <a:gd name="T13" fmla="*/ 9 h 12"/>
                    <a:gd name="T14" fmla="*/ 11 w 11"/>
                    <a:gd name="T15" fmla="*/ 9 h 12"/>
                    <a:gd name="T16" fmla="*/ 7 w 11"/>
                    <a:gd name="T17" fmla="*/ 5 h 12"/>
                    <a:gd name="T18" fmla="*/ 4 w 11"/>
                    <a:gd name="T19" fmla="*/ 1 h 12"/>
                    <a:gd name="T20" fmla="*/ 2 w 11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2">
                      <a:moveTo>
                        <a:pt x="2" y="0"/>
                      </a:move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1" y="9"/>
                      </a:lnTo>
                      <a:lnTo>
                        <a:pt x="7" y="5"/>
                      </a:lnTo>
                      <a:lnTo>
                        <a:pt x="4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09" name="Rectangle 3224"/>
                <p:cNvSpPr>
                  <a:spLocks noChangeArrowheads="1"/>
                </p:cNvSpPr>
                <p:nvPr/>
              </p:nvSpPr>
              <p:spPr bwMode="auto">
                <a:xfrm>
                  <a:off x="5675" y="205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0" name="Rectangle 3225"/>
                <p:cNvSpPr>
                  <a:spLocks noChangeArrowheads="1"/>
                </p:cNvSpPr>
                <p:nvPr/>
              </p:nvSpPr>
              <p:spPr bwMode="auto">
                <a:xfrm>
                  <a:off x="5675" y="205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1" name="Freeform 3226"/>
                <p:cNvSpPr>
                  <a:spLocks noEditPoints="1"/>
                </p:cNvSpPr>
                <p:nvPr/>
              </p:nvSpPr>
              <p:spPr bwMode="auto">
                <a:xfrm>
                  <a:off x="5675" y="2048"/>
                  <a:ext cx="7" cy="8"/>
                </a:xfrm>
                <a:custGeom>
                  <a:avLst/>
                  <a:gdLst>
                    <a:gd name="T0" fmla="*/ 2 w 7"/>
                    <a:gd name="T1" fmla="*/ 2 h 8"/>
                    <a:gd name="T2" fmla="*/ 2 w 7"/>
                    <a:gd name="T3" fmla="*/ 2 h 8"/>
                    <a:gd name="T4" fmla="*/ 4 w 7"/>
                    <a:gd name="T5" fmla="*/ 2 h 8"/>
                    <a:gd name="T6" fmla="*/ 6 w 7"/>
                    <a:gd name="T7" fmla="*/ 2 h 8"/>
                    <a:gd name="T8" fmla="*/ 6 w 7"/>
                    <a:gd name="T9" fmla="*/ 4 h 8"/>
                    <a:gd name="T10" fmla="*/ 6 w 7"/>
                    <a:gd name="T11" fmla="*/ 6 h 8"/>
                    <a:gd name="T12" fmla="*/ 4 w 7"/>
                    <a:gd name="T13" fmla="*/ 6 h 8"/>
                    <a:gd name="T14" fmla="*/ 2 w 7"/>
                    <a:gd name="T15" fmla="*/ 6 h 8"/>
                    <a:gd name="T16" fmla="*/ 2 w 7"/>
                    <a:gd name="T17" fmla="*/ 4 h 8"/>
                    <a:gd name="T18" fmla="*/ 2 w 7"/>
                    <a:gd name="T19" fmla="*/ 2 h 8"/>
                    <a:gd name="T20" fmla="*/ 7 w 7"/>
                    <a:gd name="T21" fmla="*/ 0 h 8"/>
                    <a:gd name="T22" fmla="*/ 4 w 7"/>
                    <a:gd name="T23" fmla="*/ 0 h 8"/>
                    <a:gd name="T24" fmla="*/ 0 w 7"/>
                    <a:gd name="T25" fmla="*/ 0 h 8"/>
                    <a:gd name="T26" fmla="*/ 0 w 7"/>
                    <a:gd name="T27" fmla="*/ 0 h 8"/>
                    <a:gd name="T28" fmla="*/ 0 w 7"/>
                    <a:gd name="T29" fmla="*/ 4 h 8"/>
                    <a:gd name="T30" fmla="*/ 0 w 7"/>
                    <a:gd name="T31" fmla="*/ 8 h 8"/>
                    <a:gd name="T32" fmla="*/ 0 w 7"/>
                    <a:gd name="T33" fmla="*/ 8 h 8"/>
                    <a:gd name="T34" fmla="*/ 0 w 7"/>
                    <a:gd name="T35" fmla="*/ 8 h 8"/>
                    <a:gd name="T36" fmla="*/ 4 w 7"/>
                    <a:gd name="T37" fmla="*/ 8 h 8"/>
                    <a:gd name="T38" fmla="*/ 6 w 7"/>
                    <a:gd name="T39" fmla="*/ 8 h 8"/>
                    <a:gd name="T40" fmla="*/ 7 w 7"/>
                    <a:gd name="T41" fmla="*/ 8 h 8"/>
                    <a:gd name="T42" fmla="*/ 7 w 7"/>
                    <a:gd name="T43" fmla="*/ 4 h 8"/>
                    <a:gd name="T44" fmla="*/ 7 w 7"/>
                    <a:gd name="T45" fmla="*/ 2 h 8"/>
                    <a:gd name="T46" fmla="*/ 7 w 7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2" name="Freeform 3227"/>
                <p:cNvSpPr>
                  <a:spLocks/>
                </p:cNvSpPr>
                <p:nvPr/>
              </p:nvSpPr>
              <p:spPr bwMode="auto">
                <a:xfrm>
                  <a:off x="5677" y="2050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3" name="Freeform 3228"/>
                <p:cNvSpPr>
                  <a:spLocks/>
                </p:cNvSpPr>
                <p:nvPr/>
              </p:nvSpPr>
              <p:spPr bwMode="auto">
                <a:xfrm>
                  <a:off x="5675" y="2048"/>
                  <a:ext cx="7" cy="8"/>
                </a:xfrm>
                <a:custGeom>
                  <a:avLst/>
                  <a:gdLst>
                    <a:gd name="T0" fmla="*/ 7 w 7"/>
                    <a:gd name="T1" fmla="*/ 0 h 8"/>
                    <a:gd name="T2" fmla="*/ 4 w 7"/>
                    <a:gd name="T3" fmla="*/ 0 h 8"/>
                    <a:gd name="T4" fmla="*/ 0 w 7"/>
                    <a:gd name="T5" fmla="*/ 0 h 8"/>
                    <a:gd name="T6" fmla="*/ 0 w 7"/>
                    <a:gd name="T7" fmla="*/ 0 h 8"/>
                    <a:gd name="T8" fmla="*/ 0 w 7"/>
                    <a:gd name="T9" fmla="*/ 4 h 8"/>
                    <a:gd name="T10" fmla="*/ 0 w 7"/>
                    <a:gd name="T11" fmla="*/ 8 h 8"/>
                    <a:gd name="T12" fmla="*/ 0 w 7"/>
                    <a:gd name="T13" fmla="*/ 8 h 8"/>
                    <a:gd name="T14" fmla="*/ 0 w 7"/>
                    <a:gd name="T15" fmla="*/ 8 h 8"/>
                    <a:gd name="T16" fmla="*/ 4 w 7"/>
                    <a:gd name="T17" fmla="*/ 8 h 8"/>
                    <a:gd name="T18" fmla="*/ 6 w 7"/>
                    <a:gd name="T19" fmla="*/ 8 h 8"/>
                    <a:gd name="T20" fmla="*/ 7 w 7"/>
                    <a:gd name="T21" fmla="*/ 8 h 8"/>
                    <a:gd name="T22" fmla="*/ 7 w 7"/>
                    <a:gd name="T23" fmla="*/ 4 h 8"/>
                    <a:gd name="T24" fmla="*/ 7 w 7"/>
                    <a:gd name="T25" fmla="*/ 2 h 8"/>
                    <a:gd name="T26" fmla="*/ 7 w 7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8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4" name="Freeform 3229"/>
                <p:cNvSpPr>
                  <a:spLocks/>
                </p:cNvSpPr>
                <p:nvPr/>
              </p:nvSpPr>
              <p:spPr bwMode="auto">
                <a:xfrm>
                  <a:off x="5703" y="2087"/>
                  <a:ext cx="13" cy="15"/>
                </a:xfrm>
                <a:custGeom>
                  <a:avLst/>
                  <a:gdLst>
                    <a:gd name="T0" fmla="*/ 13 w 13"/>
                    <a:gd name="T1" fmla="*/ 0 h 15"/>
                    <a:gd name="T2" fmla="*/ 5 w 13"/>
                    <a:gd name="T3" fmla="*/ 0 h 15"/>
                    <a:gd name="T4" fmla="*/ 0 w 13"/>
                    <a:gd name="T5" fmla="*/ 0 h 15"/>
                    <a:gd name="T6" fmla="*/ 0 w 13"/>
                    <a:gd name="T7" fmla="*/ 0 h 15"/>
                    <a:gd name="T8" fmla="*/ 0 w 13"/>
                    <a:gd name="T9" fmla="*/ 0 h 15"/>
                    <a:gd name="T10" fmla="*/ 5 w 13"/>
                    <a:gd name="T11" fmla="*/ 0 h 15"/>
                    <a:gd name="T12" fmla="*/ 13 w 13"/>
                    <a:gd name="T13" fmla="*/ 0 h 15"/>
                    <a:gd name="T14" fmla="*/ 13 w 13"/>
                    <a:gd name="T15" fmla="*/ 0 h 15"/>
                    <a:gd name="T16" fmla="*/ 13 w 13"/>
                    <a:gd name="T17" fmla="*/ 4 h 15"/>
                    <a:gd name="T18" fmla="*/ 13 w 13"/>
                    <a:gd name="T19" fmla="*/ 8 h 15"/>
                    <a:gd name="T20" fmla="*/ 13 w 13"/>
                    <a:gd name="T21" fmla="*/ 11 h 15"/>
                    <a:gd name="T22" fmla="*/ 13 w 13"/>
                    <a:gd name="T23" fmla="*/ 15 h 15"/>
                    <a:gd name="T24" fmla="*/ 11 w 13"/>
                    <a:gd name="T25" fmla="*/ 15 h 15"/>
                    <a:gd name="T26" fmla="*/ 13 w 13"/>
                    <a:gd name="T27" fmla="*/ 15 h 15"/>
                    <a:gd name="T28" fmla="*/ 13 w 13"/>
                    <a:gd name="T29" fmla="*/ 15 h 15"/>
                    <a:gd name="T30" fmla="*/ 13 w 13"/>
                    <a:gd name="T31" fmla="*/ 15 h 15"/>
                    <a:gd name="T32" fmla="*/ 13 w 13"/>
                    <a:gd name="T33" fmla="*/ 11 h 15"/>
                    <a:gd name="T34" fmla="*/ 13 w 13"/>
                    <a:gd name="T35" fmla="*/ 8 h 15"/>
                    <a:gd name="T36" fmla="*/ 13 w 13"/>
                    <a:gd name="T37" fmla="*/ 4 h 15"/>
                    <a:gd name="T38" fmla="*/ 13 w 13"/>
                    <a:gd name="T39" fmla="*/ 0 h 15"/>
                    <a:gd name="T40" fmla="*/ 13 w 13"/>
                    <a:gd name="T41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5">
                      <a:moveTo>
                        <a:pt x="13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3" y="4"/>
                      </a:lnTo>
                      <a:lnTo>
                        <a:pt x="13" y="8"/>
                      </a:lnTo>
                      <a:lnTo>
                        <a:pt x="13" y="11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1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5" name="Freeform 3230"/>
                <p:cNvSpPr>
                  <a:spLocks/>
                </p:cNvSpPr>
                <p:nvPr/>
              </p:nvSpPr>
              <p:spPr bwMode="auto">
                <a:xfrm>
                  <a:off x="5703" y="2087"/>
                  <a:ext cx="13" cy="15"/>
                </a:xfrm>
                <a:custGeom>
                  <a:avLst/>
                  <a:gdLst>
                    <a:gd name="T0" fmla="*/ 13 w 13"/>
                    <a:gd name="T1" fmla="*/ 0 h 15"/>
                    <a:gd name="T2" fmla="*/ 5 w 13"/>
                    <a:gd name="T3" fmla="*/ 0 h 15"/>
                    <a:gd name="T4" fmla="*/ 0 w 13"/>
                    <a:gd name="T5" fmla="*/ 0 h 15"/>
                    <a:gd name="T6" fmla="*/ 0 w 13"/>
                    <a:gd name="T7" fmla="*/ 0 h 15"/>
                    <a:gd name="T8" fmla="*/ 0 w 13"/>
                    <a:gd name="T9" fmla="*/ 0 h 15"/>
                    <a:gd name="T10" fmla="*/ 5 w 13"/>
                    <a:gd name="T11" fmla="*/ 0 h 15"/>
                    <a:gd name="T12" fmla="*/ 13 w 13"/>
                    <a:gd name="T13" fmla="*/ 0 h 15"/>
                    <a:gd name="T14" fmla="*/ 13 w 13"/>
                    <a:gd name="T15" fmla="*/ 0 h 15"/>
                    <a:gd name="T16" fmla="*/ 13 w 13"/>
                    <a:gd name="T17" fmla="*/ 4 h 15"/>
                    <a:gd name="T18" fmla="*/ 13 w 13"/>
                    <a:gd name="T19" fmla="*/ 8 h 15"/>
                    <a:gd name="T20" fmla="*/ 13 w 13"/>
                    <a:gd name="T21" fmla="*/ 11 h 15"/>
                    <a:gd name="T22" fmla="*/ 13 w 13"/>
                    <a:gd name="T23" fmla="*/ 15 h 15"/>
                    <a:gd name="T24" fmla="*/ 11 w 13"/>
                    <a:gd name="T25" fmla="*/ 15 h 15"/>
                    <a:gd name="T26" fmla="*/ 13 w 13"/>
                    <a:gd name="T27" fmla="*/ 15 h 15"/>
                    <a:gd name="T28" fmla="*/ 13 w 13"/>
                    <a:gd name="T29" fmla="*/ 15 h 15"/>
                    <a:gd name="T30" fmla="*/ 13 w 13"/>
                    <a:gd name="T31" fmla="*/ 15 h 15"/>
                    <a:gd name="T32" fmla="*/ 13 w 13"/>
                    <a:gd name="T33" fmla="*/ 11 h 15"/>
                    <a:gd name="T34" fmla="*/ 13 w 13"/>
                    <a:gd name="T35" fmla="*/ 8 h 15"/>
                    <a:gd name="T36" fmla="*/ 13 w 13"/>
                    <a:gd name="T37" fmla="*/ 4 h 15"/>
                    <a:gd name="T38" fmla="*/ 13 w 13"/>
                    <a:gd name="T39" fmla="*/ 0 h 15"/>
                    <a:gd name="T40" fmla="*/ 13 w 13"/>
                    <a:gd name="T41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5">
                      <a:moveTo>
                        <a:pt x="13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3" y="4"/>
                      </a:lnTo>
                      <a:lnTo>
                        <a:pt x="13" y="8"/>
                      </a:lnTo>
                      <a:lnTo>
                        <a:pt x="13" y="11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1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6" name="Freeform 3231"/>
                <p:cNvSpPr>
                  <a:spLocks noEditPoints="1"/>
                </p:cNvSpPr>
                <p:nvPr/>
              </p:nvSpPr>
              <p:spPr bwMode="auto">
                <a:xfrm>
                  <a:off x="5703" y="2087"/>
                  <a:ext cx="13" cy="19"/>
                </a:xfrm>
                <a:custGeom>
                  <a:avLst/>
                  <a:gdLst>
                    <a:gd name="T0" fmla="*/ 2 w 13"/>
                    <a:gd name="T1" fmla="*/ 2 h 19"/>
                    <a:gd name="T2" fmla="*/ 2 w 13"/>
                    <a:gd name="T3" fmla="*/ 2 h 19"/>
                    <a:gd name="T4" fmla="*/ 5 w 13"/>
                    <a:gd name="T5" fmla="*/ 2 h 19"/>
                    <a:gd name="T6" fmla="*/ 11 w 13"/>
                    <a:gd name="T7" fmla="*/ 2 h 19"/>
                    <a:gd name="T8" fmla="*/ 11 w 13"/>
                    <a:gd name="T9" fmla="*/ 4 h 19"/>
                    <a:gd name="T10" fmla="*/ 11 w 13"/>
                    <a:gd name="T11" fmla="*/ 8 h 19"/>
                    <a:gd name="T12" fmla="*/ 11 w 13"/>
                    <a:gd name="T13" fmla="*/ 11 h 19"/>
                    <a:gd name="T14" fmla="*/ 11 w 13"/>
                    <a:gd name="T15" fmla="*/ 15 h 19"/>
                    <a:gd name="T16" fmla="*/ 9 w 13"/>
                    <a:gd name="T17" fmla="*/ 15 h 19"/>
                    <a:gd name="T18" fmla="*/ 9 w 13"/>
                    <a:gd name="T19" fmla="*/ 15 h 19"/>
                    <a:gd name="T20" fmla="*/ 9 w 13"/>
                    <a:gd name="T21" fmla="*/ 15 h 19"/>
                    <a:gd name="T22" fmla="*/ 7 w 13"/>
                    <a:gd name="T23" fmla="*/ 13 h 19"/>
                    <a:gd name="T24" fmla="*/ 5 w 13"/>
                    <a:gd name="T25" fmla="*/ 8 h 19"/>
                    <a:gd name="T26" fmla="*/ 3 w 13"/>
                    <a:gd name="T27" fmla="*/ 4 h 19"/>
                    <a:gd name="T28" fmla="*/ 2 w 13"/>
                    <a:gd name="T29" fmla="*/ 2 h 19"/>
                    <a:gd name="T30" fmla="*/ 13 w 13"/>
                    <a:gd name="T31" fmla="*/ 0 h 19"/>
                    <a:gd name="T32" fmla="*/ 5 w 13"/>
                    <a:gd name="T33" fmla="*/ 0 h 19"/>
                    <a:gd name="T34" fmla="*/ 0 w 13"/>
                    <a:gd name="T35" fmla="*/ 0 h 19"/>
                    <a:gd name="T36" fmla="*/ 0 w 13"/>
                    <a:gd name="T37" fmla="*/ 0 h 19"/>
                    <a:gd name="T38" fmla="*/ 2 w 13"/>
                    <a:gd name="T39" fmla="*/ 6 h 19"/>
                    <a:gd name="T40" fmla="*/ 3 w 13"/>
                    <a:gd name="T41" fmla="*/ 9 h 19"/>
                    <a:gd name="T42" fmla="*/ 5 w 13"/>
                    <a:gd name="T43" fmla="*/ 13 h 19"/>
                    <a:gd name="T44" fmla="*/ 9 w 13"/>
                    <a:gd name="T45" fmla="*/ 17 h 19"/>
                    <a:gd name="T46" fmla="*/ 9 w 13"/>
                    <a:gd name="T47" fmla="*/ 19 h 19"/>
                    <a:gd name="T48" fmla="*/ 11 w 13"/>
                    <a:gd name="T49" fmla="*/ 17 h 19"/>
                    <a:gd name="T50" fmla="*/ 13 w 13"/>
                    <a:gd name="T51" fmla="*/ 15 h 19"/>
                    <a:gd name="T52" fmla="*/ 11 w 13"/>
                    <a:gd name="T53" fmla="*/ 15 h 19"/>
                    <a:gd name="T54" fmla="*/ 13 w 13"/>
                    <a:gd name="T55" fmla="*/ 15 h 19"/>
                    <a:gd name="T56" fmla="*/ 11 w 13"/>
                    <a:gd name="T57" fmla="*/ 15 h 19"/>
                    <a:gd name="T58" fmla="*/ 11 w 13"/>
                    <a:gd name="T59" fmla="*/ 13 h 19"/>
                    <a:gd name="T60" fmla="*/ 11 w 13"/>
                    <a:gd name="T61" fmla="*/ 15 h 19"/>
                    <a:gd name="T62" fmla="*/ 13 w 13"/>
                    <a:gd name="T63" fmla="*/ 15 h 19"/>
                    <a:gd name="T64" fmla="*/ 13 w 13"/>
                    <a:gd name="T65" fmla="*/ 11 h 19"/>
                    <a:gd name="T66" fmla="*/ 13 w 13"/>
                    <a:gd name="T67" fmla="*/ 8 h 19"/>
                    <a:gd name="T68" fmla="*/ 13 w 13"/>
                    <a:gd name="T69" fmla="*/ 4 h 19"/>
                    <a:gd name="T70" fmla="*/ 13 w 13"/>
                    <a:gd name="T71" fmla="*/ 0 h 19"/>
                    <a:gd name="T72" fmla="*/ 13 w 13"/>
                    <a:gd name="T7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" h="19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11" y="8"/>
                      </a:lnTo>
                      <a:lnTo>
                        <a:pt x="11" y="11"/>
                      </a:lnTo>
                      <a:lnTo>
                        <a:pt x="11" y="15"/>
                      </a:lnTo>
                      <a:lnTo>
                        <a:pt x="9" y="15"/>
                      </a:lnTo>
                      <a:lnTo>
                        <a:pt x="9" y="15"/>
                      </a:lnTo>
                      <a:lnTo>
                        <a:pt x="9" y="15"/>
                      </a:lnTo>
                      <a:lnTo>
                        <a:pt x="7" y="13"/>
                      </a:lnTo>
                      <a:lnTo>
                        <a:pt x="5" y="8"/>
                      </a:lnTo>
                      <a:lnTo>
                        <a:pt x="3" y="4"/>
                      </a:lnTo>
                      <a:lnTo>
                        <a:pt x="2" y="2"/>
                      </a:lnTo>
                      <a:close/>
                      <a:moveTo>
                        <a:pt x="13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3" y="9"/>
                      </a:lnTo>
                      <a:lnTo>
                        <a:pt x="5" y="13"/>
                      </a:lnTo>
                      <a:lnTo>
                        <a:pt x="9" y="17"/>
                      </a:lnTo>
                      <a:lnTo>
                        <a:pt x="9" y="19"/>
                      </a:lnTo>
                      <a:lnTo>
                        <a:pt x="11" y="17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1" y="13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3" y="11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7" name="Freeform 3232"/>
                <p:cNvSpPr>
                  <a:spLocks/>
                </p:cNvSpPr>
                <p:nvPr/>
              </p:nvSpPr>
              <p:spPr bwMode="auto">
                <a:xfrm>
                  <a:off x="5705" y="2089"/>
                  <a:ext cx="9" cy="13"/>
                </a:xfrm>
                <a:custGeom>
                  <a:avLst/>
                  <a:gdLst>
                    <a:gd name="T0" fmla="*/ 0 w 9"/>
                    <a:gd name="T1" fmla="*/ 0 h 13"/>
                    <a:gd name="T2" fmla="*/ 0 w 9"/>
                    <a:gd name="T3" fmla="*/ 0 h 13"/>
                    <a:gd name="T4" fmla="*/ 3 w 9"/>
                    <a:gd name="T5" fmla="*/ 0 h 13"/>
                    <a:gd name="T6" fmla="*/ 9 w 9"/>
                    <a:gd name="T7" fmla="*/ 0 h 13"/>
                    <a:gd name="T8" fmla="*/ 9 w 9"/>
                    <a:gd name="T9" fmla="*/ 2 h 13"/>
                    <a:gd name="T10" fmla="*/ 9 w 9"/>
                    <a:gd name="T11" fmla="*/ 6 h 13"/>
                    <a:gd name="T12" fmla="*/ 9 w 9"/>
                    <a:gd name="T13" fmla="*/ 9 h 13"/>
                    <a:gd name="T14" fmla="*/ 9 w 9"/>
                    <a:gd name="T15" fmla="*/ 13 h 13"/>
                    <a:gd name="T16" fmla="*/ 7 w 9"/>
                    <a:gd name="T17" fmla="*/ 13 h 13"/>
                    <a:gd name="T18" fmla="*/ 7 w 9"/>
                    <a:gd name="T19" fmla="*/ 13 h 13"/>
                    <a:gd name="T20" fmla="*/ 7 w 9"/>
                    <a:gd name="T21" fmla="*/ 13 h 13"/>
                    <a:gd name="T22" fmla="*/ 5 w 9"/>
                    <a:gd name="T23" fmla="*/ 11 h 13"/>
                    <a:gd name="T24" fmla="*/ 3 w 9"/>
                    <a:gd name="T25" fmla="*/ 6 h 13"/>
                    <a:gd name="T26" fmla="*/ 1 w 9"/>
                    <a:gd name="T27" fmla="*/ 2 h 13"/>
                    <a:gd name="T28" fmla="*/ 0 w 9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1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9" y="0"/>
                      </a:lnTo>
                      <a:lnTo>
                        <a:pt x="9" y="2"/>
                      </a:lnTo>
                      <a:lnTo>
                        <a:pt x="9" y="6"/>
                      </a:lnTo>
                      <a:lnTo>
                        <a:pt x="9" y="9"/>
                      </a:lnTo>
                      <a:lnTo>
                        <a:pt x="9" y="13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5" y="11"/>
                      </a:lnTo>
                      <a:lnTo>
                        <a:pt x="3" y="6"/>
                      </a:lnTo>
                      <a:lnTo>
                        <a:pt x="1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8" name="Freeform 3233"/>
                <p:cNvSpPr>
                  <a:spLocks/>
                </p:cNvSpPr>
                <p:nvPr/>
              </p:nvSpPr>
              <p:spPr bwMode="auto">
                <a:xfrm>
                  <a:off x="5703" y="2087"/>
                  <a:ext cx="13" cy="19"/>
                </a:xfrm>
                <a:custGeom>
                  <a:avLst/>
                  <a:gdLst>
                    <a:gd name="T0" fmla="*/ 13 w 13"/>
                    <a:gd name="T1" fmla="*/ 0 h 19"/>
                    <a:gd name="T2" fmla="*/ 5 w 13"/>
                    <a:gd name="T3" fmla="*/ 0 h 19"/>
                    <a:gd name="T4" fmla="*/ 0 w 13"/>
                    <a:gd name="T5" fmla="*/ 0 h 19"/>
                    <a:gd name="T6" fmla="*/ 0 w 13"/>
                    <a:gd name="T7" fmla="*/ 0 h 19"/>
                    <a:gd name="T8" fmla="*/ 2 w 13"/>
                    <a:gd name="T9" fmla="*/ 6 h 19"/>
                    <a:gd name="T10" fmla="*/ 3 w 13"/>
                    <a:gd name="T11" fmla="*/ 9 h 19"/>
                    <a:gd name="T12" fmla="*/ 5 w 13"/>
                    <a:gd name="T13" fmla="*/ 13 h 19"/>
                    <a:gd name="T14" fmla="*/ 9 w 13"/>
                    <a:gd name="T15" fmla="*/ 17 h 19"/>
                    <a:gd name="T16" fmla="*/ 9 w 13"/>
                    <a:gd name="T17" fmla="*/ 19 h 19"/>
                    <a:gd name="T18" fmla="*/ 11 w 13"/>
                    <a:gd name="T19" fmla="*/ 17 h 19"/>
                    <a:gd name="T20" fmla="*/ 13 w 13"/>
                    <a:gd name="T21" fmla="*/ 15 h 19"/>
                    <a:gd name="T22" fmla="*/ 11 w 13"/>
                    <a:gd name="T23" fmla="*/ 15 h 19"/>
                    <a:gd name="T24" fmla="*/ 13 w 13"/>
                    <a:gd name="T25" fmla="*/ 15 h 19"/>
                    <a:gd name="T26" fmla="*/ 11 w 13"/>
                    <a:gd name="T27" fmla="*/ 15 h 19"/>
                    <a:gd name="T28" fmla="*/ 11 w 13"/>
                    <a:gd name="T29" fmla="*/ 13 h 19"/>
                    <a:gd name="T30" fmla="*/ 11 w 13"/>
                    <a:gd name="T31" fmla="*/ 15 h 19"/>
                    <a:gd name="T32" fmla="*/ 13 w 13"/>
                    <a:gd name="T33" fmla="*/ 15 h 19"/>
                    <a:gd name="T34" fmla="*/ 13 w 13"/>
                    <a:gd name="T35" fmla="*/ 11 h 19"/>
                    <a:gd name="T36" fmla="*/ 13 w 13"/>
                    <a:gd name="T37" fmla="*/ 8 h 19"/>
                    <a:gd name="T38" fmla="*/ 13 w 13"/>
                    <a:gd name="T39" fmla="*/ 4 h 19"/>
                    <a:gd name="T40" fmla="*/ 13 w 13"/>
                    <a:gd name="T41" fmla="*/ 0 h 19"/>
                    <a:gd name="T42" fmla="*/ 13 w 13"/>
                    <a:gd name="T4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" h="19">
                      <a:moveTo>
                        <a:pt x="13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3" y="9"/>
                      </a:lnTo>
                      <a:lnTo>
                        <a:pt x="5" y="13"/>
                      </a:lnTo>
                      <a:lnTo>
                        <a:pt x="9" y="17"/>
                      </a:lnTo>
                      <a:lnTo>
                        <a:pt x="9" y="19"/>
                      </a:lnTo>
                      <a:lnTo>
                        <a:pt x="11" y="17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1" y="13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3" y="11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19" name="Rectangle 3234"/>
                <p:cNvSpPr>
                  <a:spLocks noChangeArrowheads="1"/>
                </p:cNvSpPr>
                <p:nvPr/>
              </p:nvSpPr>
              <p:spPr bwMode="auto">
                <a:xfrm>
                  <a:off x="5681" y="2098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0" name="Rectangle 3235"/>
                <p:cNvSpPr>
                  <a:spLocks noChangeArrowheads="1"/>
                </p:cNvSpPr>
                <p:nvPr/>
              </p:nvSpPr>
              <p:spPr bwMode="auto">
                <a:xfrm>
                  <a:off x="5681" y="2098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1" name="Freeform 3236"/>
                <p:cNvSpPr>
                  <a:spLocks noEditPoints="1"/>
                </p:cNvSpPr>
                <p:nvPr/>
              </p:nvSpPr>
              <p:spPr bwMode="auto">
                <a:xfrm>
                  <a:off x="5681" y="2093"/>
                  <a:ext cx="7" cy="7"/>
                </a:xfrm>
                <a:custGeom>
                  <a:avLst/>
                  <a:gdLst>
                    <a:gd name="T0" fmla="*/ 1 w 7"/>
                    <a:gd name="T1" fmla="*/ 2 h 7"/>
                    <a:gd name="T2" fmla="*/ 1 w 7"/>
                    <a:gd name="T3" fmla="*/ 2 h 7"/>
                    <a:gd name="T4" fmla="*/ 3 w 7"/>
                    <a:gd name="T5" fmla="*/ 2 h 7"/>
                    <a:gd name="T6" fmla="*/ 5 w 7"/>
                    <a:gd name="T7" fmla="*/ 2 h 7"/>
                    <a:gd name="T8" fmla="*/ 5 w 7"/>
                    <a:gd name="T9" fmla="*/ 3 h 7"/>
                    <a:gd name="T10" fmla="*/ 5 w 7"/>
                    <a:gd name="T11" fmla="*/ 5 h 7"/>
                    <a:gd name="T12" fmla="*/ 3 w 7"/>
                    <a:gd name="T13" fmla="*/ 5 h 7"/>
                    <a:gd name="T14" fmla="*/ 1 w 7"/>
                    <a:gd name="T15" fmla="*/ 5 h 7"/>
                    <a:gd name="T16" fmla="*/ 1 w 7"/>
                    <a:gd name="T17" fmla="*/ 3 h 7"/>
                    <a:gd name="T18" fmla="*/ 1 w 7"/>
                    <a:gd name="T19" fmla="*/ 2 h 7"/>
                    <a:gd name="T20" fmla="*/ 7 w 7"/>
                    <a:gd name="T21" fmla="*/ 0 h 7"/>
                    <a:gd name="T22" fmla="*/ 3 w 7"/>
                    <a:gd name="T23" fmla="*/ 0 h 7"/>
                    <a:gd name="T24" fmla="*/ 0 w 7"/>
                    <a:gd name="T25" fmla="*/ 0 h 7"/>
                    <a:gd name="T26" fmla="*/ 0 w 7"/>
                    <a:gd name="T27" fmla="*/ 0 h 7"/>
                    <a:gd name="T28" fmla="*/ 0 w 7"/>
                    <a:gd name="T29" fmla="*/ 3 h 7"/>
                    <a:gd name="T30" fmla="*/ 0 w 7"/>
                    <a:gd name="T31" fmla="*/ 5 h 7"/>
                    <a:gd name="T32" fmla="*/ 0 w 7"/>
                    <a:gd name="T33" fmla="*/ 5 h 7"/>
                    <a:gd name="T34" fmla="*/ 0 w 7"/>
                    <a:gd name="T35" fmla="*/ 7 h 7"/>
                    <a:gd name="T36" fmla="*/ 3 w 7"/>
                    <a:gd name="T37" fmla="*/ 7 h 7"/>
                    <a:gd name="T38" fmla="*/ 7 w 7"/>
                    <a:gd name="T39" fmla="*/ 5 h 7"/>
                    <a:gd name="T40" fmla="*/ 7 w 7"/>
                    <a:gd name="T41" fmla="*/ 5 h 7"/>
                    <a:gd name="T42" fmla="*/ 7 w 7"/>
                    <a:gd name="T43" fmla="*/ 3 h 7"/>
                    <a:gd name="T44" fmla="*/ 7 w 7"/>
                    <a:gd name="T45" fmla="*/ 0 h 7"/>
                    <a:gd name="T46" fmla="*/ 7 w 7"/>
                    <a:gd name="T4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7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close/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2" name="Freeform 3237"/>
                <p:cNvSpPr>
                  <a:spLocks/>
                </p:cNvSpPr>
                <p:nvPr/>
              </p:nvSpPr>
              <p:spPr bwMode="auto">
                <a:xfrm>
                  <a:off x="5682" y="2095"/>
                  <a:ext cx="4" cy="3"/>
                </a:xfrm>
                <a:custGeom>
                  <a:avLst/>
                  <a:gdLst>
                    <a:gd name="T0" fmla="*/ 0 w 4"/>
                    <a:gd name="T1" fmla="*/ 0 h 3"/>
                    <a:gd name="T2" fmla="*/ 0 w 4"/>
                    <a:gd name="T3" fmla="*/ 0 h 3"/>
                    <a:gd name="T4" fmla="*/ 2 w 4"/>
                    <a:gd name="T5" fmla="*/ 0 h 3"/>
                    <a:gd name="T6" fmla="*/ 4 w 4"/>
                    <a:gd name="T7" fmla="*/ 0 h 3"/>
                    <a:gd name="T8" fmla="*/ 4 w 4"/>
                    <a:gd name="T9" fmla="*/ 1 h 3"/>
                    <a:gd name="T10" fmla="*/ 4 w 4"/>
                    <a:gd name="T11" fmla="*/ 3 h 3"/>
                    <a:gd name="T12" fmla="*/ 2 w 4"/>
                    <a:gd name="T13" fmla="*/ 3 h 3"/>
                    <a:gd name="T14" fmla="*/ 0 w 4"/>
                    <a:gd name="T15" fmla="*/ 3 h 3"/>
                    <a:gd name="T16" fmla="*/ 0 w 4"/>
                    <a:gd name="T17" fmla="*/ 1 h 3"/>
                    <a:gd name="T18" fmla="*/ 0 w 4"/>
                    <a:gd name="T1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3" name="Freeform 3238"/>
                <p:cNvSpPr>
                  <a:spLocks/>
                </p:cNvSpPr>
                <p:nvPr/>
              </p:nvSpPr>
              <p:spPr bwMode="auto">
                <a:xfrm>
                  <a:off x="5681" y="2093"/>
                  <a:ext cx="7" cy="7"/>
                </a:xfrm>
                <a:custGeom>
                  <a:avLst/>
                  <a:gdLst>
                    <a:gd name="T0" fmla="*/ 7 w 7"/>
                    <a:gd name="T1" fmla="*/ 0 h 7"/>
                    <a:gd name="T2" fmla="*/ 3 w 7"/>
                    <a:gd name="T3" fmla="*/ 0 h 7"/>
                    <a:gd name="T4" fmla="*/ 0 w 7"/>
                    <a:gd name="T5" fmla="*/ 0 h 7"/>
                    <a:gd name="T6" fmla="*/ 0 w 7"/>
                    <a:gd name="T7" fmla="*/ 0 h 7"/>
                    <a:gd name="T8" fmla="*/ 0 w 7"/>
                    <a:gd name="T9" fmla="*/ 3 h 7"/>
                    <a:gd name="T10" fmla="*/ 0 w 7"/>
                    <a:gd name="T11" fmla="*/ 5 h 7"/>
                    <a:gd name="T12" fmla="*/ 0 w 7"/>
                    <a:gd name="T13" fmla="*/ 5 h 7"/>
                    <a:gd name="T14" fmla="*/ 0 w 7"/>
                    <a:gd name="T15" fmla="*/ 7 h 7"/>
                    <a:gd name="T16" fmla="*/ 3 w 7"/>
                    <a:gd name="T17" fmla="*/ 7 h 7"/>
                    <a:gd name="T18" fmla="*/ 7 w 7"/>
                    <a:gd name="T19" fmla="*/ 5 h 7"/>
                    <a:gd name="T20" fmla="*/ 7 w 7"/>
                    <a:gd name="T21" fmla="*/ 5 h 7"/>
                    <a:gd name="T22" fmla="*/ 7 w 7"/>
                    <a:gd name="T23" fmla="*/ 3 h 7"/>
                    <a:gd name="T24" fmla="*/ 7 w 7"/>
                    <a:gd name="T25" fmla="*/ 0 h 7"/>
                    <a:gd name="T26" fmla="*/ 7 w 7"/>
                    <a:gd name="T2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7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4" name="Freeform 3239"/>
                <p:cNvSpPr>
                  <a:spLocks/>
                </p:cNvSpPr>
                <p:nvPr/>
              </p:nvSpPr>
              <p:spPr bwMode="auto">
                <a:xfrm>
                  <a:off x="5714" y="2104"/>
                  <a:ext cx="13" cy="9"/>
                </a:xfrm>
                <a:custGeom>
                  <a:avLst/>
                  <a:gdLst>
                    <a:gd name="T0" fmla="*/ 4 w 13"/>
                    <a:gd name="T1" fmla="*/ 0 h 9"/>
                    <a:gd name="T2" fmla="*/ 2 w 13"/>
                    <a:gd name="T3" fmla="*/ 0 h 9"/>
                    <a:gd name="T4" fmla="*/ 2 w 13"/>
                    <a:gd name="T5" fmla="*/ 0 h 9"/>
                    <a:gd name="T6" fmla="*/ 0 w 13"/>
                    <a:gd name="T7" fmla="*/ 2 h 9"/>
                    <a:gd name="T8" fmla="*/ 0 w 13"/>
                    <a:gd name="T9" fmla="*/ 2 h 9"/>
                    <a:gd name="T10" fmla="*/ 0 w 13"/>
                    <a:gd name="T11" fmla="*/ 4 h 9"/>
                    <a:gd name="T12" fmla="*/ 0 w 13"/>
                    <a:gd name="T13" fmla="*/ 4 h 9"/>
                    <a:gd name="T14" fmla="*/ 0 w 13"/>
                    <a:gd name="T15" fmla="*/ 2 h 9"/>
                    <a:gd name="T16" fmla="*/ 2 w 13"/>
                    <a:gd name="T17" fmla="*/ 0 h 9"/>
                    <a:gd name="T18" fmla="*/ 2 w 13"/>
                    <a:gd name="T19" fmla="*/ 0 h 9"/>
                    <a:gd name="T20" fmla="*/ 4 w 13"/>
                    <a:gd name="T21" fmla="*/ 0 h 9"/>
                    <a:gd name="T22" fmla="*/ 4 w 13"/>
                    <a:gd name="T23" fmla="*/ 0 h 9"/>
                    <a:gd name="T24" fmla="*/ 7 w 13"/>
                    <a:gd name="T25" fmla="*/ 4 h 9"/>
                    <a:gd name="T26" fmla="*/ 13 w 13"/>
                    <a:gd name="T27" fmla="*/ 9 h 9"/>
                    <a:gd name="T28" fmla="*/ 7 w 13"/>
                    <a:gd name="T29" fmla="*/ 4 h 9"/>
                    <a:gd name="T30" fmla="*/ 4 w 13"/>
                    <a:gd name="T31" fmla="*/ 0 h 9"/>
                    <a:gd name="T32" fmla="*/ 4 w 13"/>
                    <a:gd name="T3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" h="9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7" y="4"/>
                      </a:lnTo>
                      <a:lnTo>
                        <a:pt x="13" y="9"/>
                      </a:ln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5" name="Freeform 3240"/>
                <p:cNvSpPr>
                  <a:spLocks/>
                </p:cNvSpPr>
                <p:nvPr/>
              </p:nvSpPr>
              <p:spPr bwMode="auto">
                <a:xfrm>
                  <a:off x="5714" y="2104"/>
                  <a:ext cx="13" cy="9"/>
                </a:xfrm>
                <a:custGeom>
                  <a:avLst/>
                  <a:gdLst>
                    <a:gd name="T0" fmla="*/ 4 w 13"/>
                    <a:gd name="T1" fmla="*/ 0 h 9"/>
                    <a:gd name="T2" fmla="*/ 2 w 13"/>
                    <a:gd name="T3" fmla="*/ 0 h 9"/>
                    <a:gd name="T4" fmla="*/ 2 w 13"/>
                    <a:gd name="T5" fmla="*/ 0 h 9"/>
                    <a:gd name="T6" fmla="*/ 0 w 13"/>
                    <a:gd name="T7" fmla="*/ 2 h 9"/>
                    <a:gd name="T8" fmla="*/ 0 w 13"/>
                    <a:gd name="T9" fmla="*/ 2 h 9"/>
                    <a:gd name="T10" fmla="*/ 0 w 13"/>
                    <a:gd name="T11" fmla="*/ 4 h 9"/>
                    <a:gd name="T12" fmla="*/ 0 w 13"/>
                    <a:gd name="T13" fmla="*/ 4 h 9"/>
                    <a:gd name="T14" fmla="*/ 0 w 13"/>
                    <a:gd name="T15" fmla="*/ 2 h 9"/>
                    <a:gd name="T16" fmla="*/ 2 w 13"/>
                    <a:gd name="T17" fmla="*/ 0 h 9"/>
                    <a:gd name="T18" fmla="*/ 2 w 13"/>
                    <a:gd name="T19" fmla="*/ 0 h 9"/>
                    <a:gd name="T20" fmla="*/ 4 w 13"/>
                    <a:gd name="T21" fmla="*/ 0 h 9"/>
                    <a:gd name="T22" fmla="*/ 4 w 13"/>
                    <a:gd name="T23" fmla="*/ 0 h 9"/>
                    <a:gd name="T24" fmla="*/ 7 w 13"/>
                    <a:gd name="T25" fmla="*/ 4 h 9"/>
                    <a:gd name="T26" fmla="*/ 13 w 13"/>
                    <a:gd name="T27" fmla="*/ 9 h 9"/>
                    <a:gd name="T28" fmla="*/ 7 w 13"/>
                    <a:gd name="T29" fmla="*/ 4 h 9"/>
                    <a:gd name="T30" fmla="*/ 4 w 13"/>
                    <a:gd name="T31" fmla="*/ 0 h 9"/>
                    <a:gd name="T32" fmla="*/ 4 w 13"/>
                    <a:gd name="T3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" h="9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7" y="4"/>
                      </a:lnTo>
                      <a:lnTo>
                        <a:pt x="13" y="9"/>
                      </a:ln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6" name="Freeform 3241"/>
                <p:cNvSpPr>
                  <a:spLocks noEditPoints="1"/>
                </p:cNvSpPr>
                <p:nvPr/>
              </p:nvSpPr>
              <p:spPr bwMode="auto">
                <a:xfrm>
                  <a:off x="5714" y="2104"/>
                  <a:ext cx="13" cy="13"/>
                </a:xfrm>
                <a:custGeom>
                  <a:avLst/>
                  <a:gdLst>
                    <a:gd name="T0" fmla="*/ 2 w 13"/>
                    <a:gd name="T1" fmla="*/ 4 h 13"/>
                    <a:gd name="T2" fmla="*/ 2 w 13"/>
                    <a:gd name="T3" fmla="*/ 2 h 13"/>
                    <a:gd name="T4" fmla="*/ 4 w 13"/>
                    <a:gd name="T5" fmla="*/ 2 h 13"/>
                    <a:gd name="T6" fmla="*/ 7 w 13"/>
                    <a:gd name="T7" fmla="*/ 4 h 13"/>
                    <a:gd name="T8" fmla="*/ 9 w 13"/>
                    <a:gd name="T9" fmla="*/ 7 h 13"/>
                    <a:gd name="T10" fmla="*/ 5 w 13"/>
                    <a:gd name="T11" fmla="*/ 9 h 13"/>
                    <a:gd name="T12" fmla="*/ 2 w 13"/>
                    <a:gd name="T13" fmla="*/ 11 h 13"/>
                    <a:gd name="T14" fmla="*/ 2 w 13"/>
                    <a:gd name="T15" fmla="*/ 7 h 13"/>
                    <a:gd name="T16" fmla="*/ 2 w 13"/>
                    <a:gd name="T17" fmla="*/ 4 h 13"/>
                    <a:gd name="T18" fmla="*/ 4 w 13"/>
                    <a:gd name="T19" fmla="*/ 0 h 13"/>
                    <a:gd name="T20" fmla="*/ 2 w 13"/>
                    <a:gd name="T21" fmla="*/ 0 h 13"/>
                    <a:gd name="T22" fmla="*/ 2 w 13"/>
                    <a:gd name="T23" fmla="*/ 0 h 13"/>
                    <a:gd name="T24" fmla="*/ 0 w 13"/>
                    <a:gd name="T25" fmla="*/ 2 h 13"/>
                    <a:gd name="T26" fmla="*/ 0 w 13"/>
                    <a:gd name="T27" fmla="*/ 4 h 13"/>
                    <a:gd name="T28" fmla="*/ 0 w 13"/>
                    <a:gd name="T29" fmla="*/ 4 h 13"/>
                    <a:gd name="T30" fmla="*/ 0 w 13"/>
                    <a:gd name="T31" fmla="*/ 4 h 13"/>
                    <a:gd name="T32" fmla="*/ 0 w 13"/>
                    <a:gd name="T33" fmla="*/ 4 h 13"/>
                    <a:gd name="T34" fmla="*/ 0 w 13"/>
                    <a:gd name="T35" fmla="*/ 7 h 13"/>
                    <a:gd name="T36" fmla="*/ 0 w 13"/>
                    <a:gd name="T37" fmla="*/ 11 h 13"/>
                    <a:gd name="T38" fmla="*/ 0 w 13"/>
                    <a:gd name="T39" fmla="*/ 13 h 13"/>
                    <a:gd name="T40" fmla="*/ 5 w 13"/>
                    <a:gd name="T41" fmla="*/ 11 h 13"/>
                    <a:gd name="T42" fmla="*/ 11 w 13"/>
                    <a:gd name="T43" fmla="*/ 9 h 13"/>
                    <a:gd name="T44" fmla="*/ 13 w 13"/>
                    <a:gd name="T45" fmla="*/ 9 h 13"/>
                    <a:gd name="T46" fmla="*/ 7 w 13"/>
                    <a:gd name="T47" fmla="*/ 4 h 13"/>
                    <a:gd name="T48" fmla="*/ 4 w 13"/>
                    <a:gd name="T49" fmla="*/ 0 h 13"/>
                    <a:gd name="T50" fmla="*/ 4 w 13"/>
                    <a:gd name="T5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" h="13">
                      <a:moveTo>
                        <a:pt x="2" y="4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7" y="4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2" y="11"/>
                      </a:lnTo>
                      <a:lnTo>
                        <a:pt x="2" y="7"/>
                      </a:lnTo>
                      <a:lnTo>
                        <a:pt x="2" y="4"/>
                      </a:lnTo>
                      <a:close/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3" y="9"/>
                      </a:ln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7" name="Freeform 3242"/>
                <p:cNvSpPr>
                  <a:spLocks/>
                </p:cNvSpPr>
                <p:nvPr/>
              </p:nvSpPr>
              <p:spPr bwMode="auto">
                <a:xfrm>
                  <a:off x="5716" y="2106"/>
                  <a:ext cx="7" cy="9"/>
                </a:xfrm>
                <a:custGeom>
                  <a:avLst/>
                  <a:gdLst>
                    <a:gd name="T0" fmla="*/ 0 w 7"/>
                    <a:gd name="T1" fmla="*/ 2 h 9"/>
                    <a:gd name="T2" fmla="*/ 0 w 7"/>
                    <a:gd name="T3" fmla="*/ 0 h 9"/>
                    <a:gd name="T4" fmla="*/ 2 w 7"/>
                    <a:gd name="T5" fmla="*/ 0 h 9"/>
                    <a:gd name="T6" fmla="*/ 5 w 7"/>
                    <a:gd name="T7" fmla="*/ 2 h 9"/>
                    <a:gd name="T8" fmla="*/ 7 w 7"/>
                    <a:gd name="T9" fmla="*/ 5 h 9"/>
                    <a:gd name="T10" fmla="*/ 3 w 7"/>
                    <a:gd name="T11" fmla="*/ 7 h 9"/>
                    <a:gd name="T12" fmla="*/ 0 w 7"/>
                    <a:gd name="T13" fmla="*/ 9 h 9"/>
                    <a:gd name="T14" fmla="*/ 0 w 7"/>
                    <a:gd name="T15" fmla="*/ 5 h 9"/>
                    <a:gd name="T16" fmla="*/ 0 w 7"/>
                    <a:gd name="T17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9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8" name="Freeform 3243"/>
                <p:cNvSpPr>
                  <a:spLocks/>
                </p:cNvSpPr>
                <p:nvPr/>
              </p:nvSpPr>
              <p:spPr bwMode="auto">
                <a:xfrm>
                  <a:off x="5714" y="2104"/>
                  <a:ext cx="13" cy="13"/>
                </a:xfrm>
                <a:custGeom>
                  <a:avLst/>
                  <a:gdLst>
                    <a:gd name="T0" fmla="*/ 4 w 13"/>
                    <a:gd name="T1" fmla="*/ 0 h 13"/>
                    <a:gd name="T2" fmla="*/ 2 w 13"/>
                    <a:gd name="T3" fmla="*/ 0 h 13"/>
                    <a:gd name="T4" fmla="*/ 2 w 13"/>
                    <a:gd name="T5" fmla="*/ 0 h 13"/>
                    <a:gd name="T6" fmla="*/ 0 w 13"/>
                    <a:gd name="T7" fmla="*/ 2 h 13"/>
                    <a:gd name="T8" fmla="*/ 0 w 13"/>
                    <a:gd name="T9" fmla="*/ 4 h 13"/>
                    <a:gd name="T10" fmla="*/ 0 w 13"/>
                    <a:gd name="T11" fmla="*/ 4 h 13"/>
                    <a:gd name="T12" fmla="*/ 0 w 13"/>
                    <a:gd name="T13" fmla="*/ 4 h 13"/>
                    <a:gd name="T14" fmla="*/ 0 w 13"/>
                    <a:gd name="T15" fmla="*/ 4 h 13"/>
                    <a:gd name="T16" fmla="*/ 0 w 13"/>
                    <a:gd name="T17" fmla="*/ 7 h 13"/>
                    <a:gd name="T18" fmla="*/ 0 w 13"/>
                    <a:gd name="T19" fmla="*/ 11 h 13"/>
                    <a:gd name="T20" fmla="*/ 0 w 13"/>
                    <a:gd name="T21" fmla="*/ 13 h 13"/>
                    <a:gd name="T22" fmla="*/ 5 w 13"/>
                    <a:gd name="T23" fmla="*/ 11 h 13"/>
                    <a:gd name="T24" fmla="*/ 11 w 13"/>
                    <a:gd name="T25" fmla="*/ 9 h 13"/>
                    <a:gd name="T26" fmla="*/ 13 w 13"/>
                    <a:gd name="T27" fmla="*/ 9 h 13"/>
                    <a:gd name="T28" fmla="*/ 7 w 13"/>
                    <a:gd name="T29" fmla="*/ 4 h 13"/>
                    <a:gd name="T30" fmla="*/ 4 w 13"/>
                    <a:gd name="T31" fmla="*/ 0 h 13"/>
                    <a:gd name="T32" fmla="*/ 4 w 13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" h="13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3" y="9"/>
                      </a:ln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29" name="Rectangle 3244"/>
                <p:cNvSpPr>
                  <a:spLocks noChangeArrowheads="1"/>
                </p:cNvSpPr>
                <p:nvPr/>
              </p:nvSpPr>
              <p:spPr bwMode="auto">
                <a:xfrm>
                  <a:off x="5719" y="2132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0" name="Rectangle 3245"/>
                <p:cNvSpPr>
                  <a:spLocks noChangeArrowheads="1"/>
                </p:cNvSpPr>
                <p:nvPr/>
              </p:nvSpPr>
              <p:spPr bwMode="auto">
                <a:xfrm>
                  <a:off x="5719" y="2132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1" name="Freeform 3246"/>
                <p:cNvSpPr>
                  <a:spLocks noEditPoints="1"/>
                </p:cNvSpPr>
                <p:nvPr/>
              </p:nvSpPr>
              <p:spPr bwMode="auto">
                <a:xfrm>
                  <a:off x="5719" y="2124"/>
                  <a:ext cx="13" cy="8"/>
                </a:xfrm>
                <a:custGeom>
                  <a:avLst/>
                  <a:gdLst>
                    <a:gd name="T0" fmla="*/ 0 w 13"/>
                    <a:gd name="T1" fmla="*/ 2 h 8"/>
                    <a:gd name="T2" fmla="*/ 0 w 13"/>
                    <a:gd name="T3" fmla="*/ 2 h 8"/>
                    <a:gd name="T4" fmla="*/ 6 w 13"/>
                    <a:gd name="T5" fmla="*/ 2 h 8"/>
                    <a:gd name="T6" fmla="*/ 11 w 13"/>
                    <a:gd name="T7" fmla="*/ 2 h 8"/>
                    <a:gd name="T8" fmla="*/ 11 w 13"/>
                    <a:gd name="T9" fmla="*/ 4 h 8"/>
                    <a:gd name="T10" fmla="*/ 11 w 13"/>
                    <a:gd name="T11" fmla="*/ 6 h 8"/>
                    <a:gd name="T12" fmla="*/ 6 w 13"/>
                    <a:gd name="T13" fmla="*/ 6 h 8"/>
                    <a:gd name="T14" fmla="*/ 0 w 13"/>
                    <a:gd name="T15" fmla="*/ 6 h 8"/>
                    <a:gd name="T16" fmla="*/ 0 w 13"/>
                    <a:gd name="T17" fmla="*/ 4 h 8"/>
                    <a:gd name="T18" fmla="*/ 0 w 13"/>
                    <a:gd name="T19" fmla="*/ 2 h 8"/>
                    <a:gd name="T20" fmla="*/ 13 w 13"/>
                    <a:gd name="T21" fmla="*/ 0 h 8"/>
                    <a:gd name="T22" fmla="*/ 6 w 13"/>
                    <a:gd name="T23" fmla="*/ 0 h 8"/>
                    <a:gd name="T24" fmla="*/ 0 w 13"/>
                    <a:gd name="T25" fmla="*/ 0 h 8"/>
                    <a:gd name="T26" fmla="*/ 0 w 13"/>
                    <a:gd name="T27" fmla="*/ 0 h 8"/>
                    <a:gd name="T28" fmla="*/ 0 w 13"/>
                    <a:gd name="T29" fmla="*/ 4 h 8"/>
                    <a:gd name="T30" fmla="*/ 0 w 13"/>
                    <a:gd name="T31" fmla="*/ 8 h 8"/>
                    <a:gd name="T32" fmla="*/ 0 w 13"/>
                    <a:gd name="T33" fmla="*/ 8 h 8"/>
                    <a:gd name="T34" fmla="*/ 0 w 13"/>
                    <a:gd name="T35" fmla="*/ 8 h 8"/>
                    <a:gd name="T36" fmla="*/ 6 w 13"/>
                    <a:gd name="T37" fmla="*/ 8 h 8"/>
                    <a:gd name="T38" fmla="*/ 11 w 13"/>
                    <a:gd name="T39" fmla="*/ 8 h 8"/>
                    <a:gd name="T40" fmla="*/ 13 w 13"/>
                    <a:gd name="T41" fmla="*/ 8 h 8"/>
                    <a:gd name="T42" fmla="*/ 13 w 13"/>
                    <a:gd name="T43" fmla="*/ 4 h 8"/>
                    <a:gd name="T44" fmla="*/ 13 w 13"/>
                    <a:gd name="T45" fmla="*/ 2 h 8"/>
                    <a:gd name="T46" fmla="*/ 13 w 13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3" h="8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6" y="2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11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close/>
                      <a:moveTo>
                        <a:pt x="13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2" name="Freeform 3247"/>
                <p:cNvSpPr>
                  <a:spLocks/>
                </p:cNvSpPr>
                <p:nvPr/>
              </p:nvSpPr>
              <p:spPr bwMode="auto">
                <a:xfrm>
                  <a:off x="5719" y="2126"/>
                  <a:ext cx="11" cy="4"/>
                </a:xfrm>
                <a:custGeom>
                  <a:avLst/>
                  <a:gdLst>
                    <a:gd name="T0" fmla="*/ 0 w 11"/>
                    <a:gd name="T1" fmla="*/ 0 h 4"/>
                    <a:gd name="T2" fmla="*/ 0 w 11"/>
                    <a:gd name="T3" fmla="*/ 0 h 4"/>
                    <a:gd name="T4" fmla="*/ 6 w 11"/>
                    <a:gd name="T5" fmla="*/ 0 h 4"/>
                    <a:gd name="T6" fmla="*/ 11 w 11"/>
                    <a:gd name="T7" fmla="*/ 0 h 4"/>
                    <a:gd name="T8" fmla="*/ 11 w 11"/>
                    <a:gd name="T9" fmla="*/ 2 h 4"/>
                    <a:gd name="T10" fmla="*/ 11 w 11"/>
                    <a:gd name="T11" fmla="*/ 4 h 4"/>
                    <a:gd name="T12" fmla="*/ 6 w 11"/>
                    <a:gd name="T13" fmla="*/ 4 h 4"/>
                    <a:gd name="T14" fmla="*/ 0 w 11"/>
                    <a:gd name="T15" fmla="*/ 4 h 4"/>
                    <a:gd name="T16" fmla="*/ 0 w 11"/>
                    <a:gd name="T17" fmla="*/ 2 h 4"/>
                    <a:gd name="T18" fmla="*/ 0 w 11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0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6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3" name="Freeform 3248"/>
                <p:cNvSpPr>
                  <a:spLocks/>
                </p:cNvSpPr>
                <p:nvPr/>
              </p:nvSpPr>
              <p:spPr bwMode="auto">
                <a:xfrm>
                  <a:off x="5719" y="2124"/>
                  <a:ext cx="13" cy="8"/>
                </a:xfrm>
                <a:custGeom>
                  <a:avLst/>
                  <a:gdLst>
                    <a:gd name="T0" fmla="*/ 13 w 13"/>
                    <a:gd name="T1" fmla="*/ 0 h 8"/>
                    <a:gd name="T2" fmla="*/ 6 w 13"/>
                    <a:gd name="T3" fmla="*/ 0 h 8"/>
                    <a:gd name="T4" fmla="*/ 0 w 13"/>
                    <a:gd name="T5" fmla="*/ 0 h 8"/>
                    <a:gd name="T6" fmla="*/ 0 w 13"/>
                    <a:gd name="T7" fmla="*/ 0 h 8"/>
                    <a:gd name="T8" fmla="*/ 0 w 13"/>
                    <a:gd name="T9" fmla="*/ 4 h 8"/>
                    <a:gd name="T10" fmla="*/ 0 w 13"/>
                    <a:gd name="T11" fmla="*/ 8 h 8"/>
                    <a:gd name="T12" fmla="*/ 0 w 13"/>
                    <a:gd name="T13" fmla="*/ 8 h 8"/>
                    <a:gd name="T14" fmla="*/ 0 w 13"/>
                    <a:gd name="T15" fmla="*/ 8 h 8"/>
                    <a:gd name="T16" fmla="*/ 6 w 13"/>
                    <a:gd name="T17" fmla="*/ 8 h 8"/>
                    <a:gd name="T18" fmla="*/ 11 w 13"/>
                    <a:gd name="T19" fmla="*/ 8 h 8"/>
                    <a:gd name="T20" fmla="*/ 13 w 13"/>
                    <a:gd name="T21" fmla="*/ 8 h 8"/>
                    <a:gd name="T22" fmla="*/ 13 w 13"/>
                    <a:gd name="T23" fmla="*/ 4 h 8"/>
                    <a:gd name="T24" fmla="*/ 13 w 13"/>
                    <a:gd name="T25" fmla="*/ 2 h 8"/>
                    <a:gd name="T26" fmla="*/ 13 w 13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8">
                      <a:moveTo>
                        <a:pt x="13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13" y="8"/>
                      </a:lnTo>
                      <a:lnTo>
                        <a:pt x="13" y="4"/>
                      </a:lnTo>
                      <a:lnTo>
                        <a:pt x="13" y="2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4" name="Freeform 3249"/>
                <p:cNvSpPr>
                  <a:spLocks/>
                </p:cNvSpPr>
                <p:nvPr/>
              </p:nvSpPr>
              <p:spPr bwMode="auto">
                <a:xfrm>
                  <a:off x="5725" y="2170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2 h 2"/>
                    <a:gd name="T6" fmla="*/ 2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5" name="Freeform 3250"/>
                <p:cNvSpPr>
                  <a:spLocks/>
                </p:cNvSpPr>
                <p:nvPr/>
              </p:nvSpPr>
              <p:spPr bwMode="auto">
                <a:xfrm>
                  <a:off x="5725" y="2170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2 h 2"/>
                    <a:gd name="T6" fmla="*/ 2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6" name="Freeform 3251"/>
                <p:cNvSpPr>
                  <a:spLocks noEditPoints="1"/>
                </p:cNvSpPr>
                <p:nvPr/>
              </p:nvSpPr>
              <p:spPr bwMode="auto">
                <a:xfrm>
                  <a:off x="5721" y="2152"/>
                  <a:ext cx="8" cy="18"/>
                </a:xfrm>
                <a:custGeom>
                  <a:avLst/>
                  <a:gdLst>
                    <a:gd name="T0" fmla="*/ 4 w 8"/>
                    <a:gd name="T1" fmla="*/ 15 h 18"/>
                    <a:gd name="T2" fmla="*/ 4 w 8"/>
                    <a:gd name="T3" fmla="*/ 13 h 18"/>
                    <a:gd name="T4" fmla="*/ 4 w 8"/>
                    <a:gd name="T5" fmla="*/ 9 h 18"/>
                    <a:gd name="T6" fmla="*/ 2 w 8"/>
                    <a:gd name="T7" fmla="*/ 5 h 18"/>
                    <a:gd name="T8" fmla="*/ 2 w 8"/>
                    <a:gd name="T9" fmla="*/ 3 h 18"/>
                    <a:gd name="T10" fmla="*/ 2 w 8"/>
                    <a:gd name="T11" fmla="*/ 3 h 18"/>
                    <a:gd name="T12" fmla="*/ 4 w 8"/>
                    <a:gd name="T13" fmla="*/ 5 h 18"/>
                    <a:gd name="T14" fmla="*/ 6 w 8"/>
                    <a:gd name="T15" fmla="*/ 7 h 18"/>
                    <a:gd name="T16" fmla="*/ 6 w 8"/>
                    <a:gd name="T17" fmla="*/ 7 h 18"/>
                    <a:gd name="T18" fmla="*/ 6 w 8"/>
                    <a:gd name="T19" fmla="*/ 9 h 18"/>
                    <a:gd name="T20" fmla="*/ 6 w 8"/>
                    <a:gd name="T21" fmla="*/ 11 h 18"/>
                    <a:gd name="T22" fmla="*/ 6 w 8"/>
                    <a:gd name="T23" fmla="*/ 11 h 18"/>
                    <a:gd name="T24" fmla="*/ 6 w 8"/>
                    <a:gd name="T25" fmla="*/ 15 h 18"/>
                    <a:gd name="T26" fmla="*/ 4 w 8"/>
                    <a:gd name="T27" fmla="*/ 15 h 18"/>
                    <a:gd name="T28" fmla="*/ 0 w 8"/>
                    <a:gd name="T29" fmla="*/ 0 h 18"/>
                    <a:gd name="T30" fmla="*/ 2 w 8"/>
                    <a:gd name="T31" fmla="*/ 5 h 18"/>
                    <a:gd name="T32" fmla="*/ 2 w 8"/>
                    <a:gd name="T33" fmla="*/ 9 h 18"/>
                    <a:gd name="T34" fmla="*/ 2 w 8"/>
                    <a:gd name="T35" fmla="*/ 13 h 18"/>
                    <a:gd name="T36" fmla="*/ 4 w 8"/>
                    <a:gd name="T37" fmla="*/ 18 h 18"/>
                    <a:gd name="T38" fmla="*/ 4 w 8"/>
                    <a:gd name="T39" fmla="*/ 18 h 18"/>
                    <a:gd name="T40" fmla="*/ 6 w 8"/>
                    <a:gd name="T41" fmla="*/ 18 h 18"/>
                    <a:gd name="T42" fmla="*/ 6 w 8"/>
                    <a:gd name="T43" fmla="*/ 15 h 18"/>
                    <a:gd name="T44" fmla="*/ 6 w 8"/>
                    <a:gd name="T45" fmla="*/ 15 h 18"/>
                    <a:gd name="T46" fmla="*/ 8 w 8"/>
                    <a:gd name="T47" fmla="*/ 11 h 18"/>
                    <a:gd name="T48" fmla="*/ 8 w 8"/>
                    <a:gd name="T49" fmla="*/ 9 h 18"/>
                    <a:gd name="T50" fmla="*/ 8 w 8"/>
                    <a:gd name="T51" fmla="*/ 9 h 18"/>
                    <a:gd name="T52" fmla="*/ 8 w 8"/>
                    <a:gd name="T53" fmla="*/ 7 h 18"/>
                    <a:gd name="T54" fmla="*/ 8 w 8"/>
                    <a:gd name="T55" fmla="*/ 7 h 18"/>
                    <a:gd name="T56" fmla="*/ 6 w 8"/>
                    <a:gd name="T57" fmla="*/ 5 h 18"/>
                    <a:gd name="T58" fmla="*/ 6 w 8"/>
                    <a:gd name="T59" fmla="*/ 3 h 18"/>
                    <a:gd name="T60" fmla="*/ 6 w 8"/>
                    <a:gd name="T61" fmla="*/ 3 h 18"/>
                    <a:gd name="T62" fmla="*/ 4 w 8"/>
                    <a:gd name="T63" fmla="*/ 2 h 18"/>
                    <a:gd name="T64" fmla="*/ 4 w 8"/>
                    <a:gd name="T65" fmla="*/ 2 h 18"/>
                    <a:gd name="T66" fmla="*/ 2 w 8"/>
                    <a:gd name="T67" fmla="*/ 2 h 18"/>
                    <a:gd name="T68" fmla="*/ 0 w 8"/>
                    <a:gd name="T6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" h="18">
                      <a:moveTo>
                        <a:pt x="4" y="15"/>
                      </a:moveTo>
                      <a:lnTo>
                        <a:pt x="4" y="13"/>
                      </a:lnTo>
                      <a:lnTo>
                        <a:pt x="4" y="9"/>
                      </a:lnTo>
                      <a:lnTo>
                        <a:pt x="2" y="5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4" y="5"/>
                      </a:lnTo>
                      <a:lnTo>
                        <a:pt x="6" y="7"/>
                      </a:lnTo>
                      <a:lnTo>
                        <a:pt x="6" y="7"/>
                      </a:lnTo>
                      <a:lnTo>
                        <a:pt x="6" y="9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6" y="15"/>
                      </a:lnTo>
                      <a:lnTo>
                        <a:pt x="4" y="15"/>
                      </a:lnTo>
                      <a:close/>
                      <a:moveTo>
                        <a:pt x="0" y="0"/>
                      </a:moveTo>
                      <a:lnTo>
                        <a:pt x="2" y="5"/>
                      </a:lnTo>
                      <a:lnTo>
                        <a:pt x="2" y="9"/>
                      </a:lnTo>
                      <a:lnTo>
                        <a:pt x="2" y="13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6" y="15"/>
                      </a:lnTo>
                      <a:lnTo>
                        <a:pt x="8" y="11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8" y="7"/>
                      </a:lnTo>
                      <a:lnTo>
                        <a:pt x="8" y="7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7" name="Freeform 3252"/>
                <p:cNvSpPr>
                  <a:spLocks/>
                </p:cNvSpPr>
                <p:nvPr/>
              </p:nvSpPr>
              <p:spPr bwMode="auto">
                <a:xfrm>
                  <a:off x="5723" y="2155"/>
                  <a:ext cx="4" cy="12"/>
                </a:xfrm>
                <a:custGeom>
                  <a:avLst/>
                  <a:gdLst>
                    <a:gd name="T0" fmla="*/ 2 w 4"/>
                    <a:gd name="T1" fmla="*/ 12 h 12"/>
                    <a:gd name="T2" fmla="*/ 2 w 4"/>
                    <a:gd name="T3" fmla="*/ 10 h 12"/>
                    <a:gd name="T4" fmla="*/ 2 w 4"/>
                    <a:gd name="T5" fmla="*/ 6 h 12"/>
                    <a:gd name="T6" fmla="*/ 0 w 4"/>
                    <a:gd name="T7" fmla="*/ 2 h 12"/>
                    <a:gd name="T8" fmla="*/ 0 w 4"/>
                    <a:gd name="T9" fmla="*/ 0 h 12"/>
                    <a:gd name="T10" fmla="*/ 0 w 4"/>
                    <a:gd name="T11" fmla="*/ 0 h 12"/>
                    <a:gd name="T12" fmla="*/ 2 w 4"/>
                    <a:gd name="T13" fmla="*/ 2 h 12"/>
                    <a:gd name="T14" fmla="*/ 4 w 4"/>
                    <a:gd name="T15" fmla="*/ 4 h 12"/>
                    <a:gd name="T16" fmla="*/ 4 w 4"/>
                    <a:gd name="T17" fmla="*/ 4 h 12"/>
                    <a:gd name="T18" fmla="*/ 4 w 4"/>
                    <a:gd name="T19" fmla="*/ 6 h 12"/>
                    <a:gd name="T20" fmla="*/ 4 w 4"/>
                    <a:gd name="T21" fmla="*/ 8 h 12"/>
                    <a:gd name="T22" fmla="*/ 4 w 4"/>
                    <a:gd name="T23" fmla="*/ 8 h 12"/>
                    <a:gd name="T24" fmla="*/ 4 w 4"/>
                    <a:gd name="T25" fmla="*/ 12 h 12"/>
                    <a:gd name="T26" fmla="*/ 2 w 4"/>
                    <a:gd name="T2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12"/>
                      </a:lnTo>
                      <a:lnTo>
                        <a:pt x="2" y="12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8" name="Freeform 3253"/>
                <p:cNvSpPr>
                  <a:spLocks/>
                </p:cNvSpPr>
                <p:nvPr/>
              </p:nvSpPr>
              <p:spPr bwMode="auto">
                <a:xfrm>
                  <a:off x="5721" y="2152"/>
                  <a:ext cx="8" cy="18"/>
                </a:xfrm>
                <a:custGeom>
                  <a:avLst/>
                  <a:gdLst>
                    <a:gd name="T0" fmla="*/ 0 w 8"/>
                    <a:gd name="T1" fmla="*/ 0 h 18"/>
                    <a:gd name="T2" fmla="*/ 2 w 8"/>
                    <a:gd name="T3" fmla="*/ 5 h 18"/>
                    <a:gd name="T4" fmla="*/ 2 w 8"/>
                    <a:gd name="T5" fmla="*/ 9 h 18"/>
                    <a:gd name="T6" fmla="*/ 2 w 8"/>
                    <a:gd name="T7" fmla="*/ 13 h 18"/>
                    <a:gd name="T8" fmla="*/ 4 w 8"/>
                    <a:gd name="T9" fmla="*/ 18 h 18"/>
                    <a:gd name="T10" fmla="*/ 4 w 8"/>
                    <a:gd name="T11" fmla="*/ 18 h 18"/>
                    <a:gd name="T12" fmla="*/ 6 w 8"/>
                    <a:gd name="T13" fmla="*/ 18 h 18"/>
                    <a:gd name="T14" fmla="*/ 6 w 8"/>
                    <a:gd name="T15" fmla="*/ 15 h 18"/>
                    <a:gd name="T16" fmla="*/ 6 w 8"/>
                    <a:gd name="T17" fmla="*/ 15 h 18"/>
                    <a:gd name="T18" fmla="*/ 8 w 8"/>
                    <a:gd name="T19" fmla="*/ 11 h 18"/>
                    <a:gd name="T20" fmla="*/ 8 w 8"/>
                    <a:gd name="T21" fmla="*/ 9 h 18"/>
                    <a:gd name="T22" fmla="*/ 8 w 8"/>
                    <a:gd name="T23" fmla="*/ 9 h 18"/>
                    <a:gd name="T24" fmla="*/ 8 w 8"/>
                    <a:gd name="T25" fmla="*/ 7 h 18"/>
                    <a:gd name="T26" fmla="*/ 8 w 8"/>
                    <a:gd name="T27" fmla="*/ 7 h 18"/>
                    <a:gd name="T28" fmla="*/ 6 w 8"/>
                    <a:gd name="T29" fmla="*/ 5 h 18"/>
                    <a:gd name="T30" fmla="*/ 6 w 8"/>
                    <a:gd name="T31" fmla="*/ 3 h 18"/>
                    <a:gd name="T32" fmla="*/ 6 w 8"/>
                    <a:gd name="T33" fmla="*/ 3 h 18"/>
                    <a:gd name="T34" fmla="*/ 4 w 8"/>
                    <a:gd name="T35" fmla="*/ 2 h 18"/>
                    <a:gd name="T36" fmla="*/ 4 w 8"/>
                    <a:gd name="T37" fmla="*/ 2 h 18"/>
                    <a:gd name="T38" fmla="*/ 2 w 8"/>
                    <a:gd name="T39" fmla="*/ 2 h 18"/>
                    <a:gd name="T40" fmla="*/ 0 w 8"/>
                    <a:gd name="T4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" h="18">
                      <a:moveTo>
                        <a:pt x="0" y="0"/>
                      </a:moveTo>
                      <a:lnTo>
                        <a:pt x="2" y="5"/>
                      </a:lnTo>
                      <a:lnTo>
                        <a:pt x="2" y="9"/>
                      </a:lnTo>
                      <a:lnTo>
                        <a:pt x="2" y="13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6" y="15"/>
                      </a:lnTo>
                      <a:lnTo>
                        <a:pt x="8" y="11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8" y="7"/>
                      </a:lnTo>
                      <a:lnTo>
                        <a:pt x="8" y="7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39" name="Rectangle 3254"/>
                <p:cNvSpPr>
                  <a:spLocks noChangeArrowheads="1"/>
                </p:cNvSpPr>
                <p:nvPr/>
              </p:nvSpPr>
              <p:spPr bwMode="auto">
                <a:xfrm>
                  <a:off x="5708" y="2163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0" name="Rectangle 3255"/>
                <p:cNvSpPr>
                  <a:spLocks noChangeArrowheads="1"/>
                </p:cNvSpPr>
                <p:nvPr/>
              </p:nvSpPr>
              <p:spPr bwMode="auto">
                <a:xfrm>
                  <a:off x="5708" y="2163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1" name="Freeform 3256"/>
                <p:cNvSpPr>
                  <a:spLocks noEditPoints="1"/>
                </p:cNvSpPr>
                <p:nvPr/>
              </p:nvSpPr>
              <p:spPr bwMode="auto">
                <a:xfrm>
                  <a:off x="5708" y="2157"/>
                  <a:ext cx="8" cy="8"/>
                </a:xfrm>
                <a:custGeom>
                  <a:avLst/>
                  <a:gdLst>
                    <a:gd name="T0" fmla="*/ 2 w 8"/>
                    <a:gd name="T1" fmla="*/ 2 h 8"/>
                    <a:gd name="T2" fmla="*/ 2 w 8"/>
                    <a:gd name="T3" fmla="*/ 2 h 8"/>
                    <a:gd name="T4" fmla="*/ 4 w 8"/>
                    <a:gd name="T5" fmla="*/ 2 h 8"/>
                    <a:gd name="T6" fmla="*/ 6 w 8"/>
                    <a:gd name="T7" fmla="*/ 2 h 8"/>
                    <a:gd name="T8" fmla="*/ 6 w 8"/>
                    <a:gd name="T9" fmla="*/ 4 h 8"/>
                    <a:gd name="T10" fmla="*/ 6 w 8"/>
                    <a:gd name="T11" fmla="*/ 6 h 8"/>
                    <a:gd name="T12" fmla="*/ 4 w 8"/>
                    <a:gd name="T13" fmla="*/ 6 h 8"/>
                    <a:gd name="T14" fmla="*/ 2 w 8"/>
                    <a:gd name="T15" fmla="*/ 6 h 8"/>
                    <a:gd name="T16" fmla="*/ 2 w 8"/>
                    <a:gd name="T17" fmla="*/ 4 h 8"/>
                    <a:gd name="T18" fmla="*/ 2 w 8"/>
                    <a:gd name="T19" fmla="*/ 2 h 8"/>
                    <a:gd name="T20" fmla="*/ 8 w 8"/>
                    <a:gd name="T21" fmla="*/ 0 h 8"/>
                    <a:gd name="T22" fmla="*/ 4 w 8"/>
                    <a:gd name="T23" fmla="*/ 0 h 8"/>
                    <a:gd name="T24" fmla="*/ 0 w 8"/>
                    <a:gd name="T25" fmla="*/ 0 h 8"/>
                    <a:gd name="T26" fmla="*/ 0 w 8"/>
                    <a:gd name="T27" fmla="*/ 0 h 8"/>
                    <a:gd name="T28" fmla="*/ 0 w 8"/>
                    <a:gd name="T29" fmla="*/ 4 h 8"/>
                    <a:gd name="T30" fmla="*/ 0 w 8"/>
                    <a:gd name="T31" fmla="*/ 6 h 8"/>
                    <a:gd name="T32" fmla="*/ 0 w 8"/>
                    <a:gd name="T33" fmla="*/ 6 h 8"/>
                    <a:gd name="T34" fmla="*/ 0 w 8"/>
                    <a:gd name="T35" fmla="*/ 8 h 8"/>
                    <a:gd name="T36" fmla="*/ 4 w 8"/>
                    <a:gd name="T37" fmla="*/ 8 h 8"/>
                    <a:gd name="T38" fmla="*/ 6 w 8"/>
                    <a:gd name="T39" fmla="*/ 8 h 8"/>
                    <a:gd name="T40" fmla="*/ 8 w 8"/>
                    <a:gd name="T41" fmla="*/ 8 h 8"/>
                    <a:gd name="T42" fmla="*/ 8 w 8"/>
                    <a:gd name="T43" fmla="*/ 4 h 8"/>
                    <a:gd name="T44" fmla="*/ 8 w 8"/>
                    <a:gd name="T45" fmla="*/ 2 h 8"/>
                    <a:gd name="T46" fmla="*/ 8 w 8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2" name="Freeform 3257"/>
                <p:cNvSpPr>
                  <a:spLocks/>
                </p:cNvSpPr>
                <p:nvPr/>
              </p:nvSpPr>
              <p:spPr bwMode="auto">
                <a:xfrm>
                  <a:off x="5710" y="2159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3" name="Freeform 3258"/>
                <p:cNvSpPr>
                  <a:spLocks/>
                </p:cNvSpPr>
                <p:nvPr/>
              </p:nvSpPr>
              <p:spPr bwMode="auto">
                <a:xfrm>
                  <a:off x="5708" y="2157"/>
                  <a:ext cx="8" cy="8"/>
                </a:xfrm>
                <a:custGeom>
                  <a:avLst/>
                  <a:gdLst>
                    <a:gd name="T0" fmla="*/ 8 w 8"/>
                    <a:gd name="T1" fmla="*/ 0 h 8"/>
                    <a:gd name="T2" fmla="*/ 4 w 8"/>
                    <a:gd name="T3" fmla="*/ 0 h 8"/>
                    <a:gd name="T4" fmla="*/ 0 w 8"/>
                    <a:gd name="T5" fmla="*/ 0 h 8"/>
                    <a:gd name="T6" fmla="*/ 0 w 8"/>
                    <a:gd name="T7" fmla="*/ 0 h 8"/>
                    <a:gd name="T8" fmla="*/ 0 w 8"/>
                    <a:gd name="T9" fmla="*/ 4 h 8"/>
                    <a:gd name="T10" fmla="*/ 0 w 8"/>
                    <a:gd name="T11" fmla="*/ 6 h 8"/>
                    <a:gd name="T12" fmla="*/ 0 w 8"/>
                    <a:gd name="T13" fmla="*/ 6 h 8"/>
                    <a:gd name="T14" fmla="*/ 0 w 8"/>
                    <a:gd name="T15" fmla="*/ 8 h 8"/>
                    <a:gd name="T16" fmla="*/ 4 w 8"/>
                    <a:gd name="T17" fmla="*/ 8 h 8"/>
                    <a:gd name="T18" fmla="*/ 6 w 8"/>
                    <a:gd name="T19" fmla="*/ 8 h 8"/>
                    <a:gd name="T20" fmla="*/ 8 w 8"/>
                    <a:gd name="T21" fmla="*/ 8 h 8"/>
                    <a:gd name="T22" fmla="*/ 8 w 8"/>
                    <a:gd name="T23" fmla="*/ 4 h 8"/>
                    <a:gd name="T24" fmla="*/ 8 w 8"/>
                    <a:gd name="T25" fmla="*/ 2 h 8"/>
                    <a:gd name="T26" fmla="*/ 8 w 8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8"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4" name="Rectangle 3259"/>
                <p:cNvSpPr>
                  <a:spLocks noChangeArrowheads="1"/>
                </p:cNvSpPr>
                <p:nvPr/>
              </p:nvSpPr>
              <p:spPr bwMode="auto">
                <a:xfrm>
                  <a:off x="5692" y="217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5" name="Rectangle 3260"/>
                <p:cNvSpPr>
                  <a:spLocks noChangeArrowheads="1"/>
                </p:cNvSpPr>
                <p:nvPr/>
              </p:nvSpPr>
              <p:spPr bwMode="auto">
                <a:xfrm>
                  <a:off x="5692" y="217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6" name="Freeform 3261"/>
                <p:cNvSpPr>
                  <a:spLocks noEditPoints="1"/>
                </p:cNvSpPr>
                <p:nvPr/>
              </p:nvSpPr>
              <p:spPr bwMode="auto">
                <a:xfrm>
                  <a:off x="5692" y="2168"/>
                  <a:ext cx="7" cy="8"/>
                </a:xfrm>
                <a:custGeom>
                  <a:avLst/>
                  <a:gdLst>
                    <a:gd name="T0" fmla="*/ 2 w 7"/>
                    <a:gd name="T1" fmla="*/ 2 h 8"/>
                    <a:gd name="T2" fmla="*/ 2 w 7"/>
                    <a:gd name="T3" fmla="*/ 2 h 8"/>
                    <a:gd name="T4" fmla="*/ 3 w 7"/>
                    <a:gd name="T5" fmla="*/ 2 h 8"/>
                    <a:gd name="T6" fmla="*/ 5 w 7"/>
                    <a:gd name="T7" fmla="*/ 2 h 8"/>
                    <a:gd name="T8" fmla="*/ 5 w 7"/>
                    <a:gd name="T9" fmla="*/ 4 h 8"/>
                    <a:gd name="T10" fmla="*/ 5 w 7"/>
                    <a:gd name="T11" fmla="*/ 6 h 8"/>
                    <a:gd name="T12" fmla="*/ 3 w 7"/>
                    <a:gd name="T13" fmla="*/ 6 h 8"/>
                    <a:gd name="T14" fmla="*/ 2 w 7"/>
                    <a:gd name="T15" fmla="*/ 6 h 8"/>
                    <a:gd name="T16" fmla="*/ 2 w 7"/>
                    <a:gd name="T17" fmla="*/ 4 h 8"/>
                    <a:gd name="T18" fmla="*/ 2 w 7"/>
                    <a:gd name="T19" fmla="*/ 2 h 8"/>
                    <a:gd name="T20" fmla="*/ 7 w 7"/>
                    <a:gd name="T21" fmla="*/ 0 h 8"/>
                    <a:gd name="T22" fmla="*/ 3 w 7"/>
                    <a:gd name="T23" fmla="*/ 0 h 8"/>
                    <a:gd name="T24" fmla="*/ 0 w 7"/>
                    <a:gd name="T25" fmla="*/ 0 h 8"/>
                    <a:gd name="T26" fmla="*/ 0 w 7"/>
                    <a:gd name="T27" fmla="*/ 0 h 8"/>
                    <a:gd name="T28" fmla="*/ 0 w 7"/>
                    <a:gd name="T29" fmla="*/ 4 h 8"/>
                    <a:gd name="T30" fmla="*/ 0 w 7"/>
                    <a:gd name="T31" fmla="*/ 8 h 8"/>
                    <a:gd name="T32" fmla="*/ 0 w 7"/>
                    <a:gd name="T33" fmla="*/ 8 h 8"/>
                    <a:gd name="T34" fmla="*/ 0 w 7"/>
                    <a:gd name="T35" fmla="*/ 8 h 8"/>
                    <a:gd name="T36" fmla="*/ 3 w 7"/>
                    <a:gd name="T37" fmla="*/ 8 h 8"/>
                    <a:gd name="T38" fmla="*/ 7 w 7"/>
                    <a:gd name="T39" fmla="*/ 8 h 8"/>
                    <a:gd name="T40" fmla="*/ 7 w 7"/>
                    <a:gd name="T41" fmla="*/ 8 h 8"/>
                    <a:gd name="T42" fmla="*/ 7 w 7"/>
                    <a:gd name="T43" fmla="*/ 4 h 8"/>
                    <a:gd name="T44" fmla="*/ 7 w 7"/>
                    <a:gd name="T45" fmla="*/ 2 h 8"/>
                    <a:gd name="T46" fmla="*/ 7 w 7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7" name="Freeform 3262"/>
                <p:cNvSpPr>
                  <a:spLocks/>
                </p:cNvSpPr>
                <p:nvPr/>
              </p:nvSpPr>
              <p:spPr bwMode="auto">
                <a:xfrm>
                  <a:off x="5694" y="2170"/>
                  <a:ext cx="3" cy="4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0 h 4"/>
                    <a:gd name="T4" fmla="*/ 1 w 3"/>
                    <a:gd name="T5" fmla="*/ 0 h 4"/>
                    <a:gd name="T6" fmla="*/ 3 w 3"/>
                    <a:gd name="T7" fmla="*/ 0 h 4"/>
                    <a:gd name="T8" fmla="*/ 3 w 3"/>
                    <a:gd name="T9" fmla="*/ 2 h 4"/>
                    <a:gd name="T10" fmla="*/ 3 w 3"/>
                    <a:gd name="T11" fmla="*/ 4 h 4"/>
                    <a:gd name="T12" fmla="*/ 1 w 3"/>
                    <a:gd name="T13" fmla="*/ 4 h 4"/>
                    <a:gd name="T14" fmla="*/ 0 w 3"/>
                    <a:gd name="T15" fmla="*/ 4 h 4"/>
                    <a:gd name="T16" fmla="*/ 0 w 3"/>
                    <a:gd name="T17" fmla="*/ 2 h 4"/>
                    <a:gd name="T18" fmla="*/ 0 w 3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8" name="Freeform 3263"/>
                <p:cNvSpPr>
                  <a:spLocks/>
                </p:cNvSpPr>
                <p:nvPr/>
              </p:nvSpPr>
              <p:spPr bwMode="auto">
                <a:xfrm>
                  <a:off x="5692" y="2168"/>
                  <a:ext cx="7" cy="8"/>
                </a:xfrm>
                <a:custGeom>
                  <a:avLst/>
                  <a:gdLst>
                    <a:gd name="T0" fmla="*/ 7 w 7"/>
                    <a:gd name="T1" fmla="*/ 0 h 8"/>
                    <a:gd name="T2" fmla="*/ 3 w 7"/>
                    <a:gd name="T3" fmla="*/ 0 h 8"/>
                    <a:gd name="T4" fmla="*/ 0 w 7"/>
                    <a:gd name="T5" fmla="*/ 0 h 8"/>
                    <a:gd name="T6" fmla="*/ 0 w 7"/>
                    <a:gd name="T7" fmla="*/ 0 h 8"/>
                    <a:gd name="T8" fmla="*/ 0 w 7"/>
                    <a:gd name="T9" fmla="*/ 4 h 8"/>
                    <a:gd name="T10" fmla="*/ 0 w 7"/>
                    <a:gd name="T11" fmla="*/ 8 h 8"/>
                    <a:gd name="T12" fmla="*/ 0 w 7"/>
                    <a:gd name="T13" fmla="*/ 8 h 8"/>
                    <a:gd name="T14" fmla="*/ 0 w 7"/>
                    <a:gd name="T15" fmla="*/ 8 h 8"/>
                    <a:gd name="T16" fmla="*/ 3 w 7"/>
                    <a:gd name="T17" fmla="*/ 8 h 8"/>
                    <a:gd name="T18" fmla="*/ 7 w 7"/>
                    <a:gd name="T19" fmla="*/ 8 h 8"/>
                    <a:gd name="T20" fmla="*/ 7 w 7"/>
                    <a:gd name="T21" fmla="*/ 8 h 8"/>
                    <a:gd name="T22" fmla="*/ 7 w 7"/>
                    <a:gd name="T23" fmla="*/ 4 h 8"/>
                    <a:gd name="T24" fmla="*/ 7 w 7"/>
                    <a:gd name="T25" fmla="*/ 2 h 8"/>
                    <a:gd name="T26" fmla="*/ 7 w 7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8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49" name="Rectangle 3264"/>
                <p:cNvSpPr>
                  <a:spLocks noChangeArrowheads="1"/>
                </p:cNvSpPr>
                <p:nvPr/>
              </p:nvSpPr>
              <p:spPr bwMode="auto">
                <a:xfrm>
                  <a:off x="5719" y="222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0" name="Rectangle 3265"/>
                <p:cNvSpPr>
                  <a:spLocks noChangeArrowheads="1"/>
                </p:cNvSpPr>
                <p:nvPr/>
              </p:nvSpPr>
              <p:spPr bwMode="auto">
                <a:xfrm>
                  <a:off x="5719" y="2224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1" name="Freeform 3266"/>
                <p:cNvSpPr>
                  <a:spLocks noEditPoints="1"/>
                </p:cNvSpPr>
                <p:nvPr/>
              </p:nvSpPr>
              <p:spPr bwMode="auto">
                <a:xfrm>
                  <a:off x="5719" y="2218"/>
                  <a:ext cx="8" cy="6"/>
                </a:xfrm>
                <a:custGeom>
                  <a:avLst/>
                  <a:gdLst>
                    <a:gd name="T0" fmla="*/ 2 w 8"/>
                    <a:gd name="T1" fmla="*/ 2 h 6"/>
                    <a:gd name="T2" fmla="*/ 2 w 8"/>
                    <a:gd name="T3" fmla="*/ 2 h 6"/>
                    <a:gd name="T4" fmla="*/ 4 w 8"/>
                    <a:gd name="T5" fmla="*/ 2 h 6"/>
                    <a:gd name="T6" fmla="*/ 6 w 8"/>
                    <a:gd name="T7" fmla="*/ 2 h 6"/>
                    <a:gd name="T8" fmla="*/ 6 w 8"/>
                    <a:gd name="T9" fmla="*/ 4 h 6"/>
                    <a:gd name="T10" fmla="*/ 6 w 8"/>
                    <a:gd name="T11" fmla="*/ 6 h 6"/>
                    <a:gd name="T12" fmla="*/ 4 w 8"/>
                    <a:gd name="T13" fmla="*/ 6 h 6"/>
                    <a:gd name="T14" fmla="*/ 2 w 8"/>
                    <a:gd name="T15" fmla="*/ 6 h 6"/>
                    <a:gd name="T16" fmla="*/ 2 w 8"/>
                    <a:gd name="T17" fmla="*/ 4 h 6"/>
                    <a:gd name="T18" fmla="*/ 2 w 8"/>
                    <a:gd name="T19" fmla="*/ 2 h 6"/>
                    <a:gd name="T20" fmla="*/ 8 w 8"/>
                    <a:gd name="T21" fmla="*/ 0 h 6"/>
                    <a:gd name="T22" fmla="*/ 4 w 8"/>
                    <a:gd name="T23" fmla="*/ 0 h 6"/>
                    <a:gd name="T24" fmla="*/ 0 w 8"/>
                    <a:gd name="T25" fmla="*/ 0 h 6"/>
                    <a:gd name="T26" fmla="*/ 0 w 8"/>
                    <a:gd name="T27" fmla="*/ 0 h 6"/>
                    <a:gd name="T28" fmla="*/ 0 w 8"/>
                    <a:gd name="T29" fmla="*/ 4 h 6"/>
                    <a:gd name="T30" fmla="*/ 0 w 8"/>
                    <a:gd name="T31" fmla="*/ 6 h 6"/>
                    <a:gd name="T32" fmla="*/ 0 w 8"/>
                    <a:gd name="T33" fmla="*/ 6 h 6"/>
                    <a:gd name="T34" fmla="*/ 0 w 8"/>
                    <a:gd name="T35" fmla="*/ 6 h 6"/>
                    <a:gd name="T36" fmla="*/ 4 w 8"/>
                    <a:gd name="T37" fmla="*/ 6 h 6"/>
                    <a:gd name="T38" fmla="*/ 6 w 8"/>
                    <a:gd name="T39" fmla="*/ 6 h 6"/>
                    <a:gd name="T40" fmla="*/ 8 w 8"/>
                    <a:gd name="T41" fmla="*/ 6 h 6"/>
                    <a:gd name="T42" fmla="*/ 8 w 8"/>
                    <a:gd name="T43" fmla="*/ 4 h 6"/>
                    <a:gd name="T44" fmla="*/ 8 w 8"/>
                    <a:gd name="T45" fmla="*/ 0 h 6"/>
                    <a:gd name="T46" fmla="*/ 8 w 8"/>
                    <a:gd name="T4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" h="6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2" name="Freeform 3267"/>
                <p:cNvSpPr>
                  <a:spLocks/>
                </p:cNvSpPr>
                <p:nvPr/>
              </p:nvSpPr>
              <p:spPr bwMode="auto">
                <a:xfrm>
                  <a:off x="5721" y="2220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3" name="Freeform 3268"/>
                <p:cNvSpPr>
                  <a:spLocks/>
                </p:cNvSpPr>
                <p:nvPr/>
              </p:nvSpPr>
              <p:spPr bwMode="auto">
                <a:xfrm>
                  <a:off x="5719" y="2218"/>
                  <a:ext cx="8" cy="6"/>
                </a:xfrm>
                <a:custGeom>
                  <a:avLst/>
                  <a:gdLst>
                    <a:gd name="T0" fmla="*/ 8 w 8"/>
                    <a:gd name="T1" fmla="*/ 0 h 6"/>
                    <a:gd name="T2" fmla="*/ 4 w 8"/>
                    <a:gd name="T3" fmla="*/ 0 h 6"/>
                    <a:gd name="T4" fmla="*/ 0 w 8"/>
                    <a:gd name="T5" fmla="*/ 0 h 6"/>
                    <a:gd name="T6" fmla="*/ 0 w 8"/>
                    <a:gd name="T7" fmla="*/ 0 h 6"/>
                    <a:gd name="T8" fmla="*/ 0 w 8"/>
                    <a:gd name="T9" fmla="*/ 4 h 6"/>
                    <a:gd name="T10" fmla="*/ 0 w 8"/>
                    <a:gd name="T11" fmla="*/ 6 h 6"/>
                    <a:gd name="T12" fmla="*/ 0 w 8"/>
                    <a:gd name="T13" fmla="*/ 6 h 6"/>
                    <a:gd name="T14" fmla="*/ 0 w 8"/>
                    <a:gd name="T15" fmla="*/ 6 h 6"/>
                    <a:gd name="T16" fmla="*/ 4 w 8"/>
                    <a:gd name="T17" fmla="*/ 6 h 6"/>
                    <a:gd name="T18" fmla="*/ 6 w 8"/>
                    <a:gd name="T19" fmla="*/ 6 h 6"/>
                    <a:gd name="T20" fmla="*/ 8 w 8"/>
                    <a:gd name="T21" fmla="*/ 6 h 6"/>
                    <a:gd name="T22" fmla="*/ 8 w 8"/>
                    <a:gd name="T23" fmla="*/ 4 h 6"/>
                    <a:gd name="T24" fmla="*/ 8 w 8"/>
                    <a:gd name="T25" fmla="*/ 0 h 6"/>
                    <a:gd name="T26" fmla="*/ 8 w 8"/>
                    <a:gd name="T2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6"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4" name="Rectangle 3269"/>
                <p:cNvSpPr>
                  <a:spLocks noChangeArrowheads="1"/>
                </p:cNvSpPr>
                <p:nvPr/>
              </p:nvSpPr>
              <p:spPr bwMode="auto">
                <a:xfrm>
                  <a:off x="5730" y="2240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5" name="Rectangle 3270"/>
                <p:cNvSpPr>
                  <a:spLocks noChangeArrowheads="1"/>
                </p:cNvSpPr>
                <p:nvPr/>
              </p:nvSpPr>
              <p:spPr bwMode="auto">
                <a:xfrm>
                  <a:off x="5730" y="2240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6" name="Freeform 3271"/>
                <p:cNvSpPr>
                  <a:spLocks noEditPoints="1"/>
                </p:cNvSpPr>
                <p:nvPr/>
              </p:nvSpPr>
              <p:spPr bwMode="auto">
                <a:xfrm>
                  <a:off x="5730" y="2235"/>
                  <a:ext cx="8" cy="5"/>
                </a:xfrm>
                <a:custGeom>
                  <a:avLst/>
                  <a:gdLst>
                    <a:gd name="T0" fmla="*/ 2 w 8"/>
                    <a:gd name="T1" fmla="*/ 0 h 5"/>
                    <a:gd name="T2" fmla="*/ 2 w 8"/>
                    <a:gd name="T3" fmla="*/ 0 h 5"/>
                    <a:gd name="T4" fmla="*/ 4 w 8"/>
                    <a:gd name="T5" fmla="*/ 0 h 5"/>
                    <a:gd name="T6" fmla="*/ 6 w 8"/>
                    <a:gd name="T7" fmla="*/ 0 h 5"/>
                    <a:gd name="T8" fmla="*/ 6 w 8"/>
                    <a:gd name="T9" fmla="*/ 2 h 5"/>
                    <a:gd name="T10" fmla="*/ 6 w 8"/>
                    <a:gd name="T11" fmla="*/ 4 h 5"/>
                    <a:gd name="T12" fmla="*/ 4 w 8"/>
                    <a:gd name="T13" fmla="*/ 4 h 5"/>
                    <a:gd name="T14" fmla="*/ 2 w 8"/>
                    <a:gd name="T15" fmla="*/ 4 h 5"/>
                    <a:gd name="T16" fmla="*/ 2 w 8"/>
                    <a:gd name="T17" fmla="*/ 2 h 5"/>
                    <a:gd name="T18" fmla="*/ 2 w 8"/>
                    <a:gd name="T19" fmla="*/ 0 h 5"/>
                    <a:gd name="T20" fmla="*/ 8 w 8"/>
                    <a:gd name="T21" fmla="*/ 0 h 5"/>
                    <a:gd name="T22" fmla="*/ 4 w 8"/>
                    <a:gd name="T23" fmla="*/ 0 h 5"/>
                    <a:gd name="T24" fmla="*/ 0 w 8"/>
                    <a:gd name="T25" fmla="*/ 0 h 5"/>
                    <a:gd name="T26" fmla="*/ 0 w 8"/>
                    <a:gd name="T27" fmla="*/ 0 h 5"/>
                    <a:gd name="T28" fmla="*/ 0 w 8"/>
                    <a:gd name="T29" fmla="*/ 2 h 5"/>
                    <a:gd name="T30" fmla="*/ 0 w 8"/>
                    <a:gd name="T31" fmla="*/ 5 h 5"/>
                    <a:gd name="T32" fmla="*/ 0 w 8"/>
                    <a:gd name="T33" fmla="*/ 5 h 5"/>
                    <a:gd name="T34" fmla="*/ 0 w 8"/>
                    <a:gd name="T35" fmla="*/ 5 h 5"/>
                    <a:gd name="T36" fmla="*/ 4 w 8"/>
                    <a:gd name="T37" fmla="*/ 5 h 5"/>
                    <a:gd name="T38" fmla="*/ 8 w 8"/>
                    <a:gd name="T39" fmla="*/ 5 h 5"/>
                    <a:gd name="T40" fmla="*/ 8 w 8"/>
                    <a:gd name="T41" fmla="*/ 5 h 5"/>
                    <a:gd name="T42" fmla="*/ 8 w 8"/>
                    <a:gd name="T43" fmla="*/ 2 h 5"/>
                    <a:gd name="T44" fmla="*/ 8 w 8"/>
                    <a:gd name="T45" fmla="*/ 0 h 5"/>
                    <a:gd name="T46" fmla="*/ 8 w 8"/>
                    <a:gd name="T4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" h="5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0"/>
                      </a:lnTo>
                      <a:close/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8" y="5"/>
                      </a:lnTo>
                      <a:lnTo>
                        <a:pt x="8" y="5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7" name="Freeform 3272"/>
                <p:cNvSpPr>
                  <a:spLocks/>
                </p:cNvSpPr>
                <p:nvPr/>
              </p:nvSpPr>
              <p:spPr bwMode="auto">
                <a:xfrm>
                  <a:off x="5732" y="2235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8" name="Freeform 3273"/>
                <p:cNvSpPr>
                  <a:spLocks/>
                </p:cNvSpPr>
                <p:nvPr/>
              </p:nvSpPr>
              <p:spPr bwMode="auto">
                <a:xfrm>
                  <a:off x="5730" y="2235"/>
                  <a:ext cx="8" cy="5"/>
                </a:xfrm>
                <a:custGeom>
                  <a:avLst/>
                  <a:gdLst>
                    <a:gd name="T0" fmla="*/ 8 w 8"/>
                    <a:gd name="T1" fmla="*/ 0 h 5"/>
                    <a:gd name="T2" fmla="*/ 4 w 8"/>
                    <a:gd name="T3" fmla="*/ 0 h 5"/>
                    <a:gd name="T4" fmla="*/ 0 w 8"/>
                    <a:gd name="T5" fmla="*/ 0 h 5"/>
                    <a:gd name="T6" fmla="*/ 0 w 8"/>
                    <a:gd name="T7" fmla="*/ 0 h 5"/>
                    <a:gd name="T8" fmla="*/ 0 w 8"/>
                    <a:gd name="T9" fmla="*/ 2 h 5"/>
                    <a:gd name="T10" fmla="*/ 0 w 8"/>
                    <a:gd name="T11" fmla="*/ 5 h 5"/>
                    <a:gd name="T12" fmla="*/ 0 w 8"/>
                    <a:gd name="T13" fmla="*/ 5 h 5"/>
                    <a:gd name="T14" fmla="*/ 0 w 8"/>
                    <a:gd name="T15" fmla="*/ 5 h 5"/>
                    <a:gd name="T16" fmla="*/ 4 w 8"/>
                    <a:gd name="T17" fmla="*/ 5 h 5"/>
                    <a:gd name="T18" fmla="*/ 8 w 8"/>
                    <a:gd name="T19" fmla="*/ 5 h 5"/>
                    <a:gd name="T20" fmla="*/ 8 w 8"/>
                    <a:gd name="T21" fmla="*/ 5 h 5"/>
                    <a:gd name="T22" fmla="*/ 8 w 8"/>
                    <a:gd name="T23" fmla="*/ 2 h 5"/>
                    <a:gd name="T24" fmla="*/ 8 w 8"/>
                    <a:gd name="T25" fmla="*/ 0 h 5"/>
                    <a:gd name="T26" fmla="*/ 8 w 8"/>
                    <a:gd name="T2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5">
                      <a:moveTo>
                        <a:pt x="8" y="0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8" y="5"/>
                      </a:lnTo>
                      <a:lnTo>
                        <a:pt x="8" y="5"/>
                      </a:lnTo>
                      <a:lnTo>
                        <a:pt x="8" y="2"/>
                      </a:lnTo>
                      <a:lnTo>
                        <a:pt x="8" y="0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59" name="Freeform 3274"/>
                <p:cNvSpPr>
                  <a:spLocks/>
                </p:cNvSpPr>
                <p:nvPr/>
              </p:nvSpPr>
              <p:spPr bwMode="auto">
                <a:xfrm>
                  <a:off x="5742" y="2255"/>
                  <a:ext cx="11" cy="13"/>
                </a:xfrm>
                <a:custGeom>
                  <a:avLst/>
                  <a:gdLst>
                    <a:gd name="T0" fmla="*/ 3 w 11"/>
                    <a:gd name="T1" fmla="*/ 0 h 13"/>
                    <a:gd name="T2" fmla="*/ 1 w 11"/>
                    <a:gd name="T3" fmla="*/ 8 h 13"/>
                    <a:gd name="T4" fmla="*/ 0 w 11"/>
                    <a:gd name="T5" fmla="*/ 11 h 13"/>
                    <a:gd name="T6" fmla="*/ 0 w 11"/>
                    <a:gd name="T7" fmla="*/ 13 h 13"/>
                    <a:gd name="T8" fmla="*/ 1 w 11"/>
                    <a:gd name="T9" fmla="*/ 13 h 13"/>
                    <a:gd name="T10" fmla="*/ 1 w 11"/>
                    <a:gd name="T11" fmla="*/ 13 h 13"/>
                    <a:gd name="T12" fmla="*/ 0 w 11"/>
                    <a:gd name="T13" fmla="*/ 11 h 13"/>
                    <a:gd name="T14" fmla="*/ 1 w 11"/>
                    <a:gd name="T15" fmla="*/ 8 h 13"/>
                    <a:gd name="T16" fmla="*/ 3 w 11"/>
                    <a:gd name="T17" fmla="*/ 0 h 13"/>
                    <a:gd name="T18" fmla="*/ 3 w 11"/>
                    <a:gd name="T19" fmla="*/ 0 h 13"/>
                    <a:gd name="T20" fmla="*/ 7 w 11"/>
                    <a:gd name="T21" fmla="*/ 4 h 13"/>
                    <a:gd name="T22" fmla="*/ 11 w 11"/>
                    <a:gd name="T23" fmla="*/ 8 h 13"/>
                    <a:gd name="T24" fmla="*/ 7 w 11"/>
                    <a:gd name="T25" fmla="*/ 4 h 13"/>
                    <a:gd name="T26" fmla="*/ 3 w 11"/>
                    <a:gd name="T27" fmla="*/ 0 h 13"/>
                    <a:gd name="T28" fmla="*/ 3 w 11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3" y="0"/>
                      </a:move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1" y="8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7" y="4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0" name="Freeform 3275"/>
                <p:cNvSpPr>
                  <a:spLocks/>
                </p:cNvSpPr>
                <p:nvPr/>
              </p:nvSpPr>
              <p:spPr bwMode="auto">
                <a:xfrm>
                  <a:off x="5742" y="2255"/>
                  <a:ext cx="11" cy="13"/>
                </a:xfrm>
                <a:custGeom>
                  <a:avLst/>
                  <a:gdLst>
                    <a:gd name="T0" fmla="*/ 3 w 11"/>
                    <a:gd name="T1" fmla="*/ 0 h 13"/>
                    <a:gd name="T2" fmla="*/ 1 w 11"/>
                    <a:gd name="T3" fmla="*/ 8 h 13"/>
                    <a:gd name="T4" fmla="*/ 0 w 11"/>
                    <a:gd name="T5" fmla="*/ 11 h 13"/>
                    <a:gd name="T6" fmla="*/ 0 w 11"/>
                    <a:gd name="T7" fmla="*/ 13 h 13"/>
                    <a:gd name="T8" fmla="*/ 1 w 11"/>
                    <a:gd name="T9" fmla="*/ 13 h 13"/>
                    <a:gd name="T10" fmla="*/ 1 w 11"/>
                    <a:gd name="T11" fmla="*/ 13 h 13"/>
                    <a:gd name="T12" fmla="*/ 0 w 11"/>
                    <a:gd name="T13" fmla="*/ 11 h 13"/>
                    <a:gd name="T14" fmla="*/ 1 w 11"/>
                    <a:gd name="T15" fmla="*/ 8 h 13"/>
                    <a:gd name="T16" fmla="*/ 3 w 11"/>
                    <a:gd name="T17" fmla="*/ 0 h 13"/>
                    <a:gd name="T18" fmla="*/ 3 w 11"/>
                    <a:gd name="T19" fmla="*/ 0 h 13"/>
                    <a:gd name="T20" fmla="*/ 7 w 11"/>
                    <a:gd name="T21" fmla="*/ 4 h 13"/>
                    <a:gd name="T22" fmla="*/ 11 w 11"/>
                    <a:gd name="T23" fmla="*/ 8 h 13"/>
                    <a:gd name="T24" fmla="*/ 7 w 11"/>
                    <a:gd name="T25" fmla="*/ 4 h 13"/>
                    <a:gd name="T26" fmla="*/ 3 w 11"/>
                    <a:gd name="T27" fmla="*/ 0 h 13"/>
                    <a:gd name="T28" fmla="*/ 3 w 11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3" y="0"/>
                      </a:move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1" y="8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7" y="4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3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1" name="Freeform 3276"/>
                <p:cNvSpPr>
                  <a:spLocks noEditPoints="1"/>
                </p:cNvSpPr>
                <p:nvPr/>
              </p:nvSpPr>
              <p:spPr bwMode="auto">
                <a:xfrm>
                  <a:off x="5742" y="2255"/>
                  <a:ext cx="11" cy="13"/>
                </a:xfrm>
                <a:custGeom>
                  <a:avLst/>
                  <a:gdLst>
                    <a:gd name="T0" fmla="*/ 1 w 11"/>
                    <a:gd name="T1" fmla="*/ 11 h 13"/>
                    <a:gd name="T2" fmla="*/ 3 w 11"/>
                    <a:gd name="T3" fmla="*/ 8 h 13"/>
                    <a:gd name="T4" fmla="*/ 3 w 11"/>
                    <a:gd name="T5" fmla="*/ 2 h 13"/>
                    <a:gd name="T6" fmla="*/ 5 w 11"/>
                    <a:gd name="T7" fmla="*/ 6 h 13"/>
                    <a:gd name="T8" fmla="*/ 9 w 11"/>
                    <a:gd name="T9" fmla="*/ 8 h 13"/>
                    <a:gd name="T10" fmla="*/ 5 w 11"/>
                    <a:gd name="T11" fmla="*/ 9 h 13"/>
                    <a:gd name="T12" fmla="*/ 1 w 11"/>
                    <a:gd name="T13" fmla="*/ 11 h 13"/>
                    <a:gd name="T14" fmla="*/ 3 w 11"/>
                    <a:gd name="T15" fmla="*/ 0 h 13"/>
                    <a:gd name="T16" fmla="*/ 1 w 11"/>
                    <a:gd name="T17" fmla="*/ 8 h 13"/>
                    <a:gd name="T18" fmla="*/ 0 w 11"/>
                    <a:gd name="T19" fmla="*/ 11 h 13"/>
                    <a:gd name="T20" fmla="*/ 1 w 11"/>
                    <a:gd name="T21" fmla="*/ 13 h 13"/>
                    <a:gd name="T22" fmla="*/ 1 w 11"/>
                    <a:gd name="T23" fmla="*/ 13 h 13"/>
                    <a:gd name="T24" fmla="*/ 5 w 11"/>
                    <a:gd name="T25" fmla="*/ 11 h 13"/>
                    <a:gd name="T26" fmla="*/ 11 w 11"/>
                    <a:gd name="T27" fmla="*/ 9 h 13"/>
                    <a:gd name="T28" fmla="*/ 11 w 11"/>
                    <a:gd name="T29" fmla="*/ 8 h 13"/>
                    <a:gd name="T30" fmla="*/ 7 w 11"/>
                    <a:gd name="T31" fmla="*/ 4 h 13"/>
                    <a:gd name="T32" fmla="*/ 3 w 11"/>
                    <a:gd name="T33" fmla="*/ 0 h 13"/>
                    <a:gd name="T34" fmla="*/ 3 w 11"/>
                    <a:gd name="T35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13">
                      <a:moveTo>
                        <a:pt x="1" y="11"/>
                      </a:moveTo>
                      <a:lnTo>
                        <a:pt x="3" y="8"/>
                      </a:lnTo>
                      <a:lnTo>
                        <a:pt x="3" y="2"/>
                      </a:lnTo>
                      <a:lnTo>
                        <a:pt x="5" y="6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1" y="11"/>
                      </a:lnTo>
                      <a:close/>
                      <a:moveTo>
                        <a:pt x="3" y="0"/>
                      </a:move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2" name="Freeform 3277"/>
                <p:cNvSpPr>
                  <a:spLocks/>
                </p:cNvSpPr>
                <p:nvPr/>
              </p:nvSpPr>
              <p:spPr bwMode="auto">
                <a:xfrm>
                  <a:off x="5743" y="2257"/>
                  <a:ext cx="8" cy="9"/>
                </a:xfrm>
                <a:custGeom>
                  <a:avLst/>
                  <a:gdLst>
                    <a:gd name="T0" fmla="*/ 0 w 8"/>
                    <a:gd name="T1" fmla="*/ 9 h 9"/>
                    <a:gd name="T2" fmla="*/ 2 w 8"/>
                    <a:gd name="T3" fmla="*/ 6 h 9"/>
                    <a:gd name="T4" fmla="*/ 2 w 8"/>
                    <a:gd name="T5" fmla="*/ 0 h 9"/>
                    <a:gd name="T6" fmla="*/ 4 w 8"/>
                    <a:gd name="T7" fmla="*/ 4 h 9"/>
                    <a:gd name="T8" fmla="*/ 8 w 8"/>
                    <a:gd name="T9" fmla="*/ 6 h 9"/>
                    <a:gd name="T10" fmla="*/ 4 w 8"/>
                    <a:gd name="T11" fmla="*/ 7 h 9"/>
                    <a:gd name="T12" fmla="*/ 0 w 8"/>
                    <a:gd name="T1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9">
                      <a:moveTo>
                        <a:pt x="0" y="9"/>
                      </a:moveTo>
                      <a:lnTo>
                        <a:pt x="2" y="6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7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3" name="Freeform 3278"/>
                <p:cNvSpPr>
                  <a:spLocks/>
                </p:cNvSpPr>
                <p:nvPr/>
              </p:nvSpPr>
              <p:spPr bwMode="auto">
                <a:xfrm>
                  <a:off x="5742" y="2255"/>
                  <a:ext cx="11" cy="13"/>
                </a:xfrm>
                <a:custGeom>
                  <a:avLst/>
                  <a:gdLst>
                    <a:gd name="T0" fmla="*/ 3 w 11"/>
                    <a:gd name="T1" fmla="*/ 0 h 13"/>
                    <a:gd name="T2" fmla="*/ 1 w 11"/>
                    <a:gd name="T3" fmla="*/ 8 h 13"/>
                    <a:gd name="T4" fmla="*/ 0 w 11"/>
                    <a:gd name="T5" fmla="*/ 11 h 13"/>
                    <a:gd name="T6" fmla="*/ 1 w 11"/>
                    <a:gd name="T7" fmla="*/ 13 h 13"/>
                    <a:gd name="T8" fmla="*/ 1 w 11"/>
                    <a:gd name="T9" fmla="*/ 13 h 13"/>
                    <a:gd name="T10" fmla="*/ 5 w 11"/>
                    <a:gd name="T11" fmla="*/ 11 h 13"/>
                    <a:gd name="T12" fmla="*/ 11 w 11"/>
                    <a:gd name="T13" fmla="*/ 9 h 13"/>
                    <a:gd name="T14" fmla="*/ 11 w 11"/>
                    <a:gd name="T15" fmla="*/ 8 h 13"/>
                    <a:gd name="T16" fmla="*/ 7 w 11"/>
                    <a:gd name="T17" fmla="*/ 4 h 13"/>
                    <a:gd name="T18" fmla="*/ 3 w 11"/>
                    <a:gd name="T19" fmla="*/ 0 h 13"/>
                    <a:gd name="T20" fmla="*/ 3 w 11"/>
                    <a:gd name="T2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3">
                      <a:moveTo>
                        <a:pt x="3" y="0"/>
                      </a:move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5" y="11"/>
                      </a:lnTo>
                      <a:lnTo>
                        <a:pt x="11" y="9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3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4" name="Rectangle 3279"/>
                <p:cNvSpPr>
                  <a:spLocks noChangeArrowheads="1"/>
                </p:cNvSpPr>
                <p:nvPr/>
              </p:nvSpPr>
              <p:spPr bwMode="auto">
                <a:xfrm>
                  <a:off x="5747" y="2305"/>
                  <a:ext cx="2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5" name="Rectangle 3280"/>
                <p:cNvSpPr>
                  <a:spLocks noChangeArrowheads="1"/>
                </p:cNvSpPr>
                <p:nvPr/>
              </p:nvSpPr>
              <p:spPr bwMode="auto">
                <a:xfrm>
                  <a:off x="5747" y="2305"/>
                  <a:ext cx="2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6" name="Freeform 3281"/>
                <p:cNvSpPr>
                  <a:spLocks noEditPoints="1"/>
                </p:cNvSpPr>
                <p:nvPr/>
              </p:nvSpPr>
              <p:spPr bwMode="auto">
                <a:xfrm>
                  <a:off x="5747" y="2299"/>
                  <a:ext cx="7" cy="8"/>
                </a:xfrm>
                <a:custGeom>
                  <a:avLst/>
                  <a:gdLst>
                    <a:gd name="T0" fmla="*/ 2 w 7"/>
                    <a:gd name="T1" fmla="*/ 2 h 8"/>
                    <a:gd name="T2" fmla="*/ 2 w 7"/>
                    <a:gd name="T3" fmla="*/ 2 h 8"/>
                    <a:gd name="T4" fmla="*/ 4 w 7"/>
                    <a:gd name="T5" fmla="*/ 2 h 8"/>
                    <a:gd name="T6" fmla="*/ 6 w 7"/>
                    <a:gd name="T7" fmla="*/ 2 h 8"/>
                    <a:gd name="T8" fmla="*/ 6 w 7"/>
                    <a:gd name="T9" fmla="*/ 4 h 8"/>
                    <a:gd name="T10" fmla="*/ 6 w 7"/>
                    <a:gd name="T11" fmla="*/ 6 h 8"/>
                    <a:gd name="T12" fmla="*/ 4 w 7"/>
                    <a:gd name="T13" fmla="*/ 6 h 8"/>
                    <a:gd name="T14" fmla="*/ 2 w 7"/>
                    <a:gd name="T15" fmla="*/ 6 h 8"/>
                    <a:gd name="T16" fmla="*/ 2 w 7"/>
                    <a:gd name="T17" fmla="*/ 4 h 8"/>
                    <a:gd name="T18" fmla="*/ 2 w 7"/>
                    <a:gd name="T19" fmla="*/ 2 h 8"/>
                    <a:gd name="T20" fmla="*/ 7 w 7"/>
                    <a:gd name="T21" fmla="*/ 0 h 8"/>
                    <a:gd name="T22" fmla="*/ 4 w 7"/>
                    <a:gd name="T23" fmla="*/ 0 h 8"/>
                    <a:gd name="T24" fmla="*/ 2 w 7"/>
                    <a:gd name="T25" fmla="*/ 0 h 8"/>
                    <a:gd name="T26" fmla="*/ 0 w 7"/>
                    <a:gd name="T27" fmla="*/ 0 h 8"/>
                    <a:gd name="T28" fmla="*/ 0 w 7"/>
                    <a:gd name="T29" fmla="*/ 4 h 8"/>
                    <a:gd name="T30" fmla="*/ 0 w 7"/>
                    <a:gd name="T31" fmla="*/ 6 h 8"/>
                    <a:gd name="T32" fmla="*/ 2 w 7"/>
                    <a:gd name="T33" fmla="*/ 6 h 8"/>
                    <a:gd name="T34" fmla="*/ 2 w 7"/>
                    <a:gd name="T35" fmla="*/ 8 h 8"/>
                    <a:gd name="T36" fmla="*/ 4 w 7"/>
                    <a:gd name="T37" fmla="*/ 8 h 8"/>
                    <a:gd name="T38" fmla="*/ 7 w 7"/>
                    <a:gd name="T39" fmla="*/ 8 h 8"/>
                    <a:gd name="T40" fmla="*/ 7 w 7"/>
                    <a:gd name="T41" fmla="*/ 8 h 8"/>
                    <a:gd name="T42" fmla="*/ 7 w 7"/>
                    <a:gd name="T43" fmla="*/ 4 h 8"/>
                    <a:gd name="T44" fmla="*/ 7 w 7"/>
                    <a:gd name="T45" fmla="*/ 0 h 8"/>
                    <a:gd name="T46" fmla="*/ 7 w 7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7" name="Freeform 3282"/>
                <p:cNvSpPr>
                  <a:spLocks/>
                </p:cNvSpPr>
                <p:nvPr/>
              </p:nvSpPr>
              <p:spPr bwMode="auto">
                <a:xfrm>
                  <a:off x="5749" y="2301"/>
                  <a:ext cx="4" cy="4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2 w 4"/>
                    <a:gd name="T5" fmla="*/ 0 h 4"/>
                    <a:gd name="T6" fmla="*/ 4 w 4"/>
                    <a:gd name="T7" fmla="*/ 0 h 4"/>
                    <a:gd name="T8" fmla="*/ 4 w 4"/>
                    <a:gd name="T9" fmla="*/ 2 h 4"/>
                    <a:gd name="T10" fmla="*/ 4 w 4"/>
                    <a:gd name="T11" fmla="*/ 4 h 4"/>
                    <a:gd name="T12" fmla="*/ 2 w 4"/>
                    <a:gd name="T13" fmla="*/ 4 h 4"/>
                    <a:gd name="T14" fmla="*/ 0 w 4"/>
                    <a:gd name="T15" fmla="*/ 4 h 4"/>
                    <a:gd name="T16" fmla="*/ 0 w 4"/>
                    <a:gd name="T17" fmla="*/ 2 h 4"/>
                    <a:gd name="T18" fmla="*/ 0 w 4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8" name="Freeform 3283"/>
                <p:cNvSpPr>
                  <a:spLocks/>
                </p:cNvSpPr>
                <p:nvPr/>
              </p:nvSpPr>
              <p:spPr bwMode="auto">
                <a:xfrm>
                  <a:off x="5747" y="2299"/>
                  <a:ext cx="7" cy="8"/>
                </a:xfrm>
                <a:custGeom>
                  <a:avLst/>
                  <a:gdLst>
                    <a:gd name="T0" fmla="*/ 7 w 7"/>
                    <a:gd name="T1" fmla="*/ 0 h 8"/>
                    <a:gd name="T2" fmla="*/ 4 w 7"/>
                    <a:gd name="T3" fmla="*/ 0 h 8"/>
                    <a:gd name="T4" fmla="*/ 2 w 7"/>
                    <a:gd name="T5" fmla="*/ 0 h 8"/>
                    <a:gd name="T6" fmla="*/ 0 w 7"/>
                    <a:gd name="T7" fmla="*/ 0 h 8"/>
                    <a:gd name="T8" fmla="*/ 0 w 7"/>
                    <a:gd name="T9" fmla="*/ 4 h 8"/>
                    <a:gd name="T10" fmla="*/ 0 w 7"/>
                    <a:gd name="T11" fmla="*/ 6 h 8"/>
                    <a:gd name="T12" fmla="*/ 2 w 7"/>
                    <a:gd name="T13" fmla="*/ 6 h 8"/>
                    <a:gd name="T14" fmla="*/ 2 w 7"/>
                    <a:gd name="T15" fmla="*/ 8 h 8"/>
                    <a:gd name="T16" fmla="*/ 4 w 7"/>
                    <a:gd name="T17" fmla="*/ 8 h 8"/>
                    <a:gd name="T18" fmla="*/ 7 w 7"/>
                    <a:gd name="T19" fmla="*/ 8 h 8"/>
                    <a:gd name="T20" fmla="*/ 7 w 7"/>
                    <a:gd name="T21" fmla="*/ 8 h 8"/>
                    <a:gd name="T22" fmla="*/ 7 w 7"/>
                    <a:gd name="T23" fmla="*/ 4 h 8"/>
                    <a:gd name="T24" fmla="*/ 7 w 7"/>
                    <a:gd name="T25" fmla="*/ 0 h 8"/>
                    <a:gd name="T26" fmla="*/ 7 w 7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8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69" name="Freeform 3284"/>
                <p:cNvSpPr>
                  <a:spLocks/>
                </p:cNvSpPr>
                <p:nvPr/>
              </p:nvSpPr>
              <p:spPr bwMode="auto">
                <a:xfrm>
                  <a:off x="5747" y="2322"/>
                  <a:ext cx="7" cy="9"/>
                </a:xfrm>
                <a:custGeom>
                  <a:avLst/>
                  <a:gdLst>
                    <a:gd name="T0" fmla="*/ 4 w 7"/>
                    <a:gd name="T1" fmla="*/ 0 h 9"/>
                    <a:gd name="T2" fmla="*/ 2 w 7"/>
                    <a:gd name="T3" fmla="*/ 0 h 9"/>
                    <a:gd name="T4" fmla="*/ 0 w 7"/>
                    <a:gd name="T5" fmla="*/ 0 h 9"/>
                    <a:gd name="T6" fmla="*/ 2 w 7"/>
                    <a:gd name="T7" fmla="*/ 0 h 9"/>
                    <a:gd name="T8" fmla="*/ 4 w 7"/>
                    <a:gd name="T9" fmla="*/ 0 h 9"/>
                    <a:gd name="T10" fmla="*/ 4 w 7"/>
                    <a:gd name="T11" fmla="*/ 0 h 9"/>
                    <a:gd name="T12" fmla="*/ 4 w 7"/>
                    <a:gd name="T13" fmla="*/ 0 h 9"/>
                    <a:gd name="T14" fmla="*/ 6 w 7"/>
                    <a:gd name="T15" fmla="*/ 0 h 9"/>
                    <a:gd name="T16" fmla="*/ 6 w 7"/>
                    <a:gd name="T17" fmla="*/ 0 h 9"/>
                    <a:gd name="T18" fmla="*/ 7 w 7"/>
                    <a:gd name="T19" fmla="*/ 0 h 9"/>
                    <a:gd name="T20" fmla="*/ 7 w 7"/>
                    <a:gd name="T21" fmla="*/ 0 h 9"/>
                    <a:gd name="T22" fmla="*/ 7 w 7"/>
                    <a:gd name="T23" fmla="*/ 1 h 9"/>
                    <a:gd name="T24" fmla="*/ 7 w 7"/>
                    <a:gd name="T25" fmla="*/ 1 h 9"/>
                    <a:gd name="T26" fmla="*/ 7 w 7"/>
                    <a:gd name="T27" fmla="*/ 3 h 9"/>
                    <a:gd name="T28" fmla="*/ 7 w 7"/>
                    <a:gd name="T29" fmla="*/ 5 h 9"/>
                    <a:gd name="T30" fmla="*/ 7 w 7"/>
                    <a:gd name="T31" fmla="*/ 5 h 9"/>
                    <a:gd name="T32" fmla="*/ 7 w 7"/>
                    <a:gd name="T33" fmla="*/ 9 h 9"/>
                    <a:gd name="T34" fmla="*/ 7 w 7"/>
                    <a:gd name="T35" fmla="*/ 9 h 9"/>
                    <a:gd name="T36" fmla="*/ 7 w 7"/>
                    <a:gd name="T37" fmla="*/ 9 h 9"/>
                    <a:gd name="T38" fmla="*/ 7 w 7"/>
                    <a:gd name="T39" fmla="*/ 9 h 9"/>
                    <a:gd name="T40" fmla="*/ 7 w 7"/>
                    <a:gd name="T41" fmla="*/ 9 h 9"/>
                    <a:gd name="T42" fmla="*/ 7 w 7"/>
                    <a:gd name="T43" fmla="*/ 5 h 9"/>
                    <a:gd name="T44" fmla="*/ 7 w 7"/>
                    <a:gd name="T45" fmla="*/ 5 h 9"/>
                    <a:gd name="T46" fmla="*/ 7 w 7"/>
                    <a:gd name="T47" fmla="*/ 3 h 9"/>
                    <a:gd name="T48" fmla="*/ 7 w 7"/>
                    <a:gd name="T49" fmla="*/ 1 h 9"/>
                    <a:gd name="T50" fmla="*/ 7 w 7"/>
                    <a:gd name="T51" fmla="*/ 1 h 9"/>
                    <a:gd name="T52" fmla="*/ 7 w 7"/>
                    <a:gd name="T53" fmla="*/ 0 h 9"/>
                    <a:gd name="T54" fmla="*/ 7 w 7"/>
                    <a:gd name="T55" fmla="*/ 0 h 9"/>
                    <a:gd name="T56" fmla="*/ 6 w 7"/>
                    <a:gd name="T57" fmla="*/ 0 h 9"/>
                    <a:gd name="T58" fmla="*/ 6 w 7"/>
                    <a:gd name="T59" fmla="*/ 0 h 9"/>
                    <a:gd name="T60" fmla="*/ 4 w 7"/>
                    <a:gd name="T61" fmla="*/ 0 h 9"/>
                    <a:gd name="T62" fmla="*/ 4 w 7"/>
                    <a:gd name="T63" fmla="*/ 0 h 9"/>
                    <a:gd name="T64" fmla="*/ 4 w 7"/>
                    <a:gd name="T6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" h="9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0" name="Freeform 3285"/>
                <p:cNvSpPr>
                  <a:spLocks/>
                </p:cNvSpPr>
                <p:nvPr/>
              </p:nvSpPr>
              <p:spPr bwMode="auto">
                <a:xfrm>
                  <a:off x="5747" y="2322"/>
                  <a:ext cx="7" cy="9"/>
                </a:xfrm>
                <a:custGeom>
                  <a:avLst/>
                  <a:gdLst>
                    <a:gd name="T0" fmla="*/ 4 w 7"/>
                    <a:gd name="T1" fmla="*/ 0 h 9"/>
                    <a:gd name="T2" fmla="*/ 2 w 7"/>
                    <a:gd name="T3" fmla="*/ 0 h 9"/>
                    <a:gd name="T4" fmla="*/ 0 w 7"/>
                    <a:gd name="T5" fmla="*/ 0 h 9"/>
                    <a:gd name="T6" fmla="*/ 2 w 7"/>
                    <a:gd name="T7" fmla="*/ 0 h 9"/>
                    <a:gd name="T8" fmla="*/ 4 w 7"/>
                    <a:gd name="T9" fmla="*/ 0 h 9"/>
                    <a:gd name="T10" fmla="*/ 4 w 7"/>
                    <a:gd name="T11" fmla="*/ 0 h 9"/>
                    <a:gd name="T12" fmla="*/ 4 w 7"/>
                    <a:gd name="T13" fmla="*/ 0 h 9"/>
                    <a:gd name="T14" fmla="*/ 6 w 7"/>
                    <a:gd name="T15" fmla="*/ 0 h 9"/>
                    <a:gd name="T16" fmla="*/ 6 w 7"/>
                    <a:gd name="T17" fmla="*/ 0 h 9"/>
                    <a:gd name="T18" fmla="*/ 7 w 7"/>
                    <a:gd name="T19" fmla="*/ 0 h 9"/>
                    <a:gd name="T20" fmla="*/ 7 w 7"/>
                    <a:gd name="T21" fmla="*/ 0 h 9"/>
                    <a:gd name="T22" fmla="*/ 7 w 7"/>
                    <a:gd name="T23" fmla="*/ 1 h 9"/>
                    <a:gd name="T24" fmla="*/ 7 w 7"/>
                    <a:gd name="T25" fmla="*/ 1 h 9"/>
                    <a:gd name="T26" fmla="*/ 7 w 7"/>
                    <a:gd name="T27" fmla="*/ 3 h 9"/>
                    <a:gd name="T28" fmla="*/ 7 w 7"/>
                    <a:gd name="T29" fmla="*/ 5 h 9"/>
                    <a:gd name="T30" fmla="*/ 7 w 7"/>
                    <a:gd name="T31" fmla="*/ 5 h 9"/>
                    <a:gd name="T32" fmla="*/ 7 w 7"/>
                    <a:gd name="T33" fmla="*/ 9 h 9"/>
                    <a:gd name="T34" fmla="*/ 7 w 7"/>
                    <a:gd name="T35" fmla="*/ 9 h 9"/>
                    <a:gd name="T36" fmla="*/ 7 w 7"/>
                    <a:gd name="T37" fmla="*/ 9 h 9"/>
                    <a:gd name="T38" fmla="*/ 7 w 7"/>
                    <a:gd name="T39" fmla="*/ 9 h 9"/>
                    <a:gd name="T40" fmla="*/ 7 w 7"/>
                    <a:gd name="T41" fmla="*/ 9 h 9"/>
                    <a:gd name="T42" fmla="*/ 7 w 7"/>
                    <a:gd name="T43" fmla="*/ 5 h 9"/>
                    <a:gd name="T44" fmla="*/ 7 w 7"/>
                    <a:gd name="T45" fmla="*/ 5 h 9"/>
                    <a:gd name="T46" fmla="*/ 7 w 7"/>
                    <a:gd name="T47" fmla="*/ 3 h 9"/>
                    <a:gd name="T48" fmla="*/ 7 w 7"/>
                    <a:gd name="T49" fmla="*/ 1 h 9"/>
                    <a:gd name="T50" fmla="*/ 7 w 7"/>
                    <a:gd name="T51" fmla="*/ 1 h 9"/>
                    <a:gd name="T52" fmla="*/ 7 w 7"/>
                    <a:gd name="T53" fmla="*/ 0 h 9"/>
                    <a:gd name="T54" fmla="*/ 7 w 7"/>
                    <a:gd name="T55" fmla="*/ 0 h 9"/>
                    <a:gd name="T56" fmla="*/ 6 w 7"/>
                    <a:gd name="T57" fmla="*/ 0 h 9"/>
                    <a:gd name="T58" fmla="*/ 6 w 7"/>
                    <a:gd name="T59" fmla="*/ 0 h 9"/>
                    <a:gd name="T60" fmla="*/ 4 w 7"/>
                    <a:gd name="T61" fmla="*/ 0 h 9"/>
                    <a:gd name="T62" fmla="*/ 4 w 7"/>
                    <a:gd name="T63" fmla="*/ 0 h 9"/>
                    <a:gd name="T64" fmla="*/ 4 w 7"/>
                    <a:gd name="T6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" h="9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1" name="Freeform 3286"/>
                <p:cNvSpPr>
                  <a:spLocks noEditPoints="1"/>
                </p:cNvSpPr>
                <p:nvPr/>
              </p:nvSpPr>
              <p:spPr bwMode="auto">
                <a:xfrm>
                  <a:off x="5747" y="2322"/>
                  <a:ext cx="7" cy="12"/>
                </a:xfrm>
                <a:custGeom>
                  <a:avLst/>
                  <a:gdLst>
                    <a:gd name="T0" fmla="*/ 2 w 7"/>
                    <a:gd name="T1" fmla="*/ 0 h 12"/>
                    <a:gd name="T2" fmla="*/ 2 w 7"/>
                    <a:gd name="T3" fmla="*/ 0 h 12"/>
                    <a:gd name="T4" fmla="*/ 4 w 7"/>
                    <a:gd name="T5" fmla="*/ 0 h 12"/>
                    <a:gd name="T6" fmla="*/ 4 w 7"/>
                    <a:gd name="T7" fmla="*/ 1 h 12"/>
                    <a:gd name="T8" fmla="*/ 4 w 7"/>
                    <a:gd name="T9" fmla="*/ 1 h 12"/>
                    <a:gd name="T10" fmla="*/ 6 w 7"/>
                    <a:gd name="T11" fmla="*/ 1 h 12"/>
                    <a:gd name="T12" fmla="*/ 6 w 7"/>
                    <a:gd name="T13" fmla="*/ 1 h 12"/>
                    <a:gd name="T14" fmla="*/ 6 w 7"/>
                    <a:gd name="T15" fmla="*/ 1 h 12"/>
                    <a:gd name="T16" fmla="*/ 6 w 7"/>
                    <a:gd name="T17" fmla="*/ 3 h 12"/>
                    <a:gd name="T18" fmla="*/ 6 w 7"/>
                    <a:gd name="T19" fmla="*/ 3 h 12"/>
                    <a:gd name="T20" fmla="*/ 6 w 7"/>
                    <a:gd name="T21" fmla="*/ 5 h 12"/>
                    <a:gd name="T22" fmla="*/ 6 w 7"/>
                    <a:gd name="T23" fmla="*/ 7 h 12"/>
                    <a:gd name="T24" fmla="*/ 6 w 7"/>
                    <a:gd name="T25" fmla="*/ 9 h 12"/>
                    <a:gd name="T26" fmla="*/ 6 w 7"/>
                    <a:gd name="T27" fmla="*/ 9 h 12"/>
                    <a:gd name="T28" fmla="*/ 4 w 7"/>
                    <a:gd name="T29" fmla="*/ 9 h 12"/>
                    <a:gd name="T30" fmla="*/ 4 w 7"/>
                    <a:gd name="T31" fmla="*/ 5 h 12"/>
                    <a:gd name="T32" fmla="*/ 2 w 7"/>
                    <a:gd name="T33" fmla="*/ 0 h 12"/>
                    <a:gd name="T34" fmla="*/ 4 w 7"/>
                    <a:gd name="T35" fmla="*/ 0 h 12"/>
                    <a:gd name="T36" fmla="*/ 2 w 7"/>
                    <a:gd name="T37" fmla="*/ 0 h 12"/>
                    <a:gd name="T38" fmla="*/ 0 w 7"/>
                    <a:gd name="T39" fmla="*/ 0 h 12"/>
                    <a:gd name="T40" fmla="*/ 2 w 7"/>
                    <a:gd name="T41" fmla="*/ 5 h 12"/>
                    <a:gd name="T42" fmla="*/ 4 w 7"/>
                    <a:gd name="T43" fmla="*/ 11 h 12"/>
                    <a:gd name="T44" fmla="*/ 4 w 7"/>
                    <a:gd name="T45" fmla="*/ 12 h 12"/>
                    <a:gd name="T46" fmla="*/ 6 w 7"/>
                    <a:gd name="T47" fmla="*/ 9 h 12"/>
                    <a:gd name="T48" fmla="*/ 7 w 7"/>
                    <a:gd name="T49" fmla="*/ 9 h 12"/>
                    <a:gd name="T50" fmla="*/ 7 w 7"/>
                    <a:gd name="T51" fmla="*/ 9 h 12"/>
                    <a:gd name="T52" fmla="*/ 7 w 7"/>
                    <a:gd name="T53" fmla="*/ 9 h 12"/>
                    <a:gd name="T54" fmla="*/ 7 w 7"/>
                    <a:gd name="T55" fmla="*/ 9 h 12"/>
                    <a:gd name="T56" fmla="*/ 6 w 7"/>
                    <a:gd name="T57" fmla="*/ 7 h 12"/>
                    <a:gd name="T58" fmla="*/ 7 w 7"/>
                    <a:gd name="T59" fmla="*/ 9 h 12"/>
                    <a:gd name="T60" fmla="*/ 7 w 7"/>
                    <a:gd name="T61" fmla="*/ 9 h 12"/>
                    <a:gd name="T62" fmla="*/ 7 w 7"/>
                    <a:gd name="T63" fmla="*/ 5 h 12"/>
                    <a:gd name="T64" fmla="*/ 7 w 7"/>
                    <a:gd name="T65" fmla="*/ 5 h 12"/>
                    <a:gd name="T66" fmla="*/ 7 w 7"/>
                    <a:gd name="T67" fmla="*/ 3 h 12"/>
                    <a:gd name="T68" fmla="*/ 7 w 7"/>
                    <a:gd name="T69" fmla="*/ 1 h 12"/>
                    <a:gd name="T70" fmla="*/ 7 w 7"/>
                    <a:gd name="T71" fmla="*/ 1 h 12"/>
                    <a:gd name="T72" fmla="*/ 7 w 7"/>
                    <a:gd name="T73" fmla="*/ 0 h 12"/>
                    <a:gd name="T74" fmla="*/ 7 w 7"/>
                    <a:gd name="T75" fmla="*/ 0 h 12"/>
                    <a:gd name="T76" fmla="*/ 6 w 7"/>
                    <a:gd name="T77" fmla="*/ 0 h 12"/>
                    <a:gd name="T78" fmla="*/ 6 w 7"/>
                    <a:gd name="T79" fmla="*/ 0 h 12"/>
                    <a:gd name="T80" fmla="*/ 4 w 7"/>
                    <a:gd name="T81" fmla="*/ 0 h 12"/>
                    <a:gd name="T82" fmla="*/ 4 w 7"/>
                    <a:gd name="T83" fmla="*/ 0 h 12"/>
                    <a:gd name="T84" fmla="*/ 4 w 7"/>
                    <a:gd name="T8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" h="1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6" y="7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2" y="0"/>
                      </a:lnTo>
                      <a:close/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4" y="11"/>
                      </a:lnTo>
                      <a:lnTo>
                        <a:pt x="4" y="12"/>
                      </a:lnTo>
                      <a:lnTo>
                        <a:pt x="6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6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2" name="Freeform 3287"/>
                <p:cNvSpPr>
                  <a:spLocks/>
                </p:cNvSpPr>
                <p:nvPr/>
              </p:nvSpPr>
              <p:spPr bwMode="auto">
                <a:xfrm>
                  <a:off x="5749" y="2322"/>
                  <a:ext cx="4" cy="9"/>
                </a:xfrm>
                <a:custGeom>
                  <a:avLst/>
                  <a:gdLst>
                    <a:gd name="T0" fmla="*/ 0 w 4"/>
                    <a:gd name="T1" fmla="*/ 0 h 9"/>
                    <a:gd name="T2" fmla="*/ 0 w 4"/>
                    <a:gd name="T3" fmla="*/ 0 h 9"/>
                    <a:gd name="T4" fmla="*/ 2 w 4"/>
                    <a:gd name="T5" fmla="*/ 0 h 9"/>
                    <a:gd name="T6" fmla="*/ 2 w 4"/>
                    <a:gd name="T7" fmla="*/ 1 h 9"/>
                    <a:gd name="T8" fmla="*/ 2 w 4"/>
                    <a:gd name="T9" fmla="*/ 1 h 9"/>
                    <a:gd name="T10" fmla="*/ 4 w 4"/>
                    <a:gd name="T11" fmla="*/ 1 h 9"/>
                    <a:gd name="T12" fmla="*/ 4 w 4"/>
                    <a:gd name="T13" fmla="*/ 1 h 9"/>
                    <a:gd name="T14" fmla="*/ 4 w 4"/>
                    <a:gd name="T15" fmla="*/ 1 h 9"/>
                    <a:gd name="T16" fmla="*/ 4 w 4"/>
                    <a:gd name="T17" fmla="*/ 3 h 9"/>
                    <a:gd name="T18" fmla="*/ 4 w 4"/>
                    <a:gd name="T19" fmla="*/ 3 h 9"/>
                    <a:gd name="T20" fmla="*/ 4 w 4"/>
                    <a:gd name="T21" fmla="*/ 5 h 9"/>
                    <a:gd name="T22" fmla="*/ 4 w 4"/>
                    <a:gd name="T23" fmla="*/ 7 h 9"/>
                    <a:gd name="T24" fmla="*/ 4 w 4"/>
                    <a:gd name="T25" fmla="*/ 9 h 9"/>
                    <a:gd name="T26" fmla="*/ 4 w 4"/>
                    <a:gd name="T27" fmla="*/ 9 h 9"/>
                    <a:gd name="T28" fmla="*/ 2 w 4"/>
                    <a:gd name="T29" fmla="*/ 9 h 9"/>
                    <a:gd name="T30" fmla="*/ 2 w 4"/>
                    <a:gd name="T31" fmla="*/ 5 h 9"/>
                    <a:gd name="T32" fmla="*/ 0 w 4"/>
                    <a:gd name="T3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" h="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2" y="5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3" name="Freeform 3288"/>
                <p:cNvSpPr>
                  <a:spLocks/>
                </p:cNvSpPr>
                <p:nvPr/>
              </p:nvSpPr>
              <p:spPr bwMode="auto">
                <a:xfrm>
                  <a:off x="5747" y="2322"/>
                  <a:ext cx="7" cy="12"/>
                </a:xfrm>
                <a:custGeom>
                  <a:avLst/>
                  <a:gdLst>
                    <a:gd name="T0" fmla="*/ 4 w 7"/>
                    <a:gd name="T1" fmla="*/ 0 h 12"/>
                    <a:gd name="T2" fmla="*/ 2 w 7"/>
                    <a:gd name="T3" fmla="*/ 0 h 12"/>
                    <a:gd name="T4" fmla="*/ 0 w 7"/>
                    <a:gd name="T5" fmla="*/ 0 h 12"/>
                    <a:gd name="T6" fmla="*/ 2 w 7"/>
                    <a:gd name="T7" fmla="*/ 5 h 12"/>
                    <a:gd name="T8" fmla="*/ 4 w 7"/>
                    <a:gd name="T9" fmla="*/ 11 h 12"/>
                    <a:gd name="T10" fmla="*/ 4 w 7"/>
                    <a:gd name="T11" fmla="*/ 12 h 12"/>
                    <a:gd name="T12" fmla="*/ 6 w 7"/>
                    <a:gd name="T13" fmla="*/ 9 h 12"/>
                    <a:gd name="T14" fmla="*/ 7 w 7"/>
                    <a:gd name="T15" fmla="*/ 9 h 12"/>
                    <a:gd name="T16" fmla="*/ 7 w 7"/>
                    <a:gd name="T17" fmla="*/ 9 h 12"/>
                    <a:gd name="T18" fmla="*/ 7 w 7"/>
                    <a:gd name="T19" fmla="*/ 9 h 12"/>
                    <a:gd name="T20" fmla="*/ 7 w 7"/>
                    <a:gd name="T21" fmla="*/ 9 h 12"/>
                    <a:gd name="T22" fmla="*/ 6 w 7"/>
                    <a:gd name="T23" fmla="*/ 7 h 12"/>
                    <a:gd name="T24" fmla="*/ 7 w 7"/>
                    <a:gd name="T25" fmla="*/ 9 h 12"/>
                    <a:gd name="T26" fmla="*/ 7 w 7"/>
                    <a:gd name="T27" fmla="*/ 9 h 12"/>
                    <a:gd name="T28" fmla="*/ 7 w 7"/>
                    <a:gd name="T29" fmla="*/ 5 h 12"/>
                    <a:gd name="T30" fmla="*/ 7 w 7"/>
                    <a:gd name="T31" fmla="*/ 5 h 12"/>
                    <a:gd name="T32" fmla="*/ 7 w 7"/>
                    <a:gd name="T33" fmla="*/ 3 h 12"/>
                    <a:gd name="T34" fmla="*/ 7 w 7"/>
                    <a:gd name="T35" fmla="*/ 1 h 12"/>
                    <a:gd name="T36" fmla="*/ 7 w 7"/>
                    <a:gd name="T37" fmla="*/ 1 h 12"/>
                    <a:gd name="T38" fmla="*/ 7 w 7"/>
                    <a:gd name="T39" fmla="*/ 0 h 12"/>
                    <a:gd name="T40" fmla="*/ 7 w 7"/>
                    <a:gd name="T41" fmla="*/ 0 h 12"/>
                    <a:gd name="T42" fmla="*/ 6 w 7"/>
                    <a:gd name="T43" fmla="*/ 0 h 12"/>
                    <a:gd name="T44" fmla="*/ 6 w 7"/>
                    <a:gd name="T45" fmla="*/ 0 h 12"/>
                    <a:gd name="T46" fmla="*/ 4 w 7"/>
                    <a:gd name="T47" fmla="*/ 0 h 12"/>
                    <a:gd name="T48" fmla="*/ 4 w 7"/>
                    <a:gd name="T49" fmla="*/ 0 h 12"/>
                    <a:gd name="T50" fmla="*/ 4 w 7"/>
                    <a:gd name="T5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" h="1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4" y="11"/>
                      </a:lnTo>
                      <a:lnTo>
                        <a:pt x="4" y="12"/>
                      </a:lnTo>
                      <a:lnTo>
                        <a:pt x="6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6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4" name="Rectangle 3289"/>
                <p:cNvSpPr>
                  <a:spLocks noChangeArrowheads="1"/>
                </p:cNvSpPr>
                <p:nvPr/>
              </p:nvSpPr>
              <p:spPr bwMode="auto">
                <a:xfrm>
                  <a:off x="5753" y="2360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5" name="Rectangle 3290"/>
                <p:cNvSpPr>
                  <a:spLocks noChangeArrowheads="1"/>
                </p:cNvSpPr>
                <p:nvPr/>
              </p:nvSpPr>
              <p:spPr bwMode="auto">
                <a:xfrm>
                  <a:off x="5753" y="2360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6" name="Freeform 3291"/>
                <p:cNvSpPr>
                  <a:spLocks noEditPoints="1"/>
                </p:cNvSpPr>
                <p:nvPr/>
              </p:nvSpPr>
              <p:spPr bwMode="auto">
                <a:xfrm>
                  <a:off x="5753" y="2344"/>
                  <a:ext cx="7" cy="16"/>
                </a:xfrm>
                <a:custGeom>
                  <a:avLst/>
                  <a:gdLst>
                    <a:gd name="T0" fmla="*/ 1 w 7"/>
                    <a:gd name="T1" fmla="*/ 0 h 16"/>
                    <a:gd name="T2" fmla="*/ 1 w 7"/>
                    <a:gd name="T3" fmla="*/ 0 h 16"/>
                    <a:gd name="T4" fmla="*/ 3 w 7"/>
                    <a:gd name="T5" fmla="*/ 0 h 16"/>
                    <a:gd name="T6" fmla="*/ 5 w 7"/>
                    <a:gd name="T7" fmla="*/ 0 h 16"/>
                    <a:gd name="T8" fmla="*/ 5 w 7"/>
                    <a:gd name="T9" fmla="*/ 3 h 16"/>
                    <a:gd name="T10" fmla="*/ 5 w 7"/>
                    <a:gd name="T11" fmla="*/ 7 h 16"/>
                    <a:gd name="T12" fmla="*/ 5 w 7"/>
                    <a:gd name="T13" fmla="*/ 11 h 16"/>
                    <a:gd name="T14" fmla="*/ 5 w 7"/>
                    <a:gd name="T15" fmla="*/ 14 h 16"/>
                    <a:gd name="T16" fmla="*/ 3 w 7"/>
                    <a:gd name="T17" fmla="*/ 14 h 16"/>
                    <a:gd name="T18" fmla="*/ 1 w 7"/>
                    <a:gd name="T19" fmla="*/ 14 h 16"/>
                    <a:gd name="T20" fmla="*/ 1 w 7"/>
                    <a:gd name="T21" fmla="*/ 13 h 16"/>
                    <a:gd name="T22" fmla="*/ 1 w 7"/>
                    <a:gd name="T23" fmla="*/ 7 h 16"/>
                    <a:gd name="T24" fmla="*/ 1 w 7"/>
                    <a:gd name="T25" fmla="*/ 3 h 16"/>
                    <a:gd name="T26" fmla="*/ 1 w 7"/>
                    <a:gd name="T27" fmla="*/ 0 h 16"/>
                    <a:gd name="T28" fmla="*/ 7 w 7"/>
                    <a:gd name="T29" fmla="*/ 0 h 16"/>
                    <a:gd name="T30" fmla="*/ 3 w 7"/>
                    <a:gd name="T31" fmla="*/ 0 h 16"/>
                    <a:gd name="T32" fmla="*/ 1 w 7"/>
                    <a:gd name="T33" fmla="*/ 0 h 16"/>
                    <a:gd name="T34" fmla="*/ 0 w 7"/>
                    <a:gd name="T35" fmla="*/ 0 h 16"/>
                    <a:gd name="T36" fmla="*/ 0 w 7"/>
                    <a:gd name="T37" fmla="*/ 3 h 16"/>
                    <a:gd name="T38" fmla="*/ 0 w 7"/>
                    <a:gd name="T39" fmla="*/ 7 h 16"/>
                    <a:gd name="T40" fmla="*/ 0 w 7"/>
                    <a:gd name="T41" fmla="*/ 13 h 16"/>
                    <a:gd name="T42" fmla="*/ 0 w 7"/>
                    <a:gd name="T43" fmla="*/ 16 h 16"/>
                    <a:gd name="T44" fmla="*/ 1 w 7"/>
                    <a:gd name="T45" fmla="*/ 16 h 16"/>
                    <a:gd name="T46" fmla="*/ 1 w 7"/>
                    <a:gd name="T47" fmla="*/ 16 h 16"/>
                    <a:gd name="T48" fmla="*/ 3 w 7"/>
                    <a:gd name="T49" fmla="*/ 16 h 16"/>
                    <a:gd name="T50" fmla="*/ 5 w 7"/>
                    <a:gd name="T51" fmla="*/ 16 h 16"/>
                    <a:gd name="T52" fmla="*/ 7 w 7"/>
                    <a:gd name="T53" fmla="*/ 16 h 16"/>
                    <a:gd name="T54" fmla="*/ 7 w 7"/>
                    <a:gd name="T55" fmla="*/ 11 h 16"/>
                    <a:gd name="T56" fmla="*/ 7 w 7"/>
                    <a:gd name="T57" fmla="*/ 7 h 16"/>
                    <a:gd name="T58" fmla="*/ 7 w 7"/>
                    <a:gd name="T59" fmla="*/ 3 h 16"/>
                    <a:gd name="T60" fmla="*/ 7 w 7"/>
                    <a:gd name="T61" fmla="*/ 0 h 16"/>
                    <a:gd name="T62" fmla="*/ 7 w 7"/>
                    <a:gd name="T6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" h="16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5" y="7"/>
                      </a:lnTo>
                      <a:lnTo>
                        <a:pt x="5" y="11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1" y="14"/>
                      </a:lnTo>
                      <a:lnTo>
                        <a:pt x="1" y="13"/>
                      </a:lnTo>
                      <a:lnTo>
                        <a:pt x="1" y="7"/>
                      </a:lnTo>
                      <a:lnTo>
                        <a:pt x="1" y="3"/>
                      </a:lnTo>
                      <a:lnTo>
                        <a:pt x="1" y="0"/>
                      </a:lnTo>
                      <a:close/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1" y="16"/>
                      </a:lnTo>
                      <a:lnTo>
                        <a:pt x="1" y="16"/>
                      </a:lnTo>
                      <a:lnTo>
                        <a:pt x="3" y="16"/>
                      </a:lnTo>
                      <a:lnTo>
                        <a:pt x="5" y="16"/>
                      </a:lnTo>
                      <a:lnTo>
                        <a:pt x="7" y="16"/>
                      </a:lnTo>
                      <a:lnTo>
                        <a:pt x="7" y="11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7" name="Freeform 3292"/>
                <p:cNvSpPr>
                  <a:spLocks/>
                </p:cNvSpPr>
                <p:nvPr/>
              </p:nvSpPr>
              <p:spPr bwMode="auto">
                <a:xfrm>
                  <a:off x="5754" y="2344"/>
                  <a:ext cx="4" cy="14"/>
                </a:xfrm>
                <a:custGeom>
                  <a:avLst/>
                  <a:gdLst>
                    <a:gd name="T0" fmla="*/ 0 w 4"/>
                    <a:gd name="T1" fmla="*/ 0 h 14"/>
                    <a:gd name="T2" fmla="*/ 0 w 4"/>
                    <a:gd name="T3" fmla="*/ 0 h 14"/>
                    <a:gd name="T4" fmla="*/ 2 w 4"/>
                    <a:gd name="T5" fmla="*/ 0 h 14"/>
                    <a:gd name="T6" fmla="*/ 4 w 4"/>
                    <a:gd name="T7" fmla="*/ 0 h 14"/>
                    <a:gd name="T8" fmla="*/ 4 w 4"/>
                    <a:gd name="T9" fmla="*/ 3 h 14"/>
                    <a:gd name="T10" fmla="*/ 4 w 4"/>
                    <a:gd name="T11" fmla="*/ 7 h 14"/>
                    <a:gd name="T12" fmla="*/ 4 w 4"/>
                    <a:gd name="T13" fmla="*/ 11 h 14"/>
                    <a:gd name="T14" fmla="*/ 4 w 4"/>
                    <a:gd name="T15" fmla="*/ 14 h 14"/>
                    <a:gd name="T16" fmla="*/ 2 w 4"/>
                    <a:gd name="T17" fmla="*/ 14 h 14"/>
                    <a:gd name="T18" fmla="*/ 0 w 4"/>
                    <a:gd name="T19" fmla="*/ 14 h 14"/>
                    <a:gd name="T20" fmla="*/ 0 w 4"/>
                    <a:gd name="T21" fmla="*/ 13 h 14"/>
                    <a:gd name="T22" fmla="*/ 0 w 4"/>
                    <a:gd name="T23" fmla="*/ 7 h 14"/>
                    <a:gd name="T24" fmla="*/ 0 w 4"/>
                    <a:gd name="T25" fmla="*/ 3 h 14"/>
                    <a:gd name="T26" fmla="*/ 0 w 4"/>
                    <a:gd name="T2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1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7"/>
                      </a:lnTo>
                      <a:lnTo>
                        <a:pt x="4" y="11"/>
                      </a:lnTo>
                      <a:lnTo>
                        <a:pt x="4" y="14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3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8" name="Freeform 3293"/>
                <p:cNvSpPr>
                  <a:spLocks/>
                </p:cNvSpPr>
                <p:nvPr/>
              </p:nvSpPr>
              <p:spPr bwMode="auto">
                <a:xfrm>
                  <a:off x="5753" y="2344"/>
                  <a:ext cx="7" cy="16"/>
                </a:xfrm>
                <a:custGeom>
                  <a:avLst/>
                  <a:gdLst>
                    <a:gd name="T0" fmla="*/ 7 w 7"/>
                    <a:gd name="T1" fmla="*/ 0 h 16"/>
                    <a:gd name="T2" fmla="*/ 3 w 7"/>
                    <a:gd name="T3" fmla="*/ 0 h 16"/>
                    <a:gd name="T4" fmla="*/ 1 w 7"/>
                    <a:gd name="T5" fmla="*/ 0 h 16"/>
                    <a:gd name="T6" fmla="*/ 0 w 7"/>
                    <a:gd name="T7" fmla="*/ 0 h 16"/>
                    <a:gd name="T8" fmla="*/ 0 w 7"/>
                    <a:gd name="T9" fmla="*/ 3 h 16"/>
                    <a:gd name="T10" fmla="*/ 0 w 7"/>
                    <a:gd name="T11" fmla="*/ 7 h 16"/>
                    <a:gd name="T12" fmla="*/ 0 w 7"/>
                    <a:gd name="T13" fmla="*/ 13 h 16"/>
                    <a:gd name="T14" fmla="*/ 0 w 7"/>
                    <a:gd name="T15" fmla="*/ 16 h 16"/>
                    <a:gd name="T16" fmla="*/ 1 w 7"/>
                    <a:gd name="T17" fmla="*/ 16 h 16"/>
                    <a:gd name="T18" fmla="*/ 1 w 7"/>
                    <a:gd name="T19" fmla="*/ 16 h 16"/>
                    <a:gd name="T20" fmla="*/ 3 w 7"/>
                    <a:gd name="T21" fmla="*/ 16 h 16"/>
                    <a:gd name="T22" fmla="*/ 5 w 7"/>
                    <a:gd name="T23" fmla="*/ 16 h 16"/>
                    <a:gd name="T24" fmla="*/ 7 w 7"/>
                    <a:gd name="T25" fmla="*/ 16 h 16"/>
                    <a:gd name="T26" fmla="*/ 7 w 7"/>
                    <a:gd name="T27" fmla="*/ 11 h 16"/>
                    <a:gd name="T28" fmla="*/ 7 w 7"/>
                    <a:gd name="T29" fmla="*/ 7 h 16"/>
                    <a:gd name="T30" fmla="*/ 7 w 7"/>
                    <a:gd name="T31" fmla="*/ 3 h 16"/>
                    <a:gd name="T32" fmla="*/ 7 w 7"/>
                    <a:gd name="T33" fmla="*/ 0 h 16"/>
                    <a:gd name="T34" fmla="*/ 7 w 7"/>
                    <a:gd name="T3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" h="1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1" y="16"/>
                      </a:lnTo>
                      <a:lnTo>
                        <a:pt x="1" y="16"/>
                      </a:lnTo>
                      <a:lnTo>
                        <a:pt x="3" y="16"/>
                      </a:lnTo>
                      <a:lnTo>
                        <a:pt x="5" y="16"/>
                      </a:lnTo>
                      <a:lnTo>
                        <a:pt x="7" y="16"/>
                      </a:lnTo>
                      <a:lnTo>
                        <a:pt x="7" y="11"/>
                      </a:lnTo>
                      <a:lnTo>
                        <a:pt x="7" y="7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79" name="Rectangle 3294"/>
                <p:cNvSpPr>
                  <a:spLocks noChangeArrowheads="1"/>
                </p:cNvSpPr>
                <p:nvPr/>
              </p:nvSpPr>
              <p:spPr bwMode="auto">
                <a:xfrm>
                  <a:off x="5727" y="241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0" name="Rectangle 3295"/>
                <p:cNvSpPr>
                  <a:spLocks noChangeArrowheads="1"/>
                </p:cNvSpPr>
                <p:nvPr/>
              </p:nvSpPr>
              <p:spPr bwMode="auto">
                <a:xfrm>
                  <a:off x="5727" y="241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1" name="Freeform 3296"/>
                <p:cNvSpPr>
                  <a:spLocks noEditPoints="1"/>
                </p:cNvSpPr>
                <p:nvPr/>
              </p:nvSpPr>
              <p:spPr bwMode="auto">
                <a:xfrm>
                  <a:off x="5725" y="2408"/>
                  <a:ext cx="7" cy="8"/>
                </a:xfrm>
                <a:custGeom>
                  <a:avLst/>
                  <a:gdLst>
                    <a:gd name="T0" fmla="*/ 2 w 7"/>
                    <a:gd name="T1" fmla="*/ 2 h 8"/>
                    <a:gd name="T2" fmla="*/ 2 w 7"/>
                    <a:gd name="T3" fmla="*/ 2 h 8"/>
                    <a:gd name="T4" fmla="*/ 4 w 7"/>
                    <a:gd name="T5" fmla="*/ 2 h 8"/>
                    <a:gd name="T6" fmla="*/ 5 w 7"/>
                    <a:gd name="T7" fmla="*/ 2 h 8"/>
                    <a:gd name="T8" fmla="*/ 5 w 7"/>
                    <a:gd name="T9" fmla="*/ 4 h 8"/>
                    <a:gd name="T10" fmla="*/ 5 w 7"/>
                    <a:gd name="T11" fmla="*/ 6 h 8"/>
                    <a:gd name="T12" fmla="*/ 5 w 7"/>
                    <a:gd name="T13" fmla="*/ 6 h 8"/>
                    <a:gd name="T14" fmla="*/ 2 w 7"/>
                    <a:gd name="T15" fmla="*/ 6 h 8"/>
                    <a:gd name="T16" fmla="*/ 2 w 7"/>
                    <a:gd name="T17" fmla="*/ 4 h 8"/>
                    <a:gd name="T18" fmla="*/ 2 w 7"/>
                    <a:gd name="T19" fmla="*/ 2 h 8"/>
                    <a:gd name="T20" fmla="*/ 7 w 7"/>
                    <a:gd name="T21" fmla="*/ 0 h 8"/>
                    <a:gd name="T22" fmla="*/ 4 w 7"/>
                    <a:gd name="T23" fmla="*/ 0 h 8"/>
                    <a:gd name="T24" fmla="*/ 2 w 7"/>
                    <a:gd name="T25" fmla="*/ 0 h 8"/>
                    <a:gd name="T26" fmla="*/ 0 w 7"/>
                    <a:gd name="T27" fmla="*/ 0 h 8"/>
                    <a:gd name="T28" fmla="*/ 2 w 7"/>
                    <a:gd name="T29" fmla="*/ 4 h 8"/>
                    <a:gd name="T30" fmla="*/ 2 w 7"/>
                    <a:gd name="T31" fmla="*/ 8 h 8"/>
                    <a:gd name="T32" fmla="*/ 2 w 7"/>
                    <a:gd name="T33" fmla="*/ 8 h 8"/>
                    <a:gd name="T34" fmla="*/ 2 w 7"/>
                    <a:gd name="T35" fmla="*/ 8 h 8"/>
                    <a:gd name="T36" fmla="*/ 5 w 7"/>
                    <a:gd name="T37" fmla="*/ 8 h 8"/>
                    <a:gd name="T38" fmla="*/ 7 w 7"/>
                    <a:gd name="T39" fmla="*/ 8 h 8"/>
                    <a:gd name="T40" fmla="*/ 7 w 7"/>
                    <a:gd name="T41" fmla="*/ 8 h 8"/>
                    <a:gd name="T42" fmla="*/ 7 w 7"/>
                    <a:gd name="T43" fmla="*/ 4 h 8"/>
                    <a:gd name="T44" fmla="*/ 7 w 7"/>
                    <a:gd name="T45" fmla="*/ 0 h 8"/>
                    <a:gd name="T46" fmla="*/ 7 w 7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2" name="Freeform 3297"/>
                <p:cNvSpPr>
                  <a:spLocks/>
                </p:cNvSpPr>
                <p:nvPr/>
              </p:nvSpPr>
              <p:spPr bwMode="auto">
                <a:xfrm>
                  <a:off x="5727" y="2410"/>
                  <a:ext cx="3" cy="4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0 h 4"/>
                    <a:gd name="T4" fmla="*/ 2 w 3"/>
                    <a:gd name="T5" fmla="*/ 0 h 4"/>
                    <a:gd name="T6" fmla="*/ 3 w 3"/>
                    <a:gd name="T7" fmla="*/ 0 h 4"/>
                    <a:gd name="T8" fmla="*/ 3 w 3"/>
                    <a:gd name="T9" fmla="*/ 2 h 4"/>
                    <a:gd name="T10" fmla="*/ 3 w 3"/>
                    <a:gd name="T11" fmla="*/ 4 h 4"/>
                    <a:gd name="T12" fmla="*/ 3 w 3"/>
                    <a:gd name="T13" fmla="*/ 4 h 4"/>
                    <a:gd name="T14" fmla="*/ 0 w 3"/>
                    <a:gd name="T15" fmla="*/ 4 h 4"/>
                    <a:gd name="T16" fmla="*/ 0 w 3"/>
                    <a:gd name="T17" fmla="*/ 2 h 4"/>
                    <a:gd name="T18" fmla="*/ 0 w 3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3" name="Freeform 3298"/>
                <p:cNvSpPr>
                  <a:spLocks/>
                </p:cNvSpPr>
                <p:nvPr/>
              </p:nvSpPr>
              <p:spPr bwMode="auto">
                <a:xfrm>
                  <a:off x="5725" y="2408"/>
                  <a:ext cx="7" cy="8"/>
                </a:xfrm>
                <a:custGeom>
                  <a:avLst/>
                  <a:gdLst>
                    <a:gd name="T0" fmla="*/ 7 w 7"/>
                    <a:gd name="T1" fmla="*/ 0 h 8"/>
                    <a:gd name="T2" fmla="*/ 4 w 7"/>
                    <a:gd name="T3" fmla="*/ 0 h 8"/>
                    <a:gd name="T4" fmla="*/ 2 w 7"/>
                    <a:gd name="T5" fmla="*/ 0 h 8"/>
                    <a:gd name="T6" fmla="*/ 0 w 7"/>
                    <a:gd name="T7" fmla="*/ 0 h 8"/>
                    <a:gd name="T8" fmla="*/ 2 w 7"/>
                    <a:gd name="T9" fmla="*/ 4 h 8"/>
                    <a:gd name="T10" fmla="*/ 2 w 7"/>
                    <a:gd name="T11" fmla="*/ 8 h 8"/>
                    <a:gd name="T12" fmla="*/ 2 w 7"/>
                    <a:gd name="T13" fmla="*/ 8 h 8"/>
                    <a:gd name="T14" fmla="*/ 2 w 7"/>
                    <a:gd name="T15" fmla="*/ 8 h 8"/>
                    <a:gd name="T16" fmla="*/ 5 w 7"/>
                    <a:gd name="T17" fmla="*/ 8 h 8"/>
                    <a:gd name="T18" fmla="*/ 7 w 7"/>
                    <a:gd name="T19" fmla="*/ 8 h 8"/>
                    <a:gd name="T20" fmla="*/ 7 w 7"/>
                    <a:gd name="T21" fmla="*/ 8 h 8"/>
                    <a:gd name="T22" fmla="*/ 7 w 7"/>
                    <a:gd name="T23" fmla="*/ 4 h 8"/>
                    <a:gd name="T24" fmla="*/ 7 w 7"/>
                    <a:gd name="T25" fmla="*/ 0 h 8"/>
                    <a:gd name="T26" fmla="*/ 7 w 7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8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7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4" name="Freeform 3299"/>
                <p:cNvSpPr>
                  <a:spLocks/>
                </p:cNvSpPr>
                <p:nvPr/>
              </p:nvSpPr>
              <p:spPr bwMode="auto">
                <a:xfrm>
                  <a:off x="5721" y="2469"/>
                  <a:ext cx="2" cy="56"/>
                </a:xfrm>
                <a:custGeom>
                  <a:avLst/>
                  <a:gdLst>
                    <a:gd name="T0" fmla="*/ 2 w 2"/>
                    <a:gd name="T1" fmla="*/ 0 h 56"/>
                    <a:gd name="T2" fmla="*/ 2 w 2"/>
                    <a:gd name="T3" fmla="*/ 9 h 56"/>
                    <a:gd name="T4" fmla="*/ 2 w 2"/>
                    <a:gd name="T5" fmla="*/ 19 h 56"/>
                    <a:gd name="T6" fmla="*/ 0 w 2"/>
                    <a:gd name="T7" fmla="*/ 28 h 56"/>
                    <a:gd name="T8" fmla="*/ 0 w 2"/>
                    <a:gd name="T9" fmla="*/ 37 h 56"/>
                    <a:gd name="T10" fmla="*/ 0 w 2"/>
                    <a:gd name="T11" fmla="*/ 45 h 56"/>
                    <a:gd name="T12" fmla="*/ 0 w 2"/>
                    <a:gd name="T13" fmla="*/ 54 h 56"/>
                    <a:gd name="T14" fmla="*/ 0 w 2"/>
                    <a:gd name="T15" fmla="*/ 56 h 56"/>
                    <a:gd name="T16" fmla="*/ 0 w 2"/>
                    <a:gd name="T17" fmla="*/ 56 h 56"/>
                    <a:gd name="T18" fmla="*/ 0 w 2"/>
                    <a:gd name="T19" fmla="*/ 54 h 56"/>
                    <a:gd name="T20" fmla="*/ 0 w 2"/>
                    <a:gd name="T21" fmla="*/ 54 h 56"/>
                    <a:gd name="T22" fmla="*/ 0 w 2"/>
                    <a:gd name="T23" fmla="*/ 45 h 56"/>
                    <a:gd name="T24" fmla="*/ 0 w 2"/>
                    <a:gd name="T25" fmla="*/ 37 h 56"/>
                    <a:gd name="T26" fmla="*/ 0 w 2"/>
                    <a:gd name="T27" fmla="*/ 28 h 56"/>
                    <a:gd name="T28" fmla="*/ 2 w 2"/>
                    <a:gd name="T29" fmla="*/ 19 h 56"/>
                    <a:gd name="T30" fmla="*/ 2 w 2"/>
                    <a:gd name="T31" fmla="*/ 9 h 56"/>
                    <a:gd name="T32" fmla="*/ 2 w 2"/>
                    <a:gd name="T33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" h="56">
                      <a:moveTo>
                        <a:pt x="2" y="0"/>
                      </a:moveTo>
                      <a:lnTo>
                        <a:pt x="2" y="9"/>
                      </a:lnTo>
                      <a:lnTo>
                        <a:pt x="2" y="19"/>
                      </a:lnTo>
                      <a:lnTo>
                        <a:pt x="0" y="28"/>
                      </a:lnTo>
                      <a:lnTo>
                        <a:pt x="0" y="37"/>
                      </a:lnTo>
                      <a:lnTo>
                        <a:pt x="0" y="45"/>
                      </a:lnTo>
                      <a:lnTo>
                        <a:pt x="0" y="54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37"/>
                      </a:lnTo>
                      <a:lnTo>
                        <a:pt x="0" y="28"/>
                      </a:lnTo>
                      <a:lnTo>
                        <a:pt x="2" y="19"/>
                      </a:lnTo>
                      <a:lnTo>
                        <a:pt x="2" y="9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5" name="Freeform 3300"/>
                <p:cNvSpPr>
                  <a:spLocks/>
                </p:cNvSpPr>
                <p:nvPr/>
              </p:nvSpPr>
              <p:spPr bwMode="auto">
                <a:xfrm>
                  <a:off x="5721" y="2469"/>
                  <a:ext cx="2" cy="56"/>
                </a:xfrm>
                <a:custGeom>
                  <a:avLst/>
                  <a:gdLst>
                    <a:gd name="T0" fmla="*/ 2 w 2"/>
                    <a:gd name="T1" fmla="*/ 0 h 56"/>
                    <a:gd name="T2" fmla="*/ 2 w 2"/>
                    <a:gd name="T3" fmla="*/ 9 h 56"/>
                    <a:gd name="T4" fmla="*/ 2 w 2"/>
                    <a:gd name="T5" fmla="*/ 19 h 56"/>
                    <a:gd name="T6" fmla="*/ 0 w 2"/>
                    <a:gd name="T7" fmla="*/ 28 h 56"/>
                    <a:gd name="T8" fmla="*/ 0 w 2"/>
                    <a:gd name="T9" fmla="*/ 37 h 56"/>
                    <a:gd name="T10" fmla="*/ 0 w 2"/>
                    <a:gd name="T11" fmla="*/ 45 h 56"/>
                    <a:gd name="T12" fmla="*/ 0 w 2"/>
                    <a:gd name="T13" fmla="*/ 54 h 56"/>
                    <a:gd name="T14" fmla="*/ 0 w 2"/>
                    <a:gd name="T15" fmla="*/ 56 h 56"/>
                    <a:gd name="T16" fmla="*/ 0 w 2"/>
                    <a:gd name="T17" fmla="*/ 56 h 56"/>
                    <a:gd name="T18" fmla="*/ 0 w 2"/>
                    <a:gd name="T19" fmla="*/ 54 h 56"/>
                    <a:gd name="T20" fmla="*/ 0 w 2"/>
                    <a:gd name="T21" fmla="*/ 54 h 56"/>
                    <a:gd name="T22" fmla="*/ 0 w 2"/>
                    <a:gd name="T23" fmla="*/ 45 h 56"/>
                    <a:gd name="T24" fmla="*/ 0 w 2"/>
                    <a:gd name="T25" fmla="*/ 37 h 56"/>
                    <a:gd name="T26" fmla="*/ 0 w 2"/>
                    <a:gd name="T27" fmla="*/ 28 h 56"/>
                    <a:gd name="T28" fmla="*/ 2 w 2"/>
                    <a:gd name="T29" fmla="*/ 19 h 56"/>
                    <a:gd name="T30" fmla="*/ 2 w 2"/>
                    <a:gd name="T31" fmla="*/ 9 h 56"/>
                    <a:gd name="T32" fmla="*/ 2 w 2"/>
                    <a:gd name="T33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" h="56">
                      <a:moveTo>
                        <a:pt x="2" y="0"/>
                      </a:moveTo>
                      <a:lnTo>
                        <a:pt x="2" y="9"/>
                      </a:lnTo>
                      <a:lnTo>
                        <a:pt x="2" y="19"/>
                      </a:lnTo>
                      <a:lnTo>
                        <a:pt x="0" y="28"/>
                      </a:lnTo>
                      <a:lnTo>
                        <a:pt x="0" y="37"/>
                      </a:lnTo>
                      <a:lnTo>
                        <a:pt x="0" y="45"/>
                      </a:lnTo>
                      <a:lnTo>
                        <a:pt x="0" y="54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37"/>
                      </a:lnTo>
                      <a:lnTo>
                        <a:pt x="0" y="28"/>
                      </a:lnTo>
                      <a:lnTo>
                        <a:pt x="2" y="19"/>
                      </a:lnTo>
                      <a:lnTo>
                        <a:pt x="2" y="9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6" name="Freeform 3301"/>
                <p:cNvSpPr>
                  <a:spLocks noEditPoints="1"/>
                </p:cNvSpPr>
                <p:nvPr/>
              </p:nvSpPr>
              <p:spPr bwMode="auto">
                <a:xfrm>
                  <a:off x="5721" y="2447"/>
                  <a:ext cx="19" cy="78"/>
                </a:xfrm>
                <a:custGeom>
                  <a:avLst/>
                  <a:gdLst>
                    <a:gd name="T0" fmla="*/ 0 w 19"/>
                    <a:gd name="T1" fmla="*/ 76 h 78"/>
                    <a:gd name="T2" fmla="*/ 2 w 19"/>
                    <a:gd name="T3" fmla="*/ 68 h 78"/>
                    <a:gd name="T4" fmla="*/ 2 w 19"/>
                    <a:gd name="T5" fmla="*/ 59 h 78"/>
                    <a:gd name="T6" fmla="*/ 2 w 19"/>
                    <a:gd name="T7" fmla="*/ 50 h 78"/>
                    <a:gd name="T8" fmla="*/ 2 w 19"/>
                    <a:gd name="T9" fmla="*/ 41 h 78"/>
                    <a:gd name="T10" fmla="*/ 4 w 19"/>
                    <a:gd name="T11" fmla="*/ 31 h 78"/>
                    <a:gd name="T12" fmla="*/ 4 w 19"/>
                    <a:gd name="T13" fmla="*/ 22 h 78"/>
                    <a:gd name="T14" fmla="*/ 4 w 19"/>
                    <a:gd name="T15" fmla="*/ 13 h 78"/>
                    <a:gd name="T16" fmla="*/ 6 w 19"/>
                    <a:gd name="T17" fmla="*/ 4 h 78"/>
                    <a:gd name="T18" fmla="*/ 8 w 19"/>
                    <a:gd name="T19" fmla="*/ 4 h 78"/>
                    <a:gd name="T20" fmla="*/ 11 w 19"/>
                    <a:gd name="T21" fmla="*/ 2 h 78"/>
                    <a:gd name="T22" fmla="*/ 15 w 19"/>
                    <a:gd name="T23" fmla="*/ 2 h 78"/>
                    <a:gd name="T24" fmla="*/ 17 w 19"/>
                    <a:gd name="T25" fmla="*/ 2 h 78"/>
                    <a:gd name="T26" fmla="*/ 15 w 19"/>
                    <a:gd name="T27" fmla="*/ 9 h 78"/>
                    <a:gd name="T28" fmla="*/ 13 w 19"/>
                    <a:gd name="T29" fmla="*/ 19 h 78"/>
                    <a:gd name="T30" fmla="*/ 13 w 19"/>
                    <a:gd name="T31" fmla="*/ 26 h 78"/>
                    <a:gd name="T32" fmla="*/ 11 w 19"/>
                    <a:gd name="T33" fmla="*/ 35 h 78"/>
                    <a:gd name="T34" fmla="*/ 11 w 19"/>
                    <a:gd name="T35" fmla="*/ 44 h 78"/>
                    <a:gd name="T36" fmla="*/ 9 w 19"/>
                    <a:gd name="T37" fmla="*/ 54 h 78"/>
                    <a:gd name="T38" fmla="*/ 9 w 19"/>
                    <a:gd name="T39" fmla="*/ 63 h 78"/>
                    <a:gd name="T40" fmla="*/ 8 w 19"/>
                    <a:gd name="T41" fmla="*/ 70 h 78"/>
                    <a:gd name="T42" fmla="*/ 4 w 19"/>
                    <a:gd name="T43" fmla="*/ 72 h 78"/>
                    <a:gd name="T44" fmla="*/ 4 w 19"/>
                    <a:gd name="T45" fmla="*/ 72 h 78"/>
                    <a:gd name="T46" fmla="*/ 0 w 19"/>
                    <a:gd name="T47" fmla="*/ 76 h 78"/>
                    <a:gd name="T48" fmla="*/ 19 w 19"/>
                    <a:gd name="T49" fmla="*/ 0 h 78"/>
                    <a:gd name="T50" fmla="*/ 13 w 19"/>
                    <a:gd name="T51" fmla="*/ 0 h 78"/>
                    <a:gd name="T52" fmla="*/ 11 w 19"/>
                    <a:gd name="T53" fmla="*/ 2 h 78"/>
                    <a:gd name="T54" fmla="*/ 8 w 19"/>
                    <a:gd name="T55" fmla="*/ 2 h 78"/>
                    <a:gd name="T56" fmla="*/ 4 w 19"/>
                    <a:gd name="T57" fmla="*/ 4 h 78"/>
                    <a:gd name="T58" fmla="*/ 4 w 19"/>
                    <a:gd name="T59" fmla="*/ 4 h 78"/>
                    <a:gd name="T60" fmla="*/ 4 w 19"/>
                    <a:gd name="T61" fmla="*/ 13 h 78"/>
                    <a:gd name="T62" fmla="*/ 2 w 19"/>
                    <a:gd name="T63" fmla="*/ 22 h 78"/>
                    <a:gd name="T64" fmla="*/ 2 w 19"/>
                    <a:gd name="T65" fmla="*/ 22 h 78"/>
                    <a:gd name="T66" fmla="*/ 2 w 19"/>
                    <a:gd name="T67" fmla="*/ 31 h 78"/>
                    <a:gd name="T68" fmla="*/ 2 w 19"/>
                    <a:gd name="T69" fmla="*/ 41 h 78"/>
                    <a:gd name="T70" fmla="*/ 0 w 19"/>
                    <a:gd name="T71" fmla="*/ 50 h 78"/>
                    <a:gd name="T72" fmla="*/ 0 w 19"/>
                    <a:gd name="T73" fmla="*/ 59 h 78"/>
                    <a:gd name="T74" fmla="*/ 0 w 19"/>
                    <a:gd name="T75" fmla="*/ 67 h 78"/>
                    <a:gd name="T76" fmla="*/ 0 w 19"/>
                    <a:gd name="T77" fmla="*/ 76 h 78"/>
                    <a:gd name="T78" fmla="*/ 0 w 19"/>
                    <a:gd name="T79" fmla="*/ 76 h 78"/>
                    <a:gd name="T80" fmla="*/ 0 w 19"/>
                    <a:gd name="T81" fmla="*/ 78 h 78"/>
                    <a:gd name="T82" fmla="*/ 6 w 19"/>
                    <a:gd name="T83" fmla="*/ 74 h 78"/>
                    <a:gd name="T84" fmla="*/ 9 w 19"/>
                    <a:gd name="T85" fmla="*/ 72 h 78"/>
                    <a:gd name="T86" fmla="*/ 9 w 19"/>
                    <a:gd name="T87" fmla="*/ 72 h 78"/>
                    <a:gd name="T88" fmla="*/ 11 w 19"/>
                    <a:gd name="T89" fmla="*/ 63 h 78"/>
                    <a:gd name="T90" fmla="*/ 11 w 19"/>
                    <a:gd name="T91" fmla="*/ 54 h 78"/>
                    <a:gd name="T92" fmla="*/ 13 w 19"/>
                    <a:gd name="T93" fmla="*/ 44 h 78"/>
                    <a:gd name="T94" fmla="*/ 13 w 19"/>
                    <a:gd name="T95" fmla="*/ 35 h 78"/>
                    <a:gd name="T96" fmla="*/ 15 w 19"/>
                    <a:gd name="T97" fmla="*/ 28 h 78"/>
                    <a:gd name="T98" fmla="*/ 15 w 19"/>
                    <a:gd name="T99" fmla="*/ 19 h 78"/>
                    <a:gd name="T100" fmla="*/ 17 w 19"/>
                    <a:gd name="T101" fmla="*/ 9 h 78"/>
                    <a:gd name="T102" fmla="*/ 19 w 19"/>
                    <a:gd name="T103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" h="78">
                      <a:moveTo>
                        <a:pt x="0" y="76"/>
                      </a:moveTo>
                      <a:lnTo>
                        <a:pt x="2" y="68"/>
                      </a:lnTo>
                      <a:lnTo>
                        <a:pt x="2" y="59"/>
                      </a:lnTo>
                      <a:lnTo>
                        <a:pt x="2" y="50"/>
                      </a:lnTo>
                      <a:lnTo>
                        <a:pt x="2" y="41"/>
                      </a:lnTo>
                      <a:lnTo>
                        <a:pt x="4" y="31"/>
                      </a:lnTo>
                      <a:lnTo>
                        <a:pt x="4" y="22"/>
                      </a:lnTo>
                      <a:lnTo>
                        <a:pt x="4" y="13"/>
                      </a:lnTo>
                      <a:lnTo>
                        <a:pt x="6" y="4"/>
                      </a:ln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5" y="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11" y="35"/>
                      </a:lnTo>
                      <a:lnTo>
                        <a:pt x="11" y="44"/>
                      </a:lnTo>
                      <a:lnTo>
                        <a:pt x="9" y="54"/>
                      </a:lnTo>
                      <a:lnTo>
                        <a:pt x="9" y="63"/>
                      </a:lnTo>
                      <a:lnTo>
                        <a:pt x="8" y="70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0" y="76"/>
                      </a:lnTo>
                      <a:close/>
                      <a:moveTo>
                        <a:pt x="19" y="0"/>
                      </a:moveTo>
                      <a:lnTo>
                        <a:pt x="13" y="0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13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31"/>
                      </a:lnTo>
                      <a:lnTo>
                        <a:pt x="2" y="41"/>
                      </a:lnTo>
                      <a:lnTo>
                        <a:pt x="0" y="50"/>
                      </a:lnTo>
                      <a:lnTo>
                        <a:pt x="0" y="59"/>
                      </a:lnTo>
                      <a:lnTo>
                        <a:pt x="0" y="67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8"/>
                      </a:lnTo>
                      <a:lnTo>
                        <a:pt x="6" y="74"/>
                      </a:lnTo>
                      <a:lnTo>
                        <a:pt x="9" y="72"/>
                      </a:lnTo>
                      <a:lnTo>
                        <a:pt x="9" y="72"/>
                      </a:lnTo>
                      <a:lnTo>
                        <a:pt x="11" y="63"/>
                      </a:lnTo>
                      <a:lnTo>
                        <a:pt x="11" y="54"/>
                      </a:lnTo>
                      <a:lnTo>
                        <a:pt x="13" y="44"/>
                      </a:lnTo>
                      <a:lnTo>
                        <a:pt x="13" y="35"/>
                      </a:lnTo>
                      <a:lnTo>
                        <a:pt x="15" y="28"/>
                      </a:lnTo>
                      <a:lnTo>
                        <a:pt x="15" y="19"/>
                      </a:lnTo>
                      <a:lnTo>
                        <a:pt x="17" y="9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7" name="Freeform 3302"/>
                <p:cNvSpPr>
                  <a:spLocks/>
                </p:cNvSpPr>
                <p:nvPr/>
              </p:nvSpPr>
              <p:spPr bwMode="auto">
                <a:xfrm>
                  <a:off x="5721" y="2449"/>
                  <a:ext cx="17" cy="74"/>
                </a:xfrm>
                <a:custGeom>
                  <a:avLst/>
                  <a:gdLst>
                    <a:gd name="T0" fmla="*/ 0 w 17"/>
                    <a:gd name="T1" fmla="*/ 74 h 74"/>
                    <a:gd name="T2" fmla="*/ 2 w 17"/>
                    <a:gd name="T3" fmla="*/ 66 h 74"/>
                    <a:gd name="T4" fmla="*/ 2 w 17"/>
                    <a:gd name="T5" fmla="*/ 57 h 74"/>
                    <a:gd name="T6" fmla="*/ 2 w 17"/>
                    <a:gd name="T7" fmla="*/ 48 h 74"/>
                    <a:gd name="T8" fmla="*/ 2 w 17"/>
                    <a:gd name="T9" fmla="*/ 39 h 74"/>
                    <a:gd name="T10" fmla="*/ 4 w 17"/>
                    <a:gd name="T11" fmla="*/ 29 h 74"/>
                    <a:gd name="T12" fmla="*/ 4 w 17"/>
                    <a:gd name="T13" fmla="*/ 20 h 74"/>
                    <a:gd name="T14" fmla="*/ 4 w 17"/>
                    <a:gd name="T15" fmla="*/ 11 h 74"/>
                    <a:gd name="T16" fmla="*/ 6 w 17"/>
                    <a:gd name="T17" fmla="*/ 2 h 74"/>
                    <a:gd name="T18" fmla="*/ 8 w 17"/>
                    <a:gd name="T19" fmla="*/ 2 h 74"/>
                    <a:gd name="T20" fmla="*/ 11 w 17"/>
                    <a:gd name="T21" fmla="*/ 0 h 74"/>
                    <a:gd name="T22" fmla="*/ 15 w 17"/>
                    <a:gd name="T23" fmla="*/ 0 h 74"/>
                    <a:gd name="T24" fmla="*/ 17 w 17"/>
                    <a:gd name="T25" fmla="*/ 0 h 74"/>
                    <a:gd name="T26" fmla="*/ 15 w 17"/>
                    <a:gd name="T27" fmla="*/ 7 h 74"/>
                    <a:gd name="T28" fmla="*/ 13 w 17"/>
                    <a:gd name="T29" fmla="*/ 17 h 74"/>
                    <a:gd name="T30" fmla="*/ 13 w 17"/>
                    <a:gd name="T31" fmla="*/ 24 h 74"/>
                    <a:gd name="T32" fmla="*/ 11 w 17"/>
                    <a:gd name="T33" fmla="*/ 33 h 74"/>
                    <a:gd name="T34" fmla="*/ 11 w 17"/>
                    <a:gd name="T35" fmla="*/ 42 h 74"/>
                    <a:gd name="T36" fmla="*/ 9 w 17"/>
                    <a:gd name="T37" fmla="*/ 52 h 74"/>
                    <a:gd name="T38" fmla="*/ 9 w 17"/>
                    <a:gd name="T39" fmla="*/ 61 h 74"/>
                    <a:gd name="T40" fmla="*/ 8 w 17"/>
                    <a:gd name="T41" fmla="*/ 68 h 74"/>
                    <a:gd name="T42" fmla="*/ 4 w 17"/>
                    <a:gd name="T43" fmla="*/ 70 h 74"/>
                    <a:gd name="T44" fmla="*/ 4 w 17"/>
                    <a:gd name="T45" fmla="*/ 70 h 74"/>
                    <a:gd name="T46" fmla="*/ 0 w 17"/>
                    <a:gd name="T47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7" h="74">
                      <a:moveTo>
                        <a:pt x="0" y="74"/>
                      </a:moveTo>
                      <a:lnTo>
                        <a:pt x="2" y="66"/>
                      </a:lnTo>
                      <a:lnTo>
                        <a:pt x="2" y="57"/>
                      </a:lnTo>
                      <a:lnTo>
                        <a:pt x="2" y="48"/>
                      </a:lnTo>
                      <a:lnTo>
                        <a:pt x="2" y="39"/>
                      </a:lnTo>
                      <a:lnTo>
                        <a:pt x="4" y="29"/>
                      </a:lnTo>
                      <a:lnTo>
                        <a:pt x="4" y="20"/>
                      </a:lnTo>
                      <a:lnTo>
                        <a:pt x="4" y="11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1" y="0"/>
                      </a:lnTo>
                      <a:lnTo>
                        <a:pt x="15" y="0"/>
                      </a:lnTo>
                      <a:lnTo>
                        <a:pt x="17" y="0"/>
                      </a:lnTo>
                      <a:lnTo>
                        <a:pt x="15" y="7"/>
                      </a:lnTo>
                      <a:lnTo>
                        <a:pt x="13" y="17"/>
                      </a:lnTo>
                      <a:lnTo>
                        <a:pt x="13" y="24"/>
                      </a:lnTo>
                      <a:lnTo>
                        <a:pt x="11" y="33"/>
                      </a:lnTo>
                      <a:lnTo>
                        <a:pt x="11" y="42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8" y="68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0" y="74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8" name="Freeform 3303"/>
                <p:cNvSpPr>
                  <a:spLocks/>
                </p:cNvSpPr>
                <p:nvPr/>
              </p:nvSpPr>
              <p:spPr bwMode="auto">
                <a:xfrm>
                  <a:off x="5721" y="2447"/>
                  <a:ext cx="19" cy="78"/>
                </a:xfrm>
                <a:custGeom>
                  <a:avLst/>
                  <a:gdLst>
                    <a:gd name="T0" fmla="*/ 19 w 19"/>
                    <a:gd name="T1" fmla="*/ 0 h 78"/>
                    <a:gd name="T2" fmla="*/ 13 w 19"/>
                    <a:gd name="T3" fmla="*/ 0 h 78"/>
                    <a:gd name="T4" fmla="*/ 11 w 19"/>
                    <a:gd name="T5" fmla="*/ 2 h 78"/>
                    <a:gd name="T6" fmla="*/ 8 w 19"/>
                    <a:gd name="T7" fmla="*/ 2 h 78"/>
                    <a:gd name="T8" fmla="*/ 4 w 19"/>
                    <a:gd name="T9" fmla="*/ 4 h 78"/>
                    <a:gd name="T10" fmla="*/ 4 w 19"/>
                    <a:gd name="T11" fmla="*/ 4 h 78"/>
                    <a:gd name="T12" fmla="*/ 4 w 19"/>
                    <a:gd name="T13" fmla="*/ 13 h 78"/>
                    <a:gd name="T14" fmla="*/ 2 w 19"/>
                    <a:gd name="T15" fmla="*/ 22 h 78"/>
                    <a:gd name="T16" fmla="*/ 2 w 19"/>
                    <a:gd name="T17" fmla="*/ 22 h 78"/>
                    <a:gd name="T18" fmla="*/ 2 w 19"/>
                    <a:gd name="T19" fmla="*/ 31 h 78"/>
                    <a:gd name="T20" fmla="*/ 2 w 19"/>
                    <a:gd name="T21" fmla="*/ 41 h 78"/>
                    <a:gd name="T22" fmla="*/ 0 w 19"/>
                    <a:gd name="T23" fmla="*/ 50 h 78"/>
                    <a:gd name="T24" fmla="*/ 0 w 19"/>
                    <a:gd name="T25" fmla="*/ 59 h 78"/>
                    <a:gd name="T26" fmla="*/ 0 w 19"/>
                    <a:gd name="T27" fmla="*/ 67 h 78"/>
                    <a:gd name="T28" fmla="*/ 0 w 19"/>
                    <a:gd name="T29" fmla="*/ 76 h 78"/>
                    <a:gd name="T30" fmla="*/ 0 w 19"/>
                    <a:gd name="T31" fmla="*/ 76 h 78"/>
                    <a:gd name="T32" fmla="*/ 0 w 19"/>
                    <a:gd name="T33" fmla="*/ 78 h 78"/>
                    <a:gd name="T34" fmla="*/ 6 w 19"/>
                    <a:gd name="T35" fmla="*/ 74 h 78"/>
                    <a:gd name="T36" fmla="*/ 9 w 19"/>
                    <a:gd name="T37" fmla="*/ 72 h 78"/>
                    <a:gd name="T38" fmla="*/ 9 w 19"/>
                    <a:gd name="T39" fmla="*/ 72 h 78"/>
                    <a:gd name="T40" fmla="*/ 11 w 19"/>
                    <a:gd name="T41" fmla="*/ 63 h 78"/>
                    <a:gd name="T42" fmla="*/ 11 w 19"/>
                    <a:gd name="T43" fmla="*/ 54 h 78"/>
                    <a:gd name="T44" fmla="*/ 13 w 19"/>
                    <a:gd name="T45" fmla="*/ 44 h 78"/>
                    <a:gd name="T46" fmla="*/ 13 w 19"/>
                    <a:gd name="T47" fmla="*/ 35 h 78"/>
                    <a:gd name="T48" fmla="*/ 15 w 19"/>
                    <a:gd name="T49" fmla="*/ 28 h 78"/>
                    <a:gd name="T50" fmla="*/ 15 w 19"/>
                    <a:gd name="T51" fmla="*/ 19 h 78"/>
                    <a:gd name="T52" fmla="*/ 17 w 19"/>
                    <a:gd name="T53" fmla="*/ 9 h 78"/>
                    <a:gd name="T54" fmla="*/ 19 w 19"/>
                    <a:gd name="T55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9" h="78">
                      <a:moveTo>
                        <a:pt x="19" y="0"/>
                      </a:moveTo>
                      <a:lnTo>
                        <a:pt x="13" y="0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13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31"/>
                      </a:lnTo>
                      <a:lnTo>
                        <a:pt x="2" y="41"/>
                      </a:lnTo>
                      <a:lnTo>
                        <a:pt x="0" y="50"/>
                      </a:lnTo>
                      <a:lnTo>
                        <a:pt x="0" y="59"/>
                      </a:lnTo>
                      <a:lnTo>
                        <a:pt x="0" y="67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8"/>
                      </a:lnTo>
                      <a:lnTo>
                        <a:pt x="6" y="74"/>
                      </a:lnTo>
                      <a:lnTo>
                        <a:pt x="9" y="72"/>
                      </a:lnTo>
                      <a:lnTo>
                        <a:pt x="9" y="72"/>
                      </a:lnTo>
                      <a:lnTo>
                        <a:pt x="11" y="63"/>
                      </a:lnTo>
                      <a:lnTo>
                        <a:pt x="11" y="54"/>
                      </a:lnTo>
                      <a:lnTo>
                        <a:pt x="13" y="44"/>
                      </a:lnTo>
                      <a:lnTo>
                        <a:pt x="13" y="35"/>
                      </a:lnTo>
                      <a:lnTo>
                        <a:pt x="15" y="28"/>
                      </a:lnTo>
                      <a:lnTo>
                        <a:pt x="15" y="19"/>
                      </a:lnTo>
                      <a:lnTo>
                        <a:pt x="17" y="9"/>
                      </a:lnTo>
                      <a:lnTo>
                        <a:pt x="19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89" name="Rectangle 3304"/>
                <p:cNvSpPr>
                  <a:spLocks noChangeArrowheads="1"/>
                </p:cNvSpPr>
                <p:nvPr/>
              </p:nvSpPr>
              <p:spPr bwMode="auto">
                <a:xfrm>
                  <a:off x="5666" y="2687"/>
                  <a:ext cx="2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0" name="Rectangle 3305"/>
                <p:cNvSpPr>
                  <a:spLocks noChangeArrowheads="1"/>
                </p:cNvSpPr>
                <p:nvPr/>
              </p:nvSpPr>
              <p:spPr bwMode="auto">
                <a:xfrm>
                  <a:off x="5666" y="2687"/>
                  <a:ext cx="2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1" name="Freeform 3306"/>
                <p:cNvSpPr>
                  <a:spLocks noEditPoints="1"/>
                </p:cNvSpPr>
                <p:nvPr/>
              </p:nvSpPr>
              <p:spPr bwMode="auto">
                <a:xfrm>
                  <a:off x="5662" y="2556"/>
                  <a:ext cx="50" cy="133"/>
                </a:xfrm>
                <a:custGeom>
                  <a:avLst/>
                  <a:gdLst>
                    <a:gd name="T0" fmla="*/ 37 w 50"/>
                    <a:gd name="T1" fmla="*/ 2 h 133"/>
                    <a:gd name="T2" fmla="*/ 48 w 50"/>
                    <a:gd name="T3" fmla="*/ 2 h 133"/>
                    <a:gd name="T4" fmla="*/ 41 w 50"/>
                    <a:gd name="T5" fmla="*/ 29 h 133"/>
                    <a:gd name="T6" fmla="*/ 35 w 50"/>
                    <a:gd name="T7" fmla="*/ 48 h 133"/>
                    <a:gd name="T8" fmla="*/ 28 w 50"/>
                    <a:gd name="T9" fmla="*/ 61 h 133"/>
                    <a:gd name="T10" fmla="*/ 17 w 50"/>
                    <a:gd name="T11" fmla="*/ 70 h 133"/>
                    <a:gd name="T12" fmla="*/ 17 w 50"/>
                    <a:gd name="T13" fmla="*/ 85 h 133"/>
                    <a:gd name="T14" fmla="*/ 15 w 50"/>
                    <a:gd name="T15" fmla="*/ 109 h 133"/>
                    <a:gd name="T16" fmla="*/ 17 w 50"/>
                    <a:gd name="T17" fmla="*/ 131 h 133"/>
                    <a:gd name="T18" fmla="*/ 9 w 50"/>
                    <a:gd name="T19" fmla="*/ 122 h 133"/>
                    <a:gd name="T20" fmla="*/ 11 w 50"/>
                    <a:gd name="T21" fmla="*/ 105 h 133"/>
                    <a:gd name="T22" fmla="*/ 9 w 50"/>
                    <a:gd name="T23" fmla="*/ 83 h 133"/>
                    <a:gd name="T24" fmla="*/ 8 w 50"/>
                    <a:gd name="T25" fmla="*/ 65 h 133"/>
                    <a:gd name="T26" fmla="*/ 17 w 50"/>
                    <a:gd name="T27" fmla="*/ 61 h 133"/>
                    <a:gd name="T28" fmla="*/ 17 w 50"/>
                    <a:gd name="T29" fmla="*/ 48 h 133"/>
                    <a:gd name="T30" fmla="*/ 13 w 50"/>
                    <a:gd name="T31" fmla="*/ 42 h 133"/>
                    <a:gd name="T32" fmla="*/ 6 w 50"/>
                    <a:gd name="T33" fmla="*/ 39 h 133"/>
                    <a:gd name="T34" fmla="*/ 15 w 50"/>
                    <a:gd name="T35" fmla="*/ 37 h 133"/>
                    <a:gd name="T36" fmla="*/ 28 w 50"/>
                    <a:gd name="T37" fmla="*/ 35 h 133"/>
                    <a:gd name="T38" fmla="*/ 33 w 50"/>
                    <a:gd name="T39" fmla="*/ 18 h 133"/>
                    <a:gd name="T40" fmla="*/ 35 w 50"/>
                    <a:gd name="T41" fmla="*/ 11 h 133"/>
                    <a:gd name="T42" fmla="*/ 33 w 50"/>
                    <a:gd name="T43" fmla="*/ 5 h 133"/>
                    <a:gd name="T44" fmla="*/ 33 w 50"/>
                    <a:gd name="T45" fmla="*/ 5 h 133"/>
                    <a:gd name="T46" fmla="*/ 50 w 50"/>
                    <a:gd name="T47" fmla="*/ 0 h 133"/>
                    <a:gd name="T48" fmla="*/ 37 w 50"/>
                    <a:gd name="T49" fmla="*/ 0 h 133"/>
                    <a:gd name="T50" fmla="*/ 32 w 50"/>
                    <a:gd name="T51" fmla="*/ 5 h 133"/>
                    <a:gd name="T52" fmla="*/ 33 w 50"/>
                    <a:gd name="T53" fmla="*/ 15 h 133"/>
                    <a:gd name="T54" fmla="*/ 30 w 50"/>
                    <a:gd name="T55" fmla="*/ 28 h 133"/>
                    <a:gd name="T56" fmla="*/ 15 w 50"/>
                    <a:gd name="T57" fmla="*/ 35 h 133"/>
                    <a:gd name="T58" fmla="*/ 0 w 50"/>
                    <a:gd name="T59" fmla="*/ 39 h 133"/>
                    <a:gd name="T60" fmla="*/ 13 w 50"/>
                    <a:gd name="T61" fmla="*/ 44 h 133"/>
                    <a:gd name="T62" fmla="*/ 15 w 50"/>
                    <a:gd name="T63" fmla="*/ 52 h 133"/>
                    <a:gd name="T64" fmla="*/ 11 w 50"/>
                    <a:gd name="T65" fmla="*/ 61 h 133"/>
                    <a:gd name="T66" fmla="*/ 8 w 50"/>
                    <a:gd name="T67" fmla="*/ 74 h 133"/>
                    <a:gd name="T68" fmla="*/ 9 w 50"/>
                    <a:gd name="T69" fmla="*/ 98 h 133"/>
                    <a:gd name="T70" fmla="*/ 8 w 50"/>
                    <a:gd name="T71" fmla="*/ 122 h 133"/>
                    <a:gd name="T72" fmla="*/ 6 w 50"/>
                    <a:gd name="T73" fmla="*/ 133 h 133"/>
                    <a:gd name="T74" fmla="*/ 17 w 50"/>
                    <a:gd name="T75" fmla="*/ 131 h 133"/>
                    <a:gd name="T76" fmla="*/ 17 w 50"/>
                    <a:gd name="T77" fmla="*/ 109 h 133"/>
                    <a:gd name="T78" fmla="*/ 17 w 50"/>
                    <a:gd name="T79" fmla="*/ 92 h 133"/>
                    <a:gd name="T80" fmla="*/ 19 w 50"/>
                    <a:gd name="T81" fmla="*/ 77 h 133"/>
                    <a:gd name="T82" fmla="*/ 22 w 50"/>
                    <a:gd name="T83" fmla="*/ 68 h 133"/>
                    <a:gd name="T84" fmla="*/ 32 w 50"/>
                    <a:gd name="T85" fmla="*/ 57 h 133"/>
                    <a:gd name="T86" fmla="*/ 37 w 50"/>
                    <a:gd name="T87" fmla="*/ 50 h 133"/>
                    <a:gd name="T88" fmla="*/ 41 w 50"/>
                    <a:gd name="T89" fmla="*/ 41 h 133"/>
                    <a:gd name="T90" fmla="*/ 46 w 50"/>
                    <a:gd name="T91" fmla="*/ 11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0" h="133">
                      <a:moveTo>
                        <a:pt x="33" y="2"/>
                      </a:moveTo>
                      <a:lnTo>
                        <a:pt x="33" y="2"/>
                      </a:lnTo>
                      <a:lnTo>
                        <a:pt x="37" y="2"/>
                      </a:lnTo>
                      <a:lnTo>
                        <a:pt x="41" y="2"/>
                      </a:lnTo>
                      <a:lnTo>
                        <a:pt x="44" y="2"/>
                      </a:lnTo>
                      <a:lnTo>
                        <a:pt x="48" y="2"/>
                      </a:lnTo>
                      <a:lnTo>
                        <a:pt x="46" y="11"/>
                      </a:lnTo>
                      <a:lnTo>
                        <a:pt x="43" y="20"/>
                      </a:lnTo>
                      <a:lnTo>
                        <a:pt x="41" y="29"/>
                      </a:lnTo>
                      <a:lnTo>
                        <a:pt x="39" y="41"/>
                      </a:lnTo>
                      <a:lnTo>
                        <a:pt x="37" y="44"/>
                      </a:lnTo>
                      <a:lnTo>
                        <a:pt x="35" y="48"/>
                      </a:lnTo>
                      <a:lnTo>
                        <a:pt x="33" y="53"/>
                      </a:lnTo>
                      <a:lnTo>
                        <a:pt x="32" y="57"/>
                      </a:lnTo>
                      <a:lnTo>
                        <a:pt x="28" y="61"/>
                      </a:lnTo>
                      <a:lnTo>
                        <a:pt x="24" y="65"/>
                      </a:lnTo>
                      <a:lnTo>
                        <a:pt x="20" y="66"/>
                      </a:lnTo>
                      <a:lnTo>
                        <a:pt x="17" y="70"/>
                      </a:lnTo>
                      <a:lnTo>
                        <a:pt x="17" y="70"/>
                      </a:lnTo>
                      <a:lnTo>
                        <a:pt x="17" y="77"/>
                      </a:lnTo>
                      <a:lnTo>
                        <a:pt x="17" y="85"/>
                      </a:lnTo>
                      <a:lnTo>
                        <a:pt x="17" y="92"/>
                      </a:lnTo>
                      <a:lnTo>
                        <a:pt x="17" y="100"/>
                      </a:lnTo>
                      <a:lnTo>
                        <a:pt x="15" y="109"/>
                      </a:lnTo>
                      <a:lnTo>
                        <a:pt x="15" y="116"/>
                      </a:lnTo>
                      <a:lnTo>
                        <a:pt x="17" y="124"/>
                      </a:lnTo>
                      <a:lnTo>
                        <a:pt x="17" y="131"/>
                      </a:lnTo>
                      <a:lnTo>
                        <a:pt x="11" y="131"/>
                      </a:lnTo>
                      <a:lnTo>
                        <a:pt x="6" y="131"/>
                      </a:lnTo>
                      <a:lnTo>
                        <a:pt x="9" y="122"/>
                      </a:lnTo>
                      <a:lnTo>
                        <a:pt x="11" y="114"/>
                      </a:lnTo>
                      <a:lnTo>
                        <a:pt x="11" y="105"/>
                      </a:lnTo>
                      <a:lnTo>
                        <a:pt x="11" y="105"/>
                      </a:lnTo>
                      <a:lnTo>
                        <a:pt x="11" y="98"/>
                      </a:lnTo>
                      <a:lnTo>
                        <a:pt x="11" y="90"/>
                      </a:lnTo>
                      <a:lnTo>
                        <a:pt x="9" y="83"/>
                      </a:lnTo>
                      <a:lnTo>
                        <a:pt x="9" y="83"/>
                      </a:lnTo>
                      <a:lnTo>
                        <a:pt x="9" y="74"/>
                      </a:lnTo>
                      <a:lnTo>
                        <a:pt x="8" y="65"/>
                      </a:lnTo>
                      <a:lnTo>
                        <a:pt x="11" y="63"/>
                      </a:lnTo>
                      <a:lnTo>
                        <a:pt x="17" y="61"/>
                      </a:lnTo>
                      <a:lnTo>
                        <a:pt x="17" y="61"/>
                      </a:lnTo>
                      <a:lnTo>
                        <a:pt x="17" y="57"/>
                      </a:lnTo>
                      <a:lnTo>
                        <a:pt x="17" y="52"/>
                      </a:lnTo>
                      <a:lnTo>
                        <a:pt x="17" y="48"/>
                      </a:lnTo>
                      <a:lnTo>
                        <a:pt x="17" y="44"/>
                      </a:lnTo>
                      <a:lnTo>
                        <a:pt x="17" y="44"/>
                      </a:lnTo>
                      <a:lnTo>
                        <a:pt x="13" y="42"/>
                      </a:lnTo>
                      <a:lnTo>
                        <a:pt x="9" y="41"/>
                      </a:lnTo>
                      <a:lnTo>
                        <a:pt x="6" y="39"/>
                      </a:lnTo>
                      <a:lnTo>
                        <a:pt x="6" y="39"/>
                      </a:lnTo>
                      <a:lnTo>
                        <a:pt x="6" y="39"/>
                      </a:lnTo>
                      <a:lnTo>
                        <a:pt x="9" y="39"/>
                      </a:lnTo>
                      <a:lnTo>
                        <a:pt x="15" y="37"/>
                      </a:lnTo>
                      <a:lnTo>
                        <a:pt x="22" y="35"/>
                      </a:lnTo>
                      <a:lnTo>
                        <a:pt x="28" y="35"/>
                      </a:lnTo>
                      <a:lnTo>
                        <a:pt x="28" y="35"/>
                      </a:lnTo>
                      <a:lnTo>
                        <a:pt x="32" y="28"/>
                      </a:lnTo>
                      <a:lnTo>
                        <a:pt x="33" y="22"/>
                      </a:lnTo>
                      <a:lnTo>
                        <a:pt x="33" y="18"/>
                      </a:lnTo>
                      <a:lnTo>
                        <a:pt x="35" y="15"/>
                      </a:lnTo>
                      <a:lnTo>
                        <a:pt x="35" y="15"/>
                      </a:lnTo>
                      <a:lnTo>
                        <a:pt x="35" y="11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3" y="5"/>
                      </a:lnTo>
                      <a:lnTo>
                        <a:pt x="33" y="5"/>
                      </a:lnTo>
                      <a:lnTo>
                        <a:pt x="33" y="5"/>
                      </a:lnTo>
                      <a:lnTo>
                        <a:pt x="33" y="5"/>
                      </a:lnTo>
                      <a:lnTo>
                        <a:pt x="33" y="5"/>
                      </a:lnTo>
                      <a:lnTo>
                        <a:pt x="33" y="2"/>
                      </a:lnTo>
                      <a:close/>
                      <a:moveTo>
                        <a:pt x="50" y="0"/>
                      </a:moveTo>
                      <a:lnTo>
                        <a:pt x="44" y="0"/>
                      </a:lnTo>
                      <a:lnTo>
                        <a:pt x="41" y="0"/>
                      </a:lnTo>
                      <a:lnTo>
                        <a:pt x="37" y="0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2" y="5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5"/>
                      </a:lnTo>
                      <a:lnTo>
                        <a:pt x="32" y="18"/>
                      </a:lnTo>
                      <a:lnTo>
                        <a:pt x="32" y="22"/>
                      </a:lnTo>
                      <a:lnTo>
                        <a:pt x="30" y="28"/>
                      </a:lnTo>
                      <a:lnTo>
                        <a:pt x="28" y="33"/>
                      </a:lnTo>
                      <a:lnTo>
                        <a:pt x="22" y="35"/>
                      </a:lnTo>
                      <a:lnTo>
                        <a:pt x="15" y="35"/>
                      </a:lnTo>
                      <a:lnTo>
                        <a:pt x="9" y="37"/>
                      </a:lnTo>
                      <a:lnTo>
                        <a:pt x="2" y="39"/>
                      </a:lnTo>
                      <a:lnTo>
                        <a:pt x="0" y="39"/>
                      </a:lnTo>
                      <a:lnTo>
                        <a:pt x="6" y="41"/>
                      </a:lnTo>
                      <a:lnTo>
                        <a:pt x="9" y="42"/>
                      </a:lnTo>
                      <a:lnTo>
                        <a:pt x="13" y="44"/>
                      </a:lnTo>
                      <a:lnTo>
                        <a:pt x="15" y="44"/>
                      </a:lnTo>
                      <a:lnTo>
                        <a:pt x="15" y="48"/>
                      </a:lnTo>
                      <a:lnTo>
                        <a:pt x="15" y="52"/>
                      </a:lnTo>
                      <a:lnTo>
                        <a:pt x="15" y="57"/>
                      </a:lnTo>
                      <a:lnTo>
                        <a:pt x="15" y="61"/>
                      </a:lnTo>
                      <a:lnTo>
                        <a:pt x="11" y="61"/>
                      </a:lnTo>
                      <a:lnTo>
                        <a:pt x="6" y="63"/>
                      </a:lnTo>
                      <a:lnTo>
                        <a:pt x="6" y="65"/>
                      </a:lnTo>
                      <a:lnTo>
                        <a:pt x="8" y="74"/>
                      </a:lnTo>
                      <a:lnTo>
                        <a:pt x="9" y="83"/>
                      </a:lnTo>
                      <a:lnTo>
                        <a:pt x="9" y="90"/>
                      </a:lnTo>
                      <a:lnTo>
                        <a:pt x="9" y="98"/>
                      </a:lnTo>
                      <a:lnTo>
                        <a:pt x="9" y="105"/>
                      </a:lnTo>
                      <a:lnTo>
                        <a:pt x="9" y="114"/>
                      </a:lnTo>
                      <a:lnTo>
                        <a:pt x="8" y="122"/>
                      </a:lnTo>
                      <a:lnTo>
                        <a:pt x="4" y="131"/>
                      </a:lnTo>
                      <a:lnTo>
                        <a:pt x="6" y="131"/>
                      </a:lnTo>
                      <a:lnTo>
                        <a:pt x="6" y="133"/>
                      </a:lnTo>
                      <a:lnTo>
                        <a:pt x="11" y="131"/>
                      </a:lnTo>
                      <a:lnTo>
                        <a:pt x="17" y="131"/>
                      </a:lnTo>
                      <a:lnTo>
                        <a:pt x="17" y="131"/>
                      </a:lnTo>
                      <a:lnTo>
                        <a:pt x="17" y="124"/>
                      </a:lnTo>
                      <a:lnTo>
                        <a:pt x="17" y="116"/>
                      </a:lnTo>
                      <a:lnTo>
                        <a:pt x="17" y="109"/>
                      </a:lnTo>
                      <a:lnTo>
                        <a:pt x="17" y="101"/>
                      </a:lnTo>
                      <a:lnTo>
                        <a:pt x="17" y="100"/>
                      </a:lnTo>
                      <a:lnTo>
                        <a:pt x="17" y="92"/>
                      </a:lnTo>
                      <a:lnTo>
                        <a:pt x="19" y="85"/>
                      </a:lnTo>
                      <a:lnTo>
                        <a:pt x="19" y="85"/>
                      </a:lnTo>
                      <a:lnTo>
                        <a:pt x="19" y="77"/>
                      </a:lnTo>
                      <a:lnTo>
                        <a:pt x="19" y="70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6" y="65"/>
                      </a:lnTo>
                      <a:lnTo>
                        <a:pt x="28" y="61"/>
                      </a:lnTo>
                      <a:lnTo>
                        <a:pt x="32" y="57"/>
                      </a:lnTo>
                      <a:lnTo>
                        <a:pt x="32" y="57"/>
                      </a:lnTo>
                      <a:lnTo>
                        <a:pt x="33" y="53"/>
                      </a:lnTo>
                      <a:lnTo>
                        <a:pt x="37" y="50"/>
                      </a:lnTo>
                      <a:lnTo>
                        <a:pt x="37" y="50"/>
                      </a:lnTo>
                      <a:lnTo>
                        <a:pt x="39" y="44"/>
                      </a:lnTo>
                      <a:lnTo>
                        <a:pt x="41" y="41"/>
                      </a:lnTo>
                      <a:lnTo>
                        <a:pt x="43" y="31"/>
                      </a:lnTo>
                      <a:lnTo>
                        <a:pt x="44" y="20"/>
                      </a:lnTo>
                      <a:lnTo>
                        <a:pt x="46" y="11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2" name="Freeform 3307"/>
                <p:cNvSpPr>
                  <a:spLocks/>
                </p:cNvSpPr>
                <p:nvPr/>
              </p:nvSpPr>
              <p:spPr bwMode="auto">
                <a:xfrm>
                  <a:off x="5668" y="2558"/>
                  <a:ext cx="42" cy="129"/>
                </a:xfrm>
                <a:custGeom>
                  <a:avLst/>
                  <a:gdLst>
                    <a:gd name="T0" fmla="*/ 27 w 42"/>
                    <a:gd name="T1" fmla="*/ 0 h 129"/>
                    <a:gd name="T2" fmla="*/ 35 w 42"/>
                    <a:gd name="T3" fmla="*/ 0 h 129"/>
                    <a:gd name="T4" fmla="*/ 42 w 42"/>
                    <a:gd name="T5" fmla="*/ 0 h 129"/>
                    <a:gd name="T6" fmla="*/ 37 w 42"/>
                    <a:gd name="T7" fmla="*/ 18 h 129"/>
                    <a:gd name="T8" fmla="*/ 33 w 42"/>
                    <a:gd name="T9" fmla="*/ 39 h 129"/>
                    <a:gd name="T10" fmla="*/ 29 w 42"/>
                    <a:gd name="T11" fmla="*/ 46 h 129"/>
                    <a:gd name="T12" fmla="*/ 26 w 42"/>
                    <a:gd name="T13" fmla="*/ 55 h 129"/>
                    <a:gd name="T14" fmla="*/ 18 w 42"/>
                    <a:gd name="T15" fmla="*/ 63 h 129"/>
                    <a:gd name="T16" fmla="*/ 11 w 42"/>
                    <a:gd name="T17" fmla="*/ 68 h 129"/>
                    <a:gd name="T18" fmla="*/ 11 w 42"/>
                    <a:gd name="T19" fmla="*/ 75 h 129"/>
                    <a:gd name="T20" fmla="*/ 11 w 42"/>
                    <a:gd name="T21" fmla="*/ 90 h 129"/>
                    <a:gd name="T22" fmla="*/ 9 w 42"/>
                    <a:gd name="T23" fmla="*/ 107 h 129"/>
                    <a:gd name="T24" fmla="*/ 11 w 42"/>
                    <a:gd name="T25" fmla="*/ 122 h 129"/>
                    <a:gd name="T26" fmla="*/ 5 w 42"/>
                    <a:gd name="T27" fmla="*/ 129 h 129"/>
                    <a:gd name="T28" fmla="*/ 3 w 42"/>
                    <a:gd name="T29" fmla="*/ 120 h 129"/>
                    <a:gd name="T30" fmla="*/ 5 w 42"/>
                    <a:gd name="T31" fmla="*/ 103 h 129"/>
                    <a:gd name="T32" fmla="*/ 5 w 42"/>
                    <a:gd name="T33" fmla="*/ 96 h 129"/>
                    <a:gd name="T34" fmla="*/ 3 w 42"/>
                    <a:gd name="T35" fmla="*/ 81 h 129"/>
                    <a:gd name="T36" fmla="*/ 3 w 42"/>
                    <a:gd name="T37" fmla="*/ 72 h 129"/>
                    <a:gd name="T38" fmla="*/ 5 w 42"/>
                    <a:gd name="T39" fmla="*/ 61 h 129"/>
                    <a:gd name="T40" fmla="*/ 11 w 42"/>
                    <a:gd name="T41" fmla="*/ 59 h 129"/>
                    <a:gd name="T42" fmla="*/ 11 w 42"/>
                    <a:gd name="T43" fmla="*/ 50 h 129"/>
                    <a:gd name="T44" fmla="*/ 11 w 42"/>
                    <a:gd name="T45" fmla="*/ 42 h 129"/>
                    <a:gd name="T46" fmla="*/ 7 w 42"/>
                    <a:gd name="T47" fmla="*/ 40 h 129"/>
                    <a:gd name="T48" fmla="*/ 0 w 42"/>
                    <a:gd name="T49" fmla="*/ 37 h 129"/>
                    <a:gd name="T50" fmla="*/ 0 w 42"/>
                    <a:gd name="T51" fmla="*/ 37 h 129"/>
                    <a:gd name="T52" fmla="*/ 9 w 42"/>
                    <a:gd name="T53" fmla="*/ 35 h 129"/>
                    <a:gd name="T54" fmla="*/ 22 w 42"/>
                    <a:gd name="T55" fmla="*/ 33 h 129"/>
                    <a:gd name="T56" fmla="*/ 26 w 42"/>
                    <a:gd name="T57" fmla="*/ 26 h 129"/>
                    <a:gd name="T58" fmla="*/ 27 w 42"/>
                    <a:gd name="T59" fmla="*/ 16 h 129"/>
                    <a:gd name="T60" fmla="*/ 29 w 42"/>
                    <a:gd name="T61" fmla="*/ 13 h 129"/>
                    <a:gd name="T62" fmla="*/ 29 w 42"/>
                    <a:gd name="T63" fmla="*/ 7 h 129"/>
                    <a:gd name="T64" fmla="*/ 27 w 42"/>
                    <a:gd name="T65" fmla="*/ 3 h 129"/>
                    <a:gd name="T66" fmla="*/ 27 w 42"/>
                    <a:gd name="T67" fmla="*/ 3 h 129"/>
                    <a:gd name="T68" fmla="*/ 27 w 42"/>
                    <a:gd name="T69" fmla="*/ 3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2" h="129">
                      <a:moveTo>
                        <a:pt x="27" y="0"/>
                      </a:moveTo>
                      <a:lnTo>
                        <a:pt x="27" y="0"/>
                      </a:lnTo>
                      <a:lnTo>
                        <a:pt x="31" y="0"/>
                      </a:lnTo>
                      <a:lnTo>
                        <a:pt x="35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0" y="9"/>
                      </a:lnTo>
                      <a:lnTo>
                        <a:pt x="37" y="18"/>
                      </a:lnTo>
                      <a:lnTo>
                        <a:pt x="35" y="27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9" y="46"/>
                      </a:lnTo>
                      <a:lnTo>
                        <a:pt x="27" y="51"/>
                      </a:lnTo>
                      <a:lnTo>
                        <a:pt x="26" y="55"/>
                      </a:lnTo>
                      <a:lnTo>
                        <a:pt x="22" y="59"/>
                      </a:lnTo>
                      <a:lnTo>
                        <a:pt x="18" y="63"/>
                      </a:lnTo>
                      <a:lnTo>
                        <a:pt x="14" y="64"/>
                      </a:lnTo>
                      <a:lnTo>
                        <a:pt x="11" y="68"/>
                      </a:lnTo>
                      <a:lnTo>
                        <a:pt x="11" y="68"/>
                      </a:lnTo>
                      <a:lnTo>
                        <a:pt x="11" y="75"/>
                      </a:lnTo>
                      <a:lnTo>
                        <a:pt x="11" y="83"/>
                      </a:lnTo>
                      <a:lnTo>
                        <a:pt x="11" y="90"/>
                      </a:lnTo>
                      <a:lnTo>
                        <a:pt x="11" y="98"/>
                      </a:lnTo>
                      <a:lnTo>
                        <a:pt x="9" y="107"/>
                      </a:lnTo>
                      <a:lnTo>
                        <a:pt x="9" y="114"/>
                      </a:lnTo>
                      <a:lnTo>
                        <a:pt x="11" y="122"/>
                      </a:lnTo>
                      <a:lnTo>
                        <a:pt x="11" y="129"/>
                      </a:lnTo>
                      <a:lnTo>
                        <a:pt x="5" y="129"/>
                      </a:lnTo>
                      <a:lnTo>
                        <a:pt x="0" y="129"/>
                      </a:lnTo>
                      <a:lnTo>
                        <a:pt x="3" y="120"/>
                      </a:lnTo>
                      <a:lnTo>
                        <a:pt x="5" y="112"/>
                      </a:lnTo>
                      <a:lnTo>
                        <a:pt x="5" y="103"/>
                      </a:lnTo>
                      <a:lnTo>
                        <a:pt x="5" y="103"/>
                      </a:lnTo>
                      <a:lnTo>
                        <a:pt x="5" y="96"/>
                      </a:lnTo>
                      <a:lnTo>
                        <a:pt x="5" y="88"/>
                      </a:lnTo>
                      <a:lnTo>
                        <a:pt x="3" y="81"/>
                      </a:lnTo>
                      <a:lnTo>
                        <a:pt x="3" y="81"/>
                      </a:lnTo>
                      <a:lnTo>
                        <a:pt x="3" y="72"/>
                      </a:lnTo>
                      <a:lnTo>
                        <a:pt x="2" y="63"/>
                      </a:lnTo>
                      <a:lnTo>
                        <a:pt x="5" y="61"/>
                      </a:lnTo>
                      <a:lnTo>
                        <a:pt x="11" y="59"/>
                      </a:lnTo>
                      <a:lnTo>
                        <a:pt x="11" y="59"/>
                      </a:lnTo>
                      <a:lnTo>
                        <a:pt x="11" y="55"/>
                      </a:lnTo>
                      <a:lnTo>
                        <a:pt x="11" y="50"/>
                      </a:lnTo>
                      <a:lnTo>
                        <a:pt x="11" y="46"/>
                      </a:lnTo>
                      <a:lnTo>
                        <a:pt x="11" y="42"/>
                      </a:lnTo>
                      <a:lnTo>
                        <a:pt x="11" y="42"/>
                      </a:lnTo>
                      <a:lnTo>
                        <a:pt x="7" y="40"/>
                      </a:lnTo>
                      <a:lnTo>
                        <a:pt x="3" y="39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3" y="37"/>
                      </a:lnTo>
                      <a:lnTo>
                        <a:pt x="9" y="35"/>
                      </a:lnTo>
                      <a:lnTo>
                        <a:pt x="16" y="33"/>
                      </a:lnTo>
                      <a:lnTo>
                        <a:pt x="22" y="33"/>
                      </a:lnTo>
                      <a:lnTo>
                        <a:pt x="22" y="33"/>
                      </a:lnTo>
                      <a:lnTo>
                        <a:pt x="26" y="26"/>
                      </a:lnTo>
                      <a:lnTo>
                        <a:pt x="27" y="20"/>
                      </a:lnTo>
                      <a:lnTo>
                        <a:pt x="27" y="16"/>
                      </a:lnTo>
                      <a:lnTo>
                        <a:pt x="29" y="13"/>
                      </a:lnTo>
                      <a:lnTo>
                        <a:pt x="29" y="13"/>
                      </a:lnTo>
                      <a:lnTo>
                        <a:pt x="29" y="9"/>
                      </a:lnTo>
                      <a:lnTo>
                        <a:pt x="29" y="7"/>
                      </a:lnTo>
                      <a:lnTo>
                        <a:pt x="29" y="7"/>
                      </a:lnTo>
                      <a:lnTo>
                        <a:pt x="27" y="3"/>
                      </a:lnTo>
                      <a:lnTo>
                        <a:pt x="27" y="3"/>
                      </a:lnTo>
                      <a:lnTo>
                        <a:pt x="27" y="3"/>
                      </a:lnTo>
                      <a:lnTo>
                        <a:pt x="27" y="3"/>
                      </a:lnTo>
                      <a:lnTo>
                        <a:pt x="27" y="3"/>
                      </a:lnTo>
                      <a:lnTo>
                        <a:pt x="27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3" name="Freeform 3308"/>
                <p:cNvSpPr>
                  <a:spLocks/>
                </p:cNvSpPr>
                <p:nvPr/>
              </p:nvSpPr>
              <p:spPr bwMode="auto">
                <a:xfrm>
                  <a:off x="5662" y="2556"/>
                  <a:ext cx="50" cy="133"/>
                </a:xfrm>
                <a:custGeom>
                  <a:avLst/>
                  <a:gdLst>
                    <a:gd name="T0" fmla="*/ 44 w 50"/>
                    <a:gd name="T1" fmla="*/ 0 h 133"/>
                    <a:gd name="T2" fmla="*/ 37 w 50"/>
                    <a:gd name="T3" fmla="*/ 0 h 133"/>
                    <a:gd name="T4" fmla="*/ 32 w 50"/>
                    <a:gd name="T5" fmla="*/ 0 h 133"/>
                    <a:gd name="T6" fmla="*/ 33 w 50"/>
                    <a:gd name="T7" fmla="*/ 9 h 133"/>
                    <a:gd name="T8" fmla="*/ 33 w 50"/>
                    <a:gd name="T9" fmla="*/ 15 h 133"/>
                    <a:gd name="T10" fmla="*/ 32 w 50"/>
                    <a:gd name="T11" fmla="*/ 22 h 133"/>
                    <a:gd name="T12" fmla="*/ 28 w 50"/>
                    <a:gd name="T13" fmla="*/ 33 h 133"/>
                    <a:gd name="T14" fmla="*/ 15 w 50"/>
                    <a:gd name="T15" fmla="*/ 35 h 133"/>
                    <a:gd name="T16" fmla="*/ 2 w 50"/>
                    <a:gd name="T17" fmla="*/ 39 h 133"/>
                    <a:gd name="T18" fmla="*/ 6 w 50"/>
                    <a:gd name="T19" fmla="*/ 41 h 133"/>
                    <a:gd name="T20" fmla="*/ 13 w 50"/>
                    <a:gd name="T21" fmla="*/ 44 h 133"/>
                    <a:gd name="T22" fmla="*/ 15 w 50"/>
                    <a:gd name="T23" fmla="*/ 48 h 133"/>
                    <a:gd name="T24" fmla="*/ 15 w 50"/>
                    <a:gd name="T25" fmla="*/ 57 h 133"/>
                    <a:gd name="T26" fmla="*/ 11 w 50"/>
                    <a:gd name="T27" fmla="*/ 61 h 133"/>
                    <a:gd name="T28" fmla="*/ 6 w 50"/>
                    <a:gd name="T29" fmla="*/ 65 h 133"/>
                    <a:gd name="T30" fmla="*/ 9 w 50"/>
                    <a:gd name="T31" fmla="*/ 83 h 133"/>
                    <a:gd name="T32" fmla="*/ 9 w 50"/>
                    <a:gd name="T33" fmla="*/ 98 h 133"/>
                    <a:gd name="T34" fmla="*/ 9 w 50"/>
                    <a:gd name="T35" fmla="*/ 114 h 133"/>
                    <a:gd name="T36" fmla="*/ 4 w 50"/>
                    <a:gd name="T37" fmla="*/ 131 h 133"/>
                    <a:gd name="T38" fmla="*/ 6 w 50"/>
                    <a:gd name="T39" fmla="*/ 133 h 133"/>
                    <a:gd name="T40" fmla="*/ 17 w 50"/>
                    <a:gd name="T41" fmla="*/ 131 h 133"/>
                    <a:gd name="T42" fmla="*/ 17 w 50"/>
                    <a:gd name="T43" fmla="*/ 124 h 133"/>
                    <a:gd name="T44" fmla="*/ 17 w 50"/>
                    <a:gd name="T45" fmla="*/ 109 h 133"/>
                    <a:gd name="T46" fmla="*/ 17 w 50"/>
                    <a:gd name="T47" fmla="*/ 100 h 133"/>
                    <a:gd name="T48" fmla="*/ 19 w 50"/>
                    <a:gd name="T49" fmla="*/ 85 h 133"/>
                    <a:gd name="T50" fmla="*/ 19 w 50"/>
                    <a:gd name="T51" fmla="*/ 77 h 133"/>
                    <a:gd name="T52" fmla="*/ 22 w 50"/>
                    <a:gd name="T53" fmla="*/ 68 h 133"/>
                    <a:gd name="T54" fmla="*/ 26 w 50"/>
                    <a:gd name="T55" fmla="*/ 65 h 133"/>
                    <a:gd name="T56" fmla="*/ 32 w 50"/>
                    <a:gd name="T57" fmla="*/ 57 h 133"/>
                    <a:gd name="T58" fmla="*/ 33 w 50"/>
                    <a:gd name="T59" fmla="*/ 53 h 133"/>
                    <a:gd name="T60" fmla="*/ 37 w 50"/>
                    <a:gd name="T61" fmla="*/ 50 h 133"/>
                    <a:gd name="T62" fmla="*/ 41 w 50"/>
                    <a:gd name="T63" fmla="*/ 41 h 133"/>
                    <a:gd name="T64" fmla="*/ 44 w 50"/>
                    <a:gd name="T65" fmla="*/ 20 h 133"/>
                    <a:gd name="T66" fmla="*/ 50 w 50"/>
                    <a:gd name="T67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" h="133">
                      <a:moveTo>
                        <a:pt x="50" y="0"/>
                      </a:moveTo>
                      <a:lnTo>
                        <a:pt x="44" y="0"/>
                      </a:lnTo>
                      <a:lnTo>
                        <a:pt x="41" y="0"/>
                      </a:lnTo>
                      <a:lnTo>
                        <a:pt x="37" y="0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2" y="5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5"/>
                      </a:lnTo>
                      <a:lnTo>
                        <a:pt x="32" y="18"/>
                      </a:lnTo>
                      <a:lnTo>
                        <a:pt x="32" y="22"/>
                      </a:lnTo>
                      <a:lnTo>
                        <a:pt x="30" y="28"/>
                      </a:lnTo>
                      <a:lnTo>
                        <a:pt x="28" y="33"/>
                      </a:lnTo>
                      <a:lnTo>
                        <a:pt x="22" y="35"/>
                      </a:lnTo>
                      <a:lnTo>
                        <a:pt x="15" y="35"/>
                      </a:lnTo>
                      <a:lnTo>
                        <a:pt x="9" y="37"/>
                      </a:lnTo>
                      <a:lnTo>
                        <a:pt x="2" y="39"/>
                      </a:lnTo>
                      <a:lnTo>
                        <a:pt x="0" y="39"/>
                      </a:lnTo>
                      <a:lnTo>
                        <a:pt x="6" y="41"/>
                      </a:lnTo>
                      <a:lnTo>
                        <a:pt x="9" y="42"/>
                      </a:lnTo>
                      <a:lnTo>
                        <a:pt x="13" y="44"/>
                      </a:lnTo>
                      <a:lnTo>
                        <a:pt x="15" y="44"/>
                      </a:lnTo>
                      <a:lnTo>
                        <a:pt x="15" y="48"/>
                      </a:lnTo>
                      <a:lnTo>
                        <a:pt x="15" y="52"/>
                      </a:lnTo>
                      <a:lnTo>
                        <a:pt x="15" y="57"/>
                      </a:lnTo>
                      <a:lnTo>
                        <a:pt x="15" y="61"/>
                      </a:lnTo>
                      <a:lnTo>
                        <a:pt x="11" y="61"/>
                      </a:lnTo>
                      <a:lnTo>
                        <a:pt x="6" y="63"/>
                      </a:lnTo>
                      <a:lnTo>
                        <a:pt x="6" y="65"/>
                      </a:lnTo>
                      <a:lnTo>
                        <a:pt x="8" y="74"/>
                      </a:lnTo>
                      <a:lnTo>
                        <a:pt x="9" y="83"/>
                      </a:lnTo>
                      <a:lnTo>
                        <a:pt x="9" y="90"/>
                      </a:lnTo>
                      <a:lnTo>
                        <a:pt x="9" y="98"/>
                      </a:lnTo>
                      <a:lnTo>
                        <a:pt x="9" y="105"/>
                      </a:lnTo>
                      <a:lnTo>
                        <a:pt x="9" y="114"/>
                      </a:lnTo>
                      <a:lnTo>
                        <a:pt x="8" y="122"/>
                      </a:lnTo>
                      <a:lnTo>
                        <a:pt x="4" y="131"/>
                      </a:lnTo>
                      <a:lnTo>
                        <a:pt x="6" y="131"/>
                      </a:lnTo>
                      <a:lnTo>
                        <a:pt x="6" y="133"/>
                      </a:lnTo>
                      <a:lnTo>
                        <a:pt x="11" y="131"/>
                      </a:lnTo>
                      <a:lnTo>
                        <a:pt x="17" y="131"/>
                      </a:lnTo>
                      <a:lnTo>
                        <a:pt x="17" y="131"/>
                      </a:lnTo>
                      <a:lnTo>
                        <a:pt x="17" y="124"/>
                      </a:lnTo>
                      <a:lnTo>
                        <a:pt x="17" y="116"/>
                      </a:lnTo>
                      <a:lnTo>
                        <a:pt x="17" y="109"/>
                      </a:lnTo>
                      <a:lnTo>
                        <a:pt x="17" y="101"/>
                      </a:lnTo>
                      <a:lnTo>
                        <a:pt x="17" y="100"/>
                      </a:lnTo>
                      <a:lnTo>
                        <a:pt x="17" y="92"/>
                      </a:lnTo>
                      <a:lnTo>
                        <a:pt x="19" y="85"/>
                      </a:lnTo>
                      <a:lnTo>
                        <a:pt x="19" y="85"/>
                      </a:lnTo>
                      <a:lnTo>
                        <a:pt x="19" y="77"/>
                      </a:lnTo>
                      <a:lnTo>
                        <a:pt x="19" y="70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6" y="65"/>
                      </a:lnTo>
                      <a:lnTo>
                        <a:pt x="28" y="61"/>
                      </a:lnTo>
                      <a:lnTo>
                        <a:pt x="32" y="57"/>
                      </a:lnTo>
                      <a:lnTo>
                        <a:pt x="32" y="57"/>
                      </a:lnTo>
                      <a:lnTo>
                        <a:pt x="33" y="53"/>
                      </a:lnTo>
                      <a:lnTo>
                        <a:pt x="37" y="50"/>
                      </a:lnTo>
                      <a:lnTo>
                        <a:pt x="37" y="50"/>
                      </a:lnTo>
                      <a:lnTo>
                        <a:pt x="39" y="44"/>
                      </a:lnTo>
                      <a:lnTo>
                        <a:pt x="41" y="41"/>
                      </a:lnTo>
                      <a:lnTo>
                        <a:pt x="43" y="31"/>
                      </a:lnTo>
                      <a:lnTo>
                        <a:pt x="44" y="20"/>
                      </a:lnTo>
                      <a:lnTo>
                        <a:pt x="46" y="11"/>
                      </a:lnTo>
                      <a:lnTo>
                        <a:pt x="50" y="0"/>
                      </a:lnTo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4" name="Freeform 3309"/>
                <p:cNvSpPr>
                  <a:spLocks noEditPoints="1"/>
                </p:cNvSpPr>
                <p:nvPr/>
              </p:nvSpPr>
              <p:spPr bwMode="auto">
                <a:xfrm>
                  <a:off x="5635" y="2705"/>
                  <a:ext cx="25" cy="78"/>
                </a:xfrm>
                <a:custGeom>
                  <a:avLst/>
                  <a:gdLst>
                    <a:gd name="T0" fmla="*/ 20 w 25"/>
                    <a:gd name="T1" fmla="*/ 6 h 78"/>
                    <a:gd name="T2" fmla="*/ 20 w 25"/>
                    <a:gd name="T3" fmla="*/ 4 h 78"/>
                    <a:gd name="T4" fmla="*/ 23 w 25"/>
                    <a:gd name="T5" fmla="*/ 4 h 78"/>
                    <a:gd name="T6" fmla="*/ 22 w 25"/>
                    <a:gd name="T7" fmla="*/ 4 h 78"/>
                    <a:gd name="T8" fmla="*/ 22 w 25"/>
                    <a:gd name="T9" fmla="*/ 6 h 78"/>
                    <a:gd name="T10" fmla="*/ 16 w 25"/>
                    <a:gd name="T11" fmla="*/ 30 h 78"/>
                    <a:gd name="T12" fmla="*/ 12 w 25"/>
                    <a:gd name="T13" fmla="*/ 52 h 78"/>
                    <a:gd name="T14" fmla="*/ 11 w 25"/>
                    <a:gd name="T15" fmla="*/ 71 h 78"/>
                    <a:gd name="T16" fmla="*/ 9 w 25"/>
                    <a:gd name="T17" fmla="*/ 76 h 78"/>
                    <a:gd name="T18" fmla="*/ 9 w 25"/>
                    <a:gd name="T19" fmla="*/ 72 h 78"/>
                    <a:gd name="T20" fmla="*/ 7 w 25"/>
                    <a:gd name="T21" fmla="*/ 54 h 78"/>
                    <a:gd name="T22" fmla="*/ 5 w 25"/>
                    <a:gd name="T23" fmla="*/ 35 h 78"/>
                    <a:gd name="T24" fmla="*/ 3 w 25"/>
                    <a:gd name="T25" fmla="*/ 17 h 78"/>
                    <a:gd name="T26" fmla="*/ 3 w 25"/>
                    <a:gd name="T27" fmla="*/ 17 h 78"/>
                    <a:gd name="T28" fmla="*/ 5 w 25"/>
                    <a:gd name="T29" fmla="*/ 35 h 78"/>
                    <a:gd name="T30" fmla="*/ 7 w 25"/>
                    <a:gd name="T31" fmla="*/ 54 h 78"/>
                    <a:gd name="T32" fmla="*/ 9 w 25"/>
                    <a:gd name="T33" fmla="*/ 72 h 78"/>
                    <a:gd name="T34" fmla="*/ 9 w 25"/>
                    <a:gd name="T35" fmla="*/ 76 h 78"/>
                    <a:gd name="T36" fmla="*/ 11 w 25"/>
                    <a:gd name="T37" fmla="*/ 71 h 78"/>
                    <a:gd name="T38" fmla="*/ 12 w 25"/>
                    <a:gd name="T39" fmla="*/ 52 h 78"/>
                    <a:gd name="T40" fmla="*/ 16 w 25"/>
                    <a:gd name="T41" fmla="*/ 30 h 78"/>
                    <a:gd name="T42" fmla="*/ 22 w 25"/>
                    <a:gd name="T43" fmla="*/ 6 h 78"/>
                    <a:gd name="T44" fmla="*/ 22 w 25"/>
                    <a:gd name="T45" fmla="*/ 4 h 78"/>
                    <a:gd name="T46" fmla="*/ 23 w 25"/>
                    <a:gd name="T47" fmla="*/ 4 h 78"/>
                    <a:gd name="T48" fmla="*/ 20 w 25"/>
                    <a:gd name="T49" fmla="*/ 2 h 78"/>
                    <a:gd name="T50" fmla="*/ 18 w 25"/>
                    <a:gd name="T51" fmla="*/ 4 h 78"/>
                    <a:gd name="T52" fmla="*/ 11 w 25"/>
                    <a:gd name="T53" fmla="*/ 6 h 78"/>
                    <a:gd name="T54" fmla="*/ 1 w 25"/>
                    <a:gd name="T55" fmla="*/ 8 h 78"/>
                    <a:gd name="T56" fmla="*/ 1 w 25"/>
                    <a:gd name="T57" fmla="*/ 8 h 78"/>
                    <a:gd name="T58" fmla="*/ 11 w 25"/>
                    <a:gd name="T59" fmla="*/ 6 h 78"/>
                    <a:gd name="T60" fmla="*/ 18 w 25"/>
                    <a:gd name="T61" fmla="*/ 4 h 78"/>
                    <a:gd name="T62" fmla="*/ 20 w 25"/>
                    <a:gd name="T63" fmla="*/ 2 h 78"/>
                    <a:gd name="T64" fmla="*/ 22 w 25"/>
                    <a:gd name="T65" fmla="*/ 0 h 78"/>
                    <a:gd name="T66" fmla="*/ 25 w 25"/>
                    <a:gd name="T67" fmla="*/ 4 h 78"/>
                    <a:gd name="T68" fmla="*/ 22 w 25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5" h="78">
                      <a:moveTo>
                        <a:pt x="20" y="4"/>
                      </a:move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4"/>
                      </a:lnTo>
                      <a:lnTo>
                        <a:pt x="20" y="4"/>
                      </a:lnTo>
                      <a:close/>
                      <a:moveTo>
                        <a:pt x="23" y="4"/>
                      </a:move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8" y="17"/>
                      </a:lnTo>
                      <a:lnTo>
                        <a:pt x="16" y="30"/>
                      </a:lnTo>
                      <a:lnTo>
                        <a:pt x="14" y="41"/>
                      </a:lnTo>
                      <a:lnTo>
                        <a:pt x="12" y="52"/>
                      </a:lnTo>
                      <a:lnTo>
                        <a:pt x="12" y="61"/>
                      </a:lnTo>
                      <a:lnTo>
                        <a:pt x="11" y="71"/>
                      </a:lnTo>
                      <a:lnTo>
                        <a:pt x="11" y="74"/>
                      </a:lnTo>
                      <a:lnTo>
                        <a:pt x="9" y="76"/>
                      </a:lnTo>
                      <a:lnTo>
                        <a:pt x="9" y="78"/>
                      </a:lnTo>
                      <a:lnTo>
                        <a:pt x="9" y="72"/>
                      </a:lnTo>
                      <a:lnTo>
                        <a:pt x="7" y="63"/>
                      </a:lnTo>
                      <a:lnTo>
                        <a:pt x="7" y="54"/>
                      </a:lnTo>
                      <a:lnTo>
                        <a:pt x="5" y="45"/>
                      </a:lnTo>
                      <a:lnTo>
                        <a:pt x="5" y="35"/>
                      </a:lnTo>
                      <a:lnTo>
                        <a:pt x="3" y="26"/>
                      </a:lnTo>
                      <a:lnTo>
                        <a:pt x="3" y="17"/>
                      </a:lnTo>
                      <a:lnTo>
                        <a:pt x="1" y="8"/>
                      </a:lnTo>
                      <a:lnTo>
                        <a:pt x="3" y="17"/>
                      </a:lnTo>
                      <a:lnTo>
                        <a:pt x="3" y="26"/>
                      </a:lnTo>
                      <a:lnTo>
                        <a:pt x="5" y="35"/>
                      </a:lnTo>
                      <a:lnTo>
                        <a:pt x="5" y="45"/>
                      </a:lnTo>
                      <a:lnTo>
                        <a:pt x="7" y="54"/>
                      </a:lnTo>
                      <a:lnTo>
                        <a:pt x="7" y="63"/>
                      </a:lnTo>
                      <a:lnTo>
                        <a:pt x="9" y="72"/>
                      </a:lnTo>
                      <a:lnTo>
                        <a:pt x="9" y="78"/>
                      </a:lnTo>
                      <a:lnTo>
                        <a:pt x="9" y="76"/>
                      </a:lnTo>
                      <a:lnTo>
                        <a:pt x="11" y="74"/>
                      </a:lnTo>
                      <a:lnTo>
                        <a:pt x="11" y="71"/>
                      </a:lnTo>
                      <a:lnTo>
                        <a:pt x="12" y="61"/>
                      </a:lnTo>
                      <a:lnTo>
                        <a:pt x="12" y="52"/>
                      </a:lnTo>
                      <a:lnTo>
                        <a:pt x="14" y="41"/>
                      </a:lnTo>
                      <a:lnTo>
                        <a:pt x="16" y="30"/>
                      </a:lnTo>
                      <a:lnTo>
                        <a:pt x="18" y="17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3" y="4"/>
                      </a:lnTo>
                      <a:close/>
                      <a:moveTo>
                        <a:pt x="22" y="0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1" y="8"/>
                      </a:lnTo>
                      <a:lnTo>
                        <a:pt x="5" y="6"/>
                      </a:lnTo>
                      <a:lnTo>
                        <a:pt x="11" y="6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5" name="Rectangle 3310"/>
                <p:cNvSpPr>
                  <a:spLocks noChangeArrowheads="1"/>
                </p:cNvSpPr>
                <p:nvPr/>
              </p:nvSpPr>
              <p:spPr bwMode="auto">
                <a:xfrm>
                  <a:off x="5655" y="2709"/>
                  <a:ext cx="1" cy="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6" name="Freeform 3311"/>
                <p:cNvSpPr>
                  <a:spLocks/>
                </p:cNvSpPr>
                <p:nvPr/>
              </p:nvSpPr>
              <p:spPr bwMode="auto">
                <a:xfrm>
                  <a:off x="5636" y="2709"/>
                  <a:ext cx="22" cy="74"/>
                </a:xfrm>
                <a:custGeom>
                  <a:avLst/>
                  <a:gdLst>
                    <a:gd name="T0" fmla="*/ 22 w 22"/>
                    <a:gd name="T1" fmla="*/ 0 h 74"/>
                    <a:gd name="T2" fmla="*/ 21 w 22"/>
                    <a:gd name="T3" fmla="*/ 0 h 74"/>
                    <a:gd name="T4" fmla="*/ 21 w 22"/>
                    <a:gd name="T5" fmla="*/ 0 h 74"/>
                    <a:gd name="T6" fmla="*/ 21 w 22"/>
                    <a:gd name="T7" fmla="*/ 2 h 74"/>
                    <a:gd name="T8" fmla="*/ 21 w 22"/>
                    <a:gd name="T9" fmla="*/ 2 h 74"/>
                    <a:gd name="T10" fmla="*/ 17 w 22"/>
                    <a:gd name="T11" fmla="*/ 13 h 74"/>
                    <a:gd name="T12" fmla="*/ 15 w 22"/>
                    <a:gd name="T13" fmla="*/ 26 h 74"/>
                    <a:gd name="T14" fmla="*/ 13 w 22"/>
                    <a:gd name="T15" fmla="*/ 37 h 74"/>
                    <a:gd name="T16" fmla="*/ 11 w 22"/>
                    <a:gd name="T17" fmla="*/ 48 h 74"/>
                    <a:gd name="T18" fmla="*/ 11 w 22"/>
                    <a:gd name="T19" fmla="*/ 57 h 74"/>
                    <a:gd name="T20" fmla="*/ 10 w 22"/>
                    <a:gd name="T21" fmla="*/ 67 h 74"/>
                    <a:gd name="T22" fmla="*/ 10 w 22"/>
                    <a:gd name="T23" fmla="*/ 70 h 74"/>
                    <a:gd name="T24" fmla="*/ 8 w 22"/>
                    <a:gd name="T25" fmla="*/ 72 h 74"/>
                    <a:gd name="T26" fmla="*/ 8 w 22"/>
                    <a:gd name="T27" fmla="*/ 74 h 74"/>
                    <a:gd name="T28" fmla="*/ 8 w 22"/>
                    <a:gd name="T29" fmla="*/ 68 h 74"/>
                    <a:gd name="T30" fmla="*/ 6 w 22"/>
                    <a:gd name="T31" fmla="*/ 59 h 74"/>
                    <a:gd name="T32" fmla="*/ 6 w 22"/>
                    <a:gd name="T33" fmla="*/ 50 h 74"/>
                    <a:gd name="T34" fmla="*/ 4 w 22"/>
                    <a:gd name="T35" fmla="*/ 41 h 74"/>
                    <a:gd name="T36" fmla="*/ 4 w 22"/>
                    <a:gd name="T37" fmla="*/ 31 h 74"/>
                    <a:gd name="T38" fmla="*/ 2 w 22"/>
                    <a:gd name="T39" fmla="*/ 22 h 74"/>
                    <a:gd name="T40" fmla="*/ 2 w 22"/>
                    <a:gd name="T41" fmla="*/ 13 h 74"/>
                    <a:gd name="T42" fmla="*/ 0 w 22"/>
                    <a:gd name="T43" fmla="*/ 4 h 74"/>
                    <a:gd name="T44" fmla="*/ 2 w 22"/>
                    <a:gd name="T45" fmla="*/ 13 h 74"/>
                    <a:gd name="T46" fmla="*/ 2 w 22"/>
                    <a:gd name="T47" fmla="*/ 22 h 74"/>
                    <a:gd name="T48" fmla="*/ 4 w 22"/>
                    <a:gd name="T49" fmla="*/ 31 h 74"/>
                    <a:gd name="T50" fmla="*/ 4 w 22"/>
                    <a:gd name="T51" fmla="*/ 41 h 74"/>
                    <a:gd name="T52" fmla="*/ 6 w 22"/>
                    <a:gd name="T53" fmla="*/ 50 h 74"/>
                    <a:gd name="T54" fmla="*/ 6 w 22"/>
                    <a:gd name="T55" fmla="*/ 59 h 74"/>
                    <a:gd name="T56" fmla="*/ 8 w 22"/>
                    <a:gd name="T57" fmla="*/ 68 h 74"/>
                    <a:gd name="T58" fmla="*/ 8 w 22"/>
                    <a:gd name="T59" fmla="*/ 74 h 74"/>
                    <a:gd name="T60" fmla="*/ 8 w 22"/>
                    <a:gd name="T61" fmla="*/ 72 h 74"/>
                    <a:gd name="T62" fmla="*/ 10 w 22"/>
                    <a:gd name="T63" fmla="*/ 70 h 74"/>
                    <a:gd name="T64" fmla="*/ 10 w 22"/>
                    <a:gd name="T65" fmla="*/ 67 h 74"/>
                    <a:gd name="T66" fmla="*/ 11 w 22"/>
                    <a:gd name="T67" fmla="*/ 57 h 74"/>
                    <a:gd name="T68" fmla="*/ 11 w 22"/>
                    <a:gd name="T69" fmla="*/ 48 h 74"/>
                    <a:gd name="T70" fmla="*/ 13 w 22"/>
                    <a:gd name="T71" fmla="*/ 37 h 74"/>
                    <a:gd name="T72" fmla="*/ 15 w 22"/>
                    <a:gd name="T73" fmla="*/ 26 h 74"/>
                    <a:gd name="T74" fmla="*/ 17 w 22"/>
                    <a:gd name="T75" fmla="*/ 13 h 74"/>
                    <a:gd name="T76" fmla="*/ 21 w 22"/>
                    <a:gd name="T77" fmla="*/ 2 h 74"/>
                    <a:gd name="T78" fmla="*/ 21 w 22"/>
                    <a:gd name="T79" fmla="*/ 2 h 74"/>
                    <a:gd name="T80" fmla="*/ 21 w 22"/>
                    <a:gd name="T81" fmla="*/ 0 h 74"/>
                    <a:gd name="T82" fmla="*/ 21 w 22"/>
                    <a:gd name="T83" fmla="*/ 0 h 74"/>
                    <a:gd name="T84" fmla="*/ 22 w 22"/>
                    <a:gd name="T85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2" h="74">
                      <a:moveTo>
                        <a:pt x="22" y="0"/>
                      </a:move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21" y="2"/>
                      </a:lnTo>
                      <a:lnTo>
                        <a:pt x="21" y="2"/>
                      </a:lnTo>
                      <a:lnTo>
                        <a:pt x="17" y="13"/>
                      </a:lnTo>
                      <a:lnTo>
                        <a:pt x="15" y="26"/>
                      </a:lnTo>
                      <a:lnTo>
                        <a:pt x="13" y="37"/>
                      </a:lnTo>
                      <a:lnTo>
                        <a:pt x="11" y="48"/>
                      </a:lnTo>
                      <a:lnTo>
                        <a:pt x="11" y="57"/>
                      </a:lnTo>
                      <a:lnTo>
                        <a:pt x="10" y="67"/>
                      </a:lnTo>
                      <a:lnTo>
                        <a:pt x="10" y="70"/>
                      </a:lnTo>
                      <a:lnTo>
                        <a:pt x="8" y="72"/>
                      </a:lnTo>
                      <a:lnTo>
                        <a:pt x="8" y="74"/>
                      </a:lnTo>
                      <a:lnTo>
                        <a:pt x="8" y="68"/>
                      </a:lnTo>
                      <a:lnTo>
                        <a:pt x="6" y="59"/>
                      </a:lnTo>
                      <a:lnTo>
                        <a:pt x="6" y="50"/>
                      </a:lnTo>
                      <a:lnTo>
                        <a:pt x="4" y="41"/>
                      </a:lnTo>
                      <a:lnTo>
                        <a:pt x="4" y="31"/>
                      </a:lnTo>
                      <a:lnTo>
                        <a:pt x="2" y="22"/>
                      </a:lnTo>
                      <a:lnTo>
                        <a:pt x="2" y="13"/>
                      </a:lnTo>
                      <a:lnTo>
                        <a:pt x="0" y="4"/>
                      </a:lnTo>
                      <a:lnTo>
                        <a:pt x="2" y="13"/>
                      </a:lnTo>
                      <a:lnTo>
                        <a:pt x="2" y="22"/>
                      </a:lnTo>
                      <a:lnTo>
                        <a:pt x="4" y="31"/>
                      </a:lnTo>
                      <a:lnTo>
                        <a:pt x="4" y="41"/>
                      </a:lnTo>
                      <a:lnTo>
                        <a:pt x="6" y="50"/>
                      </a:lnTo>
                      <a:lnTo>
                        <a:pt x="6" y="59"/>
                      </a:lnTo>
                      <a:lnTo>
                        <a:pt x="8" y="68"/>
                      </a:lnTo>
                      <a:lnTo>
                        <a:pt x="8" y="74"/>
                      </a:lnTo>
                      <a:lnTo>
                        <a:pt x="8" y="72"/>
                      </a:lnTo>
                      <a:lnTo>
                        <a:pt x="10" y="70"/>
                      </a:lnTo>
                      <a:lnTo>
                        <a:pt x="10" y="67"/>
                      </a:lnTo>
                      <a:lnTo>
                        <a:pt x="11" y="57"/>
                      </a:lnTo>
                      <a:lnTo>
                        <a:pt x="11" y="48"/>
                      </a:lnTo>
                      <a:lnTo>
                        <a:pt x="13" y="37"/>
                      </a:lnTo>
                      <a:lnTo>
                        <a:pt x="15" y="26"/>
                      </a:lnTo>
                      <a:lnTo>
                        <a:pt x="17" y="13"/>
                      </a:lnTo>
                      <a:lnTo>
                        <a:pt x="21" y="2"/>
                      </a:lnTo>
                      <a:lnTo>
                        <a:pt x="21" y="2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7" name="Freeform 3312"/>
                <p:cNvSpPr>
                  <a:spLocks/>
                </p:cNvSpPr>
                <p:nvPr/>
              </p:nvSpPr>
              <p:spPr bwMode="auto">
                <a:xfrm>
                  <a:off x="5635" y="2705"/>
                  <a:ext cx="25" cy="8"/>
                </a:xfrm>
                <a:custGeom>
                  <a:avLst/>
                  <a:gdLst>
                    <a:gd name="T0" fmla="*/ 22 w 25"/>
                    <a:gd name="T1" fmla="*/ 0 h 8"/>
                    <a:gd name="T2" fmla="*/ 20 w 25"/>
                    <a:gd name="T3" fmla="*/ 2 h 8"/>
                    <a:gd name="T4" fmla="*/ 20 w 25"/>
                    <a:gd name="T5" fmla="*/ 2 h 8"/>
                    <a:gd name="T6" fmla="*/ 18 w 25"/>
                    <a:gd name="T7" fmla="*/ 4 h 8"/>
                    <a:gd name="T8" fmla="*/ 14 w 25"/>
                    <a:gd name="T9" fmla="*/ 4 h 8"/>
                    <a:gd name="T10" fmla="*/ 11 w 25"/>
                    <a:gd name="T11" fmla="*/ 6 h 8"/>
                    <a:gd name="T12" fmla="*/ 5 w 25"/>
                    <a:gd name="T13" fmla="*/ 6 h 8"/>
                    <a:gd name="T14" fmla="*/ 1 w 25"/>
                    <a:gd name="T15" fmla="*/ 8 h 8"/>
                    <a:gd name="T16" fmla="*/ 0 w 25"/>
                    <a:gd name="T17" fmla="*/ 8 h 8"/>
                    <a:gd name="T18" fmla="*/ 1 w 25"/>
                    <a:gd name="T19" fmla="*/ 8 h 8"/>
                    <a:gd name="T20" fmla="*/ 5 w 25"/>
                    <a:gd name="T21" fmla="*/ 6 h 8"/>
                    <a:gd name="T22" fmla="*/ 11 w 25"/>
                    <a:gd name="T23" fmla="*/ 6 h 8"/>
                    <a:gd name="T24" fmla="*/ 14 w 25"/>
                    <a:gd name="T25" fmla="*/ 4 h 8"/>
                    <a:gd name="T26" fmla="*/ 18 w 25"/>
                    <a:gd name="T27" fmla="*/ 4 h 8"/>
                    <a:gd name="T28" fmla="*/ 20 w 25"/>
                    <a:gd name="T29" fmla="*/ 2 h 8"/>
                    <a:gd name="T30" fmla="*/ 20 w 25"/>
                    <a:gd name="T31" fmla="*/ 2 h 8"/>
                    <a:gd name="T32" fmla="*/ 22 w 25"/>
                    <a:gd name="T33" fmla="*/ 0 h 8"/>
                    <a:gd name="T34" fmla="*/ 22 w 25"/>
                    <a:gd name="T35" fmla="*/ 0 h 8"/>
                    <a:gd name="T36" fmla="*/ 23 w 25"/>
                    <a:gd name="T37" fmla="*/ 2 h 8"/>
                    <a:gd name="T38" fmla="*/ 25 w 25"/>
                    <a:gd name="T39" fmla="*/ 4 h 8"/>
                    <a:gd name="T40" fmla="*/ 23 w 25"/>
                    <a:gd name="T41" fmla="*/ 2 h 8"/>
                    <a:gd name="T42" fmla="*/ 22 w 25"/>
                    <a:gd name="T43" fmla="*/ 0 h 8"/>
                    <a:gd name="T44" fmla="*/ 22 w 25"/>
                    <a:gd name="T4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5" h="8">
                      <a:moveTo>
                        <a:pt x="22" y="0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1" y="8"/>
                      </a:lnTo>
                      <a:lnTo>
                        <a:pt x="5" y="6"/>
                      </a:lnTo>
                      <a:lnTo>
                        <a:pt x="11" y="6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2" y="0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8" name="Freeform 3313"/>
                <p:cNvSpPr>
                  <a:spLocks noEditPoints="1"/>
                </p:cNvSpPr>
                <p:nvPr/>
              </p:nvSpPr>
              <p:spPr bwMode="auto">
                <a:xfrm>
                  <a:off x="5635" y="2705"/>
                  <a:ext cx="25" cy="83"/>
                </a:xfrm>
                <a:custGeom>
                  <a:avLst/>
                  <a:gdLst>
                    <a:gd name="T0" fmla="*/ 20 w 25"/>
                    <a:gd name="T1" fmla="*/ 4 h 83"/>
                    <a:gd name="T2" fmla="*/ 22 w 25"/>
                    <a:gd name="T3" fmla="*/ 4 h 83"/>
                    <a:gd name="T4" fmla="*/ 22 w 25"/>
                    <a:gd name="T5" fmla="*/ 4 h 83"/>
                    <a:gd name="T6" fmla="*/ 22 w 25"/>
                    <a:gd name="T7" fmla="*/ 6 h 83"/>
                    <a:gd name="T8" fmla="*/ 18 w 25"/>
                    <a:gd name="T9" fmla="*/ 17 h 83"/>
                    <a:gd name="T10" fmla="*/ 14 w 25"/>
                    <a:gd name="T11" fmla="*/ 41 h 83"/>
                    <a:gd name="T12" fmla="*/ 12 w 25"/>
                    <a:gd name="T13" fmla="*/ 61 h 83"/>
                    <a:gd name="T14" fmla="*/ 11 w 25"/>
                    <a:gd name="T15" fmla="*/ 74 h 83"/>
                    <a:gd name="T16" fmla="*/ 9 w 25"/>
                    <a:gd name="T17" fmla="*/ 78 h 83"/>
                    <a:gd name="T18" fmla="*/ 7 w 25"/>
                    <a:gd name="T19" fmla="*/ 63 h 83"/>
                    <a:gd name="T20" fmla="*/ 5 w 25"/>
                    <a:gd name="T21" fmla="*/ 45 h 83"/>
                    <a:gd name="T22" fmla="*/ 3 w 25"/>
                    <a:gd name="T23" fmla="*/ 26 h 83"/>
                    <a:gd name="T24" fmla="*/ 1 w 25"/>
                    <a:gd name="T25" fmla="*/ 8 h 83"/>
                    <a:gd name="T26" fmla="*/ 11 w 25"/>
                    <a:gd name="T27" fmla="*/ 6 h 83"/>
                    <a:gd name="T28" fmla="*/ 20 w 25"/>
                    <a:gd name="T29" fmla="*/ 6 h 83"/>
                    <a:gd name="T30" fmla="*/ 20 w 25"/>
                    <a:gd name="T31" fmla="*/ 4 h 83"/>
                    <a:gd name="T32" fmla="*/ 20 w 25"/>
                    <a:gd name="T33" fmla="*/ 2 h 83"/>
                    <a:gd name="T34" fmla="*/ 18 w 25"/>
                    <a:gd name="T35" fmla="*/ 4 h 83"/>
                    <a:gd name="T36" fmla="*/ 11 w 25"/>
                    <a:gd name="T37" fmla="*/ 6 h 83"/>
                    <a:gd name="T38" fmla="*/ 1 w 25"/>
                    <a:gd name="T39" fmla="*/ 8 h 83"/>
                    <a:gd name="T40" fmla="*/ 1 w 25"/>
                    <a:gd name="T41" fmla="*/ 17 h 83"/>
                    <a:gd name="T42" fmla="*/ 3 w 25"/>
                    <a:gd name="T43" fmla="*/ 35 h 83"/>
                    <a:gd name="T44" fmla="*/ 5 w 25"/>
                    <a:gd name="T45" fmla="*/ 54 h 83"/>
                    <a:gd name="T46" fmla="*/ 7 w 25"/>
                    <a:gd name="T47" fmla="*/ 72 h 83"/>
                    <a:gd name="T48" fmla="*/ 11 w 25"/>
                    <a:gd name="T49" fmla="*/ 80 h 83"/>
                    <a:gd name="T50" fmla="*/ 11 w 25"/>
                    <a:gd name="T51" fmla="*/ 74 h 83"/>
                    <a:gd name="T52" fmla="*/ 12 w 25"/>
                    <a:gd name="T53" fmla="*/ 61 h 83"/>
                    <a:gd name="T54" fmla="*/ 16 w 25"/>
                    <a:gd name="T55" fmla="*/ 41 h 83"/>
                    <a:gd name="T56" fmla="*/ 20 w 25"/>
                    <a:gd name="T57" fmla="*/ 17 h 83"/>
                    <a:gd name="T58" fmla="*/ 23 w 25"/>
                    <a:gd name="T59" fmla="*/ 6 h 83"/>
                    <a:gd name="T60" fmla="*/ 25 w 25"/>
                    <a:gd name="T61" fmla="*/ 4 h 83"/>
                    <a:gd name="T62" fmla="*/ 22 w 25"/>
                    <a:gd name="T63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" h="83">
                      <a:moveTo>
                        <a:pt x="20" y="4"/>
                      </a:moveTo>
                      <a:lnTo>
                        <a:pt x="20" y="4"/>
                      </a:lnTo>
                      <a:lnTo>
                        <a:pt x="22" y="2"/>
                      </a:lnTo>
                      <a:lnTo>
                        <a:pt x="22" y="4"/>
                      </a:lnTo>
                      <a:lnTo>
                        <a:pt x="23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18" y="17"/>
                      </a:lnTo>
                      <a:lnTo>
                        <a:pt x="16" y="30"/>
                      </a:lnTo>
                      <a:lnTo>
                        <a:pt x="14" y="41"/>
                      </a:lnTo>
                      <a:lnTo>
                        <a:pt x="12" y="52"/>
                      </a:lnTo>
                      <a:lnTo>
                        <a:pt x="12" y="61"/>
                      </a:lnTo>
                      <a:lnTo>
                        <a:pt x="11" y="71"/>
                      </a:lnTo>
                      <a:lnTo>
                        <a:pt x="11" y="74"/>
                      </a:lnTo>
                      <a:lnTo>
                        <a:pt x="9" y="76"/>
                      </a:lnTo>
                      <a:lnTo>
                        <a:pt x="9" y="78"/>
                      </a:lnTo>
                      <a:lnTo>
                        <a:pt x="9" y="72"/>
                      </a:lnTo>
                      <a:lnTo>
                        <a:pt x="7" y="63"/>
                      </a:lnTo>
                      <a:lnTo>
                        <a:pt x="7" y="54"/>
                      </a:lnTo>
                      <a:lnTo>
                        <a:pt x="5" y="45"/>
                      </a:lnTo>
                      <a:lnTo>
                        <a:pt x="5" y="35"/>
                      </a:lnTo>
                      <a:lnTo>
                        <a:pt x="3" y="26"/>
                      </a:lnTo>
                      <a:lnTo>
                        <a:pt x="3" y="17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20" y="6"/>
                      </a:lnTo>
                      <a:lnTo>
                        <a:pt x="20" y="4"/>
                      </a:lnTo>
                      <a:lnTo>
                        <a:pt x="20" y="4"/>
                      </a:lnTo>
                      <a:close/>
                      <a:moveTo>
                        <a:pt x="22" y="0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1" y="17"/>
                      </a:lnTo>
                      <a:lnTo>
                        <a:pt x="1" y="26"/>
                      </a:lnTo>
                      <a:lnTo>
                        <a:pt x="3" y="35"/>
                      </a:lnTo>
                      <a:lnTo>
                        <a:pt x="3" y="45"/>
                      </a:lnTo>
                      <a:lnTo>
                        <a:pt x="5" y="54"/>
                      </a:lnTo>
                      <a:lnTo>
                        <a:pt x="5" y="63"/>
                      </a:lnTo>
                      <a:lnTo>
                        <a:pt x="7" y="72"/>
                      </a:lnTo>
                      <a:lnTo>
                        <a:pt x="9" y="83"/>
                      </a:lnTo>
                      <a:lnTo>
                        <a:pt x="11" y="80"/>
                      </a:lnTo>
                      <a:lnTo>
                        <a:pt x="11" y="78"/>
                      </a:lnTo>
                      <a:lnTo>
                        <a:pt x="11" y="74"/>
                      </a:lnTo>
                      <a:lnTo>
                        <a:pt x="12" y="71"/>
                      </a:lnTo>
                      <a:lnTo>
                        <a:pt x="12" y="61"/>
                      </a:lnTo>
                      <a:lnTo>
                        <a:pt x="14" y="52"/>
                      </a:lnTo>
                      <a:lnTo>
                        <a:pt x="16" y="41"/>
                      </a:lnTo>
                      <a:lnTo>
                        <a:pt x="18" y="30"/>
                      </a:lnTo>
                      <a:lnTo>
                        <a:pt x="20" y="17"/>
                      </a:lnTo>
                      <a:lnTo>
                        <a:pt x="22" y="8"/>
                      </a:lnTo>
                      <a:lnTo>
                        <a:pt x="23" y="6"/>
                      </a:lnTo>
                      <a:lnTo>
                        <a:pt x="25" y="4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099" name="Freeform 3314"/>
                <p:cNvSpPr>
                  <a:spLocks/>
                </p:cNvSpPr>
                <p:nvPr/>
              </p:nvSpPr>
              <p:spPr bwMode="auto">
                <a:xfrm>
                  <a:off x="5636" y="2707"/>
                  <a:ext cx="22" cy="76"/>
                </a:xfrm>
                <a:custGeom>
                  <a:avLst/>
                  <a:gdLst>
                    <a:gd name="T0" fmla="*/ 19 w 22"/>
                    <a:gd name="T1" fmla="*/ 2 h 76"/>
                    <a:gd name="T2" fmla="*/ 19 w 22"/>
                    <a:gd name="T3" fmla="*/ 2 h 76"/>
                    <a:gd name="T4" fmla="*/ 21 w 22"/>
                    <a:gd name="T5" fmla="*/ 0 h 76"/>
                    <a:gd name="T6" fmla="*/ 21 w 22"/>
                    <a:gd name="T7" fmla="*/ 2 h 76"/>
                    <a:gd name="T8" fmla="*/ 22 w 22"/>
                    <a:gd name="T9" fmla="*/ 2 h 76"/>
                    <a:gd name="T10" fmla="*/ 21 w 22"/>
                    <a:gd name="T11" fmla="*/ 2 h 76"/>
                    <a:gd name="T12" fmla="*/ 21 w 22"/>
                    <a:gd name="T13" fmla="*/ 2 h 76"/>
                    <a:gd name="T14" fmla="*/ 21 w 22"/>
                    <a:gd name="T15" fmla="*/ 4 h 76"/>
                    <a:gd name="T16" fmla="*/ 21 w 22"/>
                    <a:gd name="T17" fmla="*/ 4 h 76"/>
                    <a:gd name="T18" fmla="*/ 17 w 22"/>
                    <a:gd name="T19" fmla="*/ 15 h 76"/>
                    <a:gd name="T20" fmla="*/ 15 w 22"/>
                    <a:gd name="T21" fmla="*/ 28 h 76"/>
                    <a:gd name="T22" fmla="*/ 13 w 22"/>
                    <a:gd name="T23" fmla="*/ 39 h 76"/>
                    <a:gd name="T24" fmla="*/ 11 w 22"/>
                    <a:gd name="T25" fmla="*/ 50 h 76"/>
                    <a:gd name="T26" fmla="*/ 11 w 22"/>
                    <a:gd name="T27" fmla="*/ 59 h 76"/>
                    <a:gd name="T28" fmla="*/ 10 w 22"/>
                    <a:gd name="T29" fmla="*/ 69 h 76"/>
                    <a:gd name="T30" fmla="*/ 10 w 22"/>
                    <a:gd name="T31" fmla="*/ 72 h 76"/>
                    <a:gd name="T32" fmla="*/ 8 w 22"/>
                    <a:gd name="T33" fmla="*/ 74 h 76"/>
                    <a:gd name="T34" fmla="*/ 8 w 22"/>
                    <a:gd name="T35" fmla="*/ 76 h 76"/>
                    <a:gd name="T36" fmla="*/ 8 w 22"/>
                    <a:gd name="T37" fmla="*/ 70 h 76"/>
                    <a:gd name="T38" fmla="*/ 6 w 22"/>
                    <a:gd name="T39" fmla="*/ 61 h 76"/>
                    <a:gd name="T40" fmla="*/ 6 w 22"/>
                    <a:gd name="T41" fmla="*/ 52 h 76"/>
                    <a:gd name="T42" fmla="*/ 4 w 22"/>
                    <a:gd name="T43" fmla="*/ 43 h 76"/>
                    <a:gd name="T44" fmla="*/ 4 w 22"/>
                    <a:gd name="T45" fmla="*/ 33 h 76"/>
                    <a:gd name="T46" fmla="*/ 2 w 22"/>
                    <a:gd name="T47" fmla="*/ 24 h 76"/>
                    <a:gd name="T48" fmla="*/ 2 w 22"/>
                    <a:gd name="T49" fmla="*/ 15 h 76"/>
                    <a:gd name="T50" fmla="*/ 0 w 22"/>
                    <a:gd name="T51" fmla="*/ 6 h 76"/>
                    <a:gd name="T52" fmla="*/ 4 w 22"/>
                    <a:gd name="T53" fmla="*/ 6 h 76"/>
                    <a:gd name="T54" fmla="*/ 10 w 22"/>
                    <a:gd name="T55" fmla="*/ 4 h 76"/>
                    <a:gd name="T56" fmla="*/ 13 w 22"/>
                    <a:gd name="T57" fmla="*/ 4 h 76"/>
                    <a:gd name="T58" fmla="*/ 19 w 22"/>
                    <a:gd name="T59" fmla="*/ 4 h 76"/>
                    <a:gd name="T60" fmla="*/ 19 w 22"/>
                    <a:gd name="T61" fmla="*/ 2 h 76"/>
                    <a:gd name="T62" fmla="*/ 19 w 22"/>
                    <a:gd name="T63" fmla="*/ 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2" h="76">
                      <a:moveTo>
                        <a:pt x="19" y="2"/>
                      </a:moveTo>
                      <a:lnTo>
                        <a:pt x="19" y="2"/>
                      </a:lnTo>
                      <a:lnTo>
                        <a:pt x="21" y="0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1" y="2"/>
                      </a:lnTo>
                      <a:lnTo>
                        <a:pt x="21" y="2"/>
                      </a:lnTo>
                      <a:lnTo>
                        <a:pt x="21" y="4"/>
                      </a:lnTo>
                      <a:lnTo>
                        <a:pt x="21" y="4"/>
                      </a:lnTo>
                      <a:lnTo>
                        <a:pt x="17" y="15"/>
                      </a:lnTo>
                      <a:lnTo>
                        <a:pt x="15" y="28"/>
                      </a:lnTo>
                      <a:lnTo>
                        <a:pt x="13" y="39"/>
                      </a:lnTo>
                      <a:lnTo>
                        <a:pt x="11" y="50"/>
                      </a:lnTo>
                      <a:lnTo>
                        <a:pt x="11" y="59"/>
                      </a:lnTo>
                      <a:lnTo>
                        <a:pt x="10" y="69"/>
                      </a:lnTo>
                      <a:lnTo>
                        <a:pt x="10" y="72"/>
                      </a:lnTo>
                      <a:lnTo>
                        <a:pt x="8" y="74"/>
                      </a:lnTo>
                      <a:lnTo>
                        <a:pt x="8" y="76"/>
                      </a:lnTo>
                      <a:lnTo>
                        <a:pt x="8" y="70"/>
                      </a:lnTo>
                      <a:lnTo>
                        <a:pt x="6" y="61"/>
                      </a:lnTo>
                      <a:lnTo>
                        <a:pt x="6" y="52"/>
                      </a:lnTo>
                      <a:lnTo>
                        <a:pt x="4" y="43"/>
                      </a:lnTo>
                      <a:lnTo>
                        <a:pt x="4" y="33"/>
                      </a:lnTo>
                      <a:lnTo>
                        <a:pt x="2" y="24"/>
                      </a:lnTo>
                      <a:lnTo>
                        <a:pt x="2" y="15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10" y="4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19" y="2"/>
                      </a:lnTo>
                      <a:lnTo>
                        <a:pt x="19" y="2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0" name="Freeform 3315"/>
                <p:cNvSpPr>
                  <a:spLocks/>
                </p:cNvSpPr>
                <p:nvPr/>
              </p:nvSpPr>
              <p:spPr bwMode="auto">
                <a:xfrm>
                  <a:off x="5635" y="2705"/>
                  <a:ext cx="25" cy="83"/>
                </a:xfrm>
                <a:custGeom>
                  <a:avLst/>
                  <a:gdLst>
                    <a:gd name="T0" fmla="*/ 22 w 25"/>
                    <a:gd name="T1" fmla="*/ 0 h 83"/>
                    <a:gd name="T2" fmla="*/ 20 w 25"/>
                    <a:gd name="T3" fmla="*/ 2 h 83"/>
                    <a:gd name="T4" fmla="*/ 20 w 25"/>
                    <a:gd name="T5" fmla="*/ 2 h 83"/>
                    <a:gd name="T6" fmla="*/ 18 w 25"/>
                    <a:gd name="T7" fmla="*/ 4 h 83"/>
                    <a:gd name="T8" fmla="*/ 14 w 25"/>
                    <a:gd name="T9" fmla="*/ 4 h 83"/>
                    <a:gd name="T10" fmla="*/ 11 w 25"/>
                    <a:gd name="T11" fmla="*/ 6 h 83"/>
                    <a:gd name="T12" fmla="*/ 5 w 25"/>
                    <a:gd name="T13" fmla="*/ 6 h 83"/>
                    <a:gd name="T14" fmla="*/ 1 w 25"/>
                    <a:gd name="T15" fmla="*/ 8 h 83"/>
                    <a:gd name="T16" fmla="*/ 0 w 25"/>
                    <a:gd name="T17" fmla="*/ 8 h 83"/>
                    <a:gd name="T18" fmla="*/ 1 w 25"/>
                    <a:gd name="T19" fmla="*/ 17 h 83"/>
                    <a:gd name="T20" fmla="*/ 1 w 25"/>
                    <a:gd name="T21" fmla="*/ 26 h 83"/>
                    <a:gd name="T22" fmla="*/ 3 w 25"/>
                    <a:gd name="T23" fmla="*/ 35 h 83"/>
                    <a:gd name="T24" fmla="*/ 3 w 25"/>
                    <a:gd name="T25" fmla="*/ 45 h 83"/>
                    <a:gd name="T26" fmla="*/ 5 w 25"/>
                    <a:gd name="T27" fmla="*/ 54 h 83"/>
                    <a:gd name="T28" fmla="*/ 5 w 25"/>
                    <a:gd name="T29" fmla="*/ 63 h 83"/>
                    <a:gd name="T30" fmla="*/ 7 w 25"/>
                    <a:gd name="T31" fmla="*/ 72 h 83"/>
                    <a:gd name="T32" fmla="*/ 9 w 25"/>
                    <a:gd name="T33" fmla="*/ 83 h 83"/>
                    <a:gd name="T34" fmla="*/ 11 w 25"/>
                    <a:gd name="T35" fmla="*/ 80 h 83"/>
                    <a:gd name="T36" fmla="*/ 11 w 25"/>
                    <a:gd name="T37" fmla="*/ 78 h 83"/>
                    <a:gd name="T38" fmla="*/ 11 w 25"/>
                    <a:gd name="T39" fmla="*/ 74 h 83"/>
                    <a:gd name="T40" fmla="*/ 12 w 25"/>
                    <a:gd name="T41" fmla="*/ 71 h 83"/>
                    <a:gd name="T42" fmla="*/ 12 w 25"/>
                    <a:gd name="T43" fmla="*/ 61 h 83"/>
                    <a:gd name="T44" fmla="*/ 14 w 25"/>
                    <a:gd name="T45" fmla="*/ 52 h 83"/>
                    <a:gd name="T46" fmla="*/ 16 w 25"/>
                    <a:gd name="T47" fmla="*/ 41 h 83"/>
                    <a:gd name="T48" fmla="*/ 18 w 25"/>
                    <a:gd name="T49" fmla="*/ 30 h 83"/>
                    <a:gd name="T50" fmla="*/ 20 w 25"/>
                    <a:gd name="T51" fmla="*/ 17 h 83"/>
                    <a:gd name="T52" fmla="*/ 22 w 25"/>
                    <a:gd name="T53" fmla="*/ 8 h 83"/>
                    <a:gd name="T54" fmla="*/ 23 w 25"/>
                    <a:gd name="T55" fmla="*/ 6 h 83"/>
                    <a:gd name="T56" fmla="*/ 25 w 25"/>
                    <a:gd name="T57" fmla="*/ 4 h 83"/>
                    <a:gd name="T58" fmla="*/ 25 w 25"/>
                    <a:gd name="T59" fmla="*/ 4 h 83"/>
                    <a:gd name="T60" fmla="*/ 23 w 25"/>
                    <a:gd name="T61" fmla="*/ 2 h 83"/>
                    <a:gd name="T62" fmla="*/ 22 w 25"/>
                    <a:gd name="T63" fmla="*/ 0 h 83"/>
                    <a:gd name="T64" fmla="*/ 22 w 25"/>
                    <a:gd name="T65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5" h="83">
                      <a:moveTo>
                        <a:pt x="22" y="0"/>
                      </a:move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1" y="17"/>
                      </a:lnTo>
                      <a:lnTo>
                        <a:pt x="1" y="26"/>
                      </a:lnTo>
                      <a:lnTo>
                        <a:pt x="3" y="35"/>
                      </a:lnTo>
                      <a:lnTo>
                        <a:pt x="3" y="45"/>
                      </a:lnTo>
                      <a:lnTo>
                        <a:pt x="5" y="54"/>
                      </a:lnTo>
                      <a:lnTo>
                        <a:pt x="5" y="63"/>
                      </a:lnTo>
                      <a:lnTo>
                        <a:pt x="7" y="72"/>
                      </a:lnTo>
                      <a:lnTo>
                        <a:pt x="9" y="83"/>
                      </a:lnTo>
                      <a:lnTo>
                        <a:pt x="11" y="80"/>
                      </a:lnTo>
                      <a:lnTo>
                        <a:pt x="11" y="78"/>
                      </a:lnTo>
                      <a:lnTo>
                        <a:pt x="11" y="74"/>
                      </a:lnTo>
                      <a:lnTo>
                        <a:pt x="12" y="71"/>
                      </a:lnTo>
                      <a:lnTo>
                        <a:pt x="12" y="61"/>
                      </a:lnTo>
                      <a:lnTo>
                        <a:pt x="14" y="52"/>
                      </a:lnTo>
                      <a:lnTo>
                        <a:pt x="16" y="41"/>
                      </a:lnTo>
                      <a:lnTo>
                        <a:pt x="18" y="30"/>
                      </a:lnTo>
                      <a:lnTo>
                        <a:pt x="20" y="17"/>
                      </a:lnTo>
                      <a:lnTo>
                        <a:pt x="22" y="8"/>
                      </a:lnTo>
                      <a:lnTo>
                        <a:pt x="23" y="6"/>
                      </a:lnTo>
                      <a:lnTo>
                        <a:pt x="25" y="4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2" y="0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1" name="Freeform 3316"/>
                <p:cNvSpPr>
                  <a:spLocks/>
                </p:cNvSpPr>
                <p:nvPr/>
              </p:nvSpPr>
              <p:spPr bwMode="auto">
                <a:xfrm>
                  <a:off x="5694" y="2731"/>
                  <a:ext cx="3" cy="11"/>
                </a:xfrm>
                <a:custGeom>
                  <a:avLst/>
                  <a:gdLst>
                    <a:gd name="T0" fmla="*/ 3 w 3"/>
                    <a:gd name="T1" fmla="*/ 0 h 11"/>
                    <a:gd name="T2" fmla="*/ 1 w 3"/>
                    <a:gd name="T3" fmla="*/ 6 h 11"/>
                    <a:gd name="T4" fmla="*/ 0 w 3"/>
                    <a:gd name="T5" fmla="*/ 11 h 11"/>
                    <a:gd name="T6" fmla="*/ 0 w 3"/>
                    <a:gd name="T7" fmla="*/ 11 h 11"/>
                    <a:gd name="T8" fmla="*/ 1 w 3"/>
                    <a:gd name="T9" fmla="*/ 11 h 11"/>
                    <a:gd name="T10" fmla="*/ 1 w 3"/>
                    <a:gd name="T11" fmla="*/ 11 h 11"/>
                    <a:gd name="T12" fmla="*/ 0 w 3"/>
                    <a:gd name="T13" fmla="*/ 11 h 11"/>
                    <a:gd name="T14" fmla="*/ 1 w 3"/>
                    <a:gd name="T15" fmla="*/ 6 h 11"/>
                    <a:gd name="T16" fmla="*/ 3 w 3"/>
                    <a:gd name="T1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1">
                      <a:moveTo>
                        <a:pt x="3" y="0"/>
                      </a:moveTo>
                      <a:lnTo>
                        <a:pt x="1" y="6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2" name="Freeform 3317"/>
                <p:cNvSpPr>
                  <a:spLocks/>
                </p:cNvSpPr>
                <p:nvPr/>
              </p:nvSpPr>
              <p:spPr bwMode="auto">
                <a:xfrm>
                  <a:off x="5694" y="2731"/>
                  <a:ext cx="3" cy="11"/>
                </a:xfrm>
                <a:custGeom>
                  <a:avLst/>
                  <a:gdLst>
                    <a:gd name="T0" fmla="*/ 3 w 3"/>
                    <a:gd name="T1" fmla="*/ 0 h 11"/>
                    <a:gd name="T2" fmla="*/ 1 w 3"/>
                    <a:gd name="T3" fmla="*/ 6 h 11"/>
                    <a:gd name="T4" fmla="*/ 0 w 3"/>
                    <a:gd name="T5" fmla="*/ 11 h 11"/>
                    <a:gd name="T6" fmla="*/ 0 w 3"/>
                    <a:gd name="T7" fmla="*/ 11 h 11"/>
                    <a:gd name="T8" fmla="*/ 1 w 3"/>
                    <a:gd name="T9" fmla="*/ 11 h 11"/>
                    <a:gd name="T10" fmla="*/ 1 w 3"/>
                    <a:gd name="T11" fmla="*/ 11 h 11"/>
                    <a:gd name="T12" fmla="*/ 0 w 3"/>
                    <a:gd name="T13" fmla="*/ 11 h 11"/>
                    <a:gd name="T14" fmla="*/ 1 w 3"/>
                    <a:gd name="T15" fmla="*/ 6 h 11"/>
                    <a:gd name="T16" fmla="*/ 3 w 3"/>
                    <a:gd name="T1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1">
                      <a:moveTo>
                        <a:pt x="3" y="0"/>
                      </a:moveTo>
                      <a:lnTo>
                        <a:pt x="1" y="6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3" name="Freeform 3318"/>
                <p:cNvSpPr>
                  <a:spLocks noEditPoints="1"/>
                </p:cNvSpPr>
                <p:nvPr/>
              </p:nvSpPr>
              <p:spPr bwMode="auto">
                <a:xfrm>
                  <a:off x="5694" y="2720"/>
                  <a:ext cx="18" cy="22"/>
                </a:xfrm>
                <a:custGeom>
                  <a:avLst/>
                  <a:gdLst>
                    <a:gd name="T0" fmla="*/ 1 w 18"/>
                    <a:gd name="T1" fmla="*/ 20 h 22"/>
                    <a:gd name="T2" fmla="*/ 3 w 18"/>
                    <a:gd name="T3" fmla="*/ 17 h 22"/>
                    <a:gd name="T4" fmla="*/ 3 w 18"/>
                    <a:gd name="T5" fmla="*/ 17 h 22"/>
                    <a:gd name="T6" fmla="*/ 5 w 18"/>
                    <a:gd name="T7" fmla="*/ 11 h 22"/>
                    <a:gd name="T8" fmla="*/ 5 w 18"/>
                    <a:gd name="T9" fmla="*/ 6 h 22"/>
                    <a:gd name="T10" fmla="*/ 7 w 18"/>
                    <a:gd name="T11" fmla="*/ 0 h 22"/>
                    <a:gd name="T12" fmla="*/ 12 w 18"/>
                    <a:gd name="T13" fmla="*/ 0 h 22"/>
                    <a:gd name="T14" fmla="*/ 16 w 18"/>
                    <a:gd name="T15" fmla="*/ 0 h 22"/>
                    <a:gd name="T16" fmla="*/ 14 w 18"/>
                    <a:gd name="T17" fmla="*/ 6 h 22"/>
                    <a:gd name="T18" fmla="*/ 14 w 18"/>
                    <a:gd name="T19" fmla="*/ 11 h 22"/>
                    <a:gd name="T20" fmla="*/ 12 w 18"/>
                    <a:gd name="T21" fmla="*/ 17 h 22"/>
                    <a:gd name="T22" fmla="*/ 12 w 18"/>
                    <a:gd name="T23" fmla="*/ 20 h 22"/>
                    <a:gd name="T24" fmla="*/ 7 w 18"/>
                    <a:gd name="T25" fmla="*/ 20 h 22"/>
                    <a:gd name="T26" fmla="*/ 1 w 18"/>
                    <a:gd name="T27" fmla="*/ 20 h 22"/>
                    <a:gd name="T28" fmla="*/ 18 w 18"/>
                    <a:gd name="T29" fmla="*/ 0 h 22"/>
                    <a:gd name="T30" fmla="*/ 12 w 18"/>
                    <a:gd name="T31" fmla="*/ 0 h 22"/>
                    <a:gd name="T32" fmla="*/ 7 w 18"/>
                    <a:gd name="T33" fmla="*/ 0 h 22"/>
                    <a:gd name="T34" fmla="*/ 7 w 18"/>
                    <a:gd name="T35" fmla="*/ 0 h 22"/>
                    <a:gd name="T36" fmla="*/ 5 w 18"/>
                    <a:gd name="T37" fmla="*/ 6 h 22"/>
                    <a:gd name="T38" fmla="*/ 3 w 18"/>
                    <a:gd name="T39" fmla="*/ 11 h 22"/>
                    <a:gd name="T40" fmla="*/ 3 w 18"/>
                    <a:gd name="T41" fmla="*/ 11 h 22"/>
                    <a:gd name="T42" fmla="*/ 1 w 18"/>
                    <a:gd name="T43" fmla="*/ 17 h 22"/>
                    <a:gd name="T44" fmla="*/ 0 w 18"/>
                    <a:gd name="T45" fmla="*/ 22 h 22"/>
                    <a:gd name="T46" fmla="*/ 1 w 18"/>
                    <a:gd name="T47" fmla="*/ 22 h 22"/>
                    <a:gd name="T48" fmla="*/ 1 w 18"/>
                    <a:gd name="T49" fmla="*/ 22 h 22"/>
                    <a:gd name="T50" fmla="*/ 7 w 18"/>
                    <a:gd name="T51" fmla="*/ 22 h 22"/>
                    <a:gd name="T52" fmla="*/ 12 w 18"/>
                    <a:gd name="T53" fmla="*/ 22 h 22"/>
                    <a:gd name="T54" fmla="*/ 12 w 18"/>
                    <a:gd name="T55" fmla="*/ 22 h 22"/>
                    <a:gd name="T56" fmla="*/ 14 w 18"/>
                    <a:gd name="T57" fmla="*/ 17 h 22"/>
                    <a:gd name="T58" fmla="*/ 14 w 18"/>
                    <a:gd name="T59" fmla="*/ 11 h 22"/>
                    <a:gd name="T60" fmla="*/ 16 w 18"/>
                    <a:gd name="T61" fmla="*/ 6 h 22"/>
                    <a:gd name="T62" fmla="*/ 18 w 18"/>
                    <a:gd name="T63" fmla="*/ 0 h 22"/>
                    <a:gd name="T64" fmla="*/ 18 w 18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8" h="22">
                      <a:moveTo>
                        <a:pt x="1" y="20"/>
                      </a:moveTo>
                      <a:lnTo>
                        <a:pt x="3" y="17"/>
                      </a:lnTo>
                      <a:lnTo>
                        <a:pt x="3" y="17"/>
                      </a:lnTo>
                      <a:lnTo>
                        <a:pt x="5" y="11"/>
                      </a:lnTo>
                      <a:lnTo>
                        <a:pt x="5" y="6"/>
                      </a:lnTo>
                      <a:lnTo>
                        <a:pt x="7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4" y="6"/>
                      </a:lnTo>
                      <a:lnTo>
                        <a:pt x="14" y="11"/>
                      </a:lnTo>
                      <a:lnTo>
                        <a:pt x="12" y="17"/>
                      </a:lnTo>
                      <a:lnTo>
                        <a:pt x="12" y="20"/>
                      </a:lnTo>
                      <a:lnTo>
                        <a:pt x="7" y="20"/>
                      </a:lnTo>
                      <a:lnTo>
                        <a:pt x="1" y="20"/>
                      </a:lnTo>
                      <a:close/>
                      <a:moveTo>
                        <a:pt x="18" y="0"/>
                      </a:move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5" y="6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1" y="22"/>
                      </a:lnTo>
                      <a:lnTo>
                        <a:pt x="1" y="22"/>
                      </a:lnTo>
                      <a:lnTo>
                        <a:pt x="7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4" y="17"/>
                      </a:lnTo>
                      <a:lnTo>
                        <a:pt x="14" y="11"/>
                      </a:lnTo>
                      <a:lnTo>
                        <a:pt x="16" y="6"/>
                      </a:lnTo>
                      <a:lnTo>
                        <a:pt x="18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4" name="Freeform 3319"/>
                <p:cNvSpPr>
                  <a:spLocks/>
                </p:cNvSpPr>
                <p:nvPr/>
              </p:nvSpPr>
              <p:spPr bwMode="auto">
                <a:xfrm>
                  <a:off x="5695" y="2720"/>
                  <a:ext cx="15" cy="20"/>
                </a:xfrm>
                <a:custGeom>
                  <a:avLst/>
                  <a:gdLst>
                    <a:gd name="T0" fmla="*/ 0 w 15"/>
                    <a:gd name="T1" fmla="*/ 20 h 20"/>
                    <a:gd name="T2" fmla="*/ 2 w 15"/>
                    <a:gd name="T3" fmla="*/ 17 h 20"/>
                    <a:gd name="T4" fmla="*/ 2 w 15"/>
                    <a:gd name="T5" fmla="*/ 17 h 20"/>
                    <a:gd name="T6" fmla="*/ 4 w 15"/>
                    <a:gd name="T7" fmla="*/ 11 h 20"/>
                    <a:gd name="T8" fmla="*/ 4 w 15"/>
                    <a:gd name="T9" fmla="*/ 6 h 20"/>
                    <a:gd name="T10" fmla="*/ 6 w 15"/>
                    <a:gd name="T11" fmla="*/ 0 h 20"/>
                    <a:gd name="T12" fmla="*/ 11 w 15"/>
                    <a:gd name="T13" fmla="*/ 0 h 20"/>
                    <a:gd name="T14" fmla="*/ 15 w 15"/>
                    <a:gd name="T15" fmla="*/ 0 h 20"/>
                    <a:gd name="T16" fmla="*/ 13 w 15"/>
                    <a:gd name="T17" fmla="*/ 6 h 20"/>
                    <a:gd name="T18" fmla="*/ 13 w 15"/>
                    <a:gd name="T19" fmla="*/ 11 h 20"/>
                    <a:gd name="T20" fmla="*/ 11 w 15"/>
                    <a:gd name="T21" fmla="*/ 17 h 20"/>
                    <a:gd name="T22" fmla="*/ 11 w 15"/>
                    <a:gd name="T23" fmla="*/ 20 h 20"/>
                    <a:gd name="T24" fmla="*/ 6 w 15"/>
                    <a:gd name="T25" fmla="*/ 20 h 20"/>
                    <a:gd name="T26" fmla="*/ 0 w 15"/>
                    <a:gd name="T2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" h="20">
                      <a:moveTo>
                        <a:pt x="0" y="20"/>
                      </a:moveTo>
                      <a:lnTo>
                        <a:pt x="2" y="17"/>
                      </a:lnTo>
                      <a:lnTo>
                        <a:pt x="2" y="17"/>
                      </a:lnTo>
                      <a:lnTo>
                        <a:pt x="4" y="11"/>
                      </a:lnTo>
                      <a:lnTo>
                        <a:pt x="4" y="6"/>
                      </a:lnTo>
                      <a:lnTo>
                        <a:pt x="6" y="0"/>
                      </a:lnTo>
                      <a:lnTo>
                        <a:pt x="11" y="0"/>
                      </a:lnTo>
                      <a:lnTo>
                        <a:pt x="15" y="0"/>
                      </a:lnTo>
                      <a:lnTo>
                        <a:pt x="13" y="6"/>
                      </a:lnTo>
                      <a:lnTo>
                        <a:pt x="13" y="11"/>
                      </a:lnTo>
                      <a:lnTo>
                        <a:pt x="11" y="17"/>
                      </a:lnTo>
                      <a:lnTo>
                        <a:pt x="11" y="20"/>
                      </a:lnTo>
                      <a:lnTo>
                        <a:pt x="6" y="20"/>
                      </a:lnTo>
                      <a:lnTo>
                        <a:pt x="0" y="2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5" name="Freeform 3320"/>
                <p:cNvSpPr>
                  <a:spLocks/>
                </p:cNvSpPr>
                <p:nvPr/>
              </p:nvSpPr>
              <p:spPr bwMode="auto">
                <a:xfrm>
                  <a:off x="5694" y="2720"/>
                  <a:ext cx="18" cy="22"/>
                </a:xfrm>
                <a:custGeom>
                  <a:avLst/>
                  <a:gdLst>
                    <a:gd name="T0" fmla="*/ 18 w 18"/>
                    <a:gd name="T1" fmla="*/ 0 h 22"/>
                    <a:gd name="T2" fmla="*/ 12 w 18"/>
                    <a:gd name="T3" fmla="*/ 0 h 22"/>
                    <a:gd name="T4" fmla="*/ 7 w 18"/>
                    <a:gd name="T5" fmla="*/ 0 h 22"/>
                    <a:gd name="T6" fmla="*/ 7 w 18"/>
                    <a:gd name="T7" fmla="*/ 0 h 22"/>
                    <a:gd name="T8" fmla="*/ 5 w 18"/>
                    <a:gd name="T9" fmla="*/ 6 h 22"/>
                    <a:gd name="T10" fmla="*/ 3 w 18"/>
                    <a:gd name="T11" fmla="*/ 11 h 22"/>
                    <a:gd name="T12" fmla="*/ 3 w 18"/>
                    <a:gd name="T13" fmla="*/ 11 h 22"/>
                    <a:gd name="T14" fmla="*/ 1 w 18"/>
                    <a:gd name="T15" fmla="*/ 17 h 22"/>
                    <a:gd name="T16" fmla="*/ 0 w 18"/>
                    <a:gd name="T17" fmla="*/ 22 h 22"/>
                    <a:gd name="T18" fmla="*/ 1 w 18"/>
                    <a:gd name="T19" fmla="*/ 22 h 22"/>
                    <a:gd name="T20" fmla="*/ 1 w 18"/>
                    <a:gd name="T21" fmla="*/ 22 h 22"/>
                    <a:gd name="T22" fmla="*/ 7 w 18"/>
                    <a:gd name="T23" fmla="*/ 22 h 22"/>
                    <a:gd name="T24" fmla="*/ 12 w 18"/>
                    <a:gd name="T25" fmla="*/ 22 h 22"/>
                    <a:gd name="T26" fmla="*/ 12 w 18"/>
                    <a:gd name="T27" fmla="*/ 22 h 22"/>
                    <a:gd name="T28" fmla="*/ 14 w 18"/>
                    <a:gd name="T29" fmla="*/ 17 h 22"/>
                    <a:gd name="T30" fmla="*/ 14 w 18"/>
                    <a:gd name="T31" fmla="*/ 11 h 22"/>
                    <a:gd name="T32" fmla="*/ 16 w 18"/>
                    <a:gd name="T33" fmla="*/ 6 h 22"/>
                    <a:gd name="T34" fmla="*/ 18 w 18"/>
                    <a:gd name="T35" fmla="*/ 0 h 22"/>
                    <a:gd name="T36" fmla="*/ 18 w 18"/>
                    <a:gd name="T3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" h="22">
                      <a:moveTo>
                        <a:pt x="18" y="0"/>
                      </a:move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5" y="6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1" y="22"/>
                      </a:lnTo>
                      <a:lnTo>
                        <a:pt x="1" y="22"/>
                      </a:lnTo>
                      <a:lnTo>
                        <a:pt x="7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4" y="17"/>
                      </a:lnTo>
                      <a:lnTo>
                        <a:pt x="14" y="11"/>
                      </a:lnTo>
                      <a:lnTo>
                        <a:pt x="16" y="6"/>
                      </a:lnTo>
                      <a:lnTo>
                        <a:pt x="18" y="0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6" name="Rectangle 3321"/>
                <p:cNvSpPr>
                  <a:spLocks noChangeArrowheads="1"/>
                </p:cNvSpPr>
                <p:nvPr/>
              </p:nvSpPr>
              <p:spPr bwMode="auto">
                <a:xfrm>
                  <a:off x="5684" y="277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7" name="Rectangle 3322"/>
                <p:cNvSpPr>
                  <a:spLocks noChangeArrowheads="1"/>
                </p:cNvSpPr>
                <p:nvPr/>
              </p:nvSpPr>
              <p:spPr bwMode="auto">
                <a:xfrm>
                  <a:off x="5684" y="2776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8" name="Freeform 3323"/>
                <p:cNvSpPr>
                  <a:spLocks noEditPoints="1"/>
                </p:cNvSpPr>
                <p:nvPr/>
              </p:nvSpPr>
              <p:spPr bwMode="auto">
                <a:xfrm>
                  <a:off x="5684" y="2768"/>
                  <a:ext cx="8" cy="8"/>
                </a:xfrm>
                <a:custGeom>
                  <a:avLst/>
                  <a:gdLst>
                    <a:gd name="T0" fmla="*/ 0 w 8"/>
                    <a:gd name="T1" fmla="*/ 2 h 8"/>
                    <a:gd name="T2" fmla="*/ 0 w 8"/>
                    <a:gd name="T3" fmla="*/ 2 h 8"/>
                    <a:gd name="T4" fmla="*/ 2 w 8"/>
                    <a:gd name="T5" fmla="*/ 2 h 8"/>
                    <a:gd name="T6" fmla="*/ 6 w 8"/>
                    <a:gd name="T7" fmla="*/ 2 h 8"/>
                    <a:gd name="T8" fmla="*/ 6 w 8"/>
                    <a:gd name="T9" fmla="*/ 4 h 8"/>
                    <a:gd name="T10" fmla="*/ 6 w 8"/>
                    <a:gd name="T11" fmla="*/ 6 h 8"/>
                    <a:gd name="T12" fmla="*/ 4 w 8"/>
                    <a:gd name="T13" fmla="*/ 6 h 8"/>
                    <a:gd name="T14" fmla="*/ 0 w 8"/>
                    <a:gd name="T15" fmla="*/ 6 h 8"/>
                    <a:gd name="T16" fmla="*/ 0 w 8"/>
                    <a:gd name="T17" fmla="*/ 4 h 8"/>
                    <a:gd name="T18" fmla="*/ 0 w 8"/>
                    <a:gd name="T19" fmla="*/ 2 h 8"/>
                    <a:gd name="T20" fmla="*/ 8 w 8"/>
                    <a:gd name="T21" fmla="*/ 0 h 8"/>
                    <a:gd name="T22" fmla="*/ 2 w 8"/>
                    <a:gd name="T23" fmla="*/ 0 h 8"/>
                    <a:gd name="T24" fmla="*/ 0 w 8"/>
                    <a:gd name="T25" fmla="*/ 0 h 8"/>
                    <a:gd name="T26" fmla="*/ 0 w 8"/>
                    <a:gd name="T27" fmla="*/ 0 h 8"/>
                    <a:gd name="T28" fmla="*/ 0 w 8"/>
                    <a:gd name="T29" fmla="*/ 4 h 8"/>
                    <a:gd name="T30" fmla="*/ 0 w 8"/>
                    <a:gd name="T31" fmla="*/ 8 h 8"/>
                    <a:gd name="T32" fmla="*/ 0 w 8"/>
                    <a:gd name="T33" fmla="*/ 8 h 8"/>
                    <a:gd name="T34" fmla="*/ 0 w 8"/>
                    <a:gd name="T35" fmla="*/ 8 h 8"/>
                    <a:gd name="T36" fmla="*/ 4 w 8"/>
                    <a:gd name="T37" fmla="*/ 8 h 8"/>
                    <a:gd name="T38" fmla="*/ 6 w 8"/>
                    <a:gd name="T39" fmla="*/ 8 h 8"/>
                    <a:gd name="T40" fmla="*/ 8 w 8"/>
                    <a:gd name="T41" fmla="*/ 8 h 8"/>
                    <a:gd name="T42" fmla="*/ 8 w 8"/>
                    <a:gd name="T43" fmla="*/ 4 h 8"/>
                    <a:gd name="T44" fmla="*/ 8 w 8"/>
                    <a:gd name="T45" fmla="*/ 2 h 8"/>
                    <a:gd name="T46" fmla="*/ 8 w 8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" h="8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close/>
                      <a:moveTo>
                        <a:pt x="8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09" name="Freeform 3324"/>
                <p:cNvSpPr>
                  <a:spLocks/>
                </p:cNvSpPr>
                <p:nvPr/>
              </p:nvSpPr>
              <p:spPr bwMode="auto">
                <a:xfrm>
                  <a:off x="5684" y="2770"/>
                  <a:ext cx="6" cy="4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0 h 4"/>
                    <a:gd name="T4" fmla="*/ 2 w 6"/>
                    <a:gd name="T5" fmla="*/ 0 h 4"/>
                    <a:gd name="T6" fmla="*/ 6 w 6"/>
                    <a:gd name="T7" fmla="*/ 0 h 4"/>
                    <a:gd name="T8" fmla="*/ 6 w 6"/>
                    <a:gd name="T9" fmla="*/ 2 h 4"/>
                    <a:gd name="T10" fmla="*/ 6 w 6"/>
                    <a:gd name="T11" fmla="*/ 4 h 4"/>
                    <a:gd name="T12" fmla="*/ 4 w 6"/>
                    <a:gd name="T13" fmla="*/ 4 h 4"/>
                    <a:gd name="T14" fmla="*/ 0 w 6"/>
                    <a:gd name="T15" fmla="*/ 4 h 4"/>
                    <a:gd name="T16" fmla="*/ 0 w 6"/>
                    <a:gd name="T17" fmla="*/ 2 h 4"/>
                    <a:gd name="T18" fmla="*/ 0 w 6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0" name="Freeform 3325"/>
                <p:cNvSpPr>
                  <a:spLocks/>
                </p:cNvSpPr>
                <p:nvPr/>
              </p:nvSpPr>
              <p:spPr bwMode="auto">
                <a:xfrm>
                  <a:off x="5684" y="2768"/>
                  <a:ext cx="8" cy="8"/>
                </a:xfrm>
                <a:custGeom>
                  <a:avLst/>
                  <a:gdLst>
                    <a:gd name="T0" fmla="*/ 8 w 8"/>
                    <a:gd name="T1" fmla="*/ 0 h 8"/>
                    <a:gd name="T2" fmla="*/ 2 w 8"/>
                    <a:gd name="T3" fmla="*/ 0 h 8"/>
                    <a:gd name="T4" fmla="*/ 0 w 8"/>
                    <a:gd name="T5" fmla="*/ 0 h 8"/>
                    <a:gd name="T6" fmla="*/ 0 w 8"/>
                    <a:gd name="T7" fmla="*/ 0 h 8"/>
                    <a:gd name="T8" fmla="*/ 0 w 8"/>
                    <a:gd name="T9" fmla="*/ 4 h 8"/>
                    <a:gd name="T10" fmla="*/ 0 w 8"/>
                    <a:gd name="T11" fmla="*/ 8 h 8"/>
                    <a:gd name="T12" fmla="*/ 0 w 8"/>
                    <a:gd name="T13" fmla="*/ 8 h 8"/>
                    <a:gd name="T14" fmla="*/ 0 w 8"/>
                    <a:gd name="T15" fmla="*/ 8 h 8"/>
                    <a:gd name="T16" fmla="*/ 4 w 8"/>
                    <a:gd name="T17" fmla="*/ 8 h 8"/>
                    <a:gd name="T18" fmla="*/ 6 w 8"/>
                    <a:gd name="T19" fmla="*/ 8 h 8"/>
                    <a:gd name="T20" fmla="*/ 8 w 8"/>
                    <a:gd name="T21" fmla="*/ 8 h 8"/>
                    <a:gd name="T22" fmla="*/ 8 w 8"/>
                    <a:gd name="T23" fmla="*/ 4 h 8"/>
                    <a:gd name="T24" fmla="*/ 8 w 8"/>
                    <a:gd name="T25" fmla="*/ 2 h 8"/>
                    <a:gd name="T26" fmla="*/ 8 w 8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8">
                      <a:moveTo>
                        <a:pt x="8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1" name="Rectangle 3326"/>
                <p:cNvSpPr>
                  <a:spLocks noChangeArrowheads="1"/>
                </p:cNvSpPr>
                <p:nvPr/>
              </p:nvSpPr>
              <p:spPr bwMode="auto">
                <a:xfrm>
                  <a:off x="5679" y="2787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2" name="Rectangle 3327"/>
                <p:cNvSpPr>
                  <a:spLocks noChangeArrowheads="1"/>
                </p:cNvSpPr>
                <p:nvPr/>
              </p:nvSpPr>
              <p:spPr bwMode="auto">
                <a:xfrm>
                  <a:off x="5679" y="2787"/>
                  <a:ext cx="1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3" name="Freeform 3328"/>
                <p:cNvSpPr>
                  <a:spLocks noEditPoints="1"/>
                </p:cNvSpPr>
                <p:nvPr/>
              </p:nvSpPr>
              <p:spPr bwMode="auto">
                <a:xfrm>
                  <a:off x="5679" y="2779"/>
                  <a:ext cx="5" cy="8"/>
                </a:xfrm>
                <a:custGeom>
                  <a:avLst/>
                  <a:gdLst>
                    <a:gd name="T0" fmla="*/ 2 w 5"/>
                    <a:gd name="T1" fmla="*/ 2 h 8"/>
                    <a:gd name="T2" fmla="*/ 2 w 5"/>
                    <a:gd name="T3" fmla="*/ 2 h 8"/>
                    <a:gd name="T4" fmla="*/ 2 w 5"/>
                    <a:gd name="T5" fmla="*/ 2 h 8"/>
                    <a:gd name="T6" fmla="*/ 5 w 5"/>
                    <a:gd name="T7" fmla="*/ 2 h 8"/>
                    <a:gd name="T8" fmla="*/ 5 w 5"/>
                    <a:gd name="T9" fmla="*/ 4 h 8"/>
                    <a:gd name="T10" fmla="*/ 5 w 5"/>
                    <a:gd name="T11" fmla="*/ 6 h 8"/>
                    <a:gd name="T12" fmla="*/ 3 w 5"/>
                    <a:gd name="T13" fmla="*/ 6 h 8"/>
                    <a:gd name="T14" fmla="*/ 2 w 5"/>
                    <a:gd name="T15" fmla="*/ 6 h 8"/>
                    <a:gd name="T16" fmla="*/ 2 w 5"/>
                    <a:gd name="T17" fmla="*/ 4 h 8"/>
                    <a:gd name="T18" fmla="*/ 2 w 5"/>
                    <a:gd name="T19" fmla="*/ 2 h 8"/>
                    <a:gd name="T20" fmla="*/ 5 w 5"/>
                    <a:gd name="T21" fmla="*/ 0 h 8"/>
                    <a:gd name="T22" fmla="*/ 2 w 5"/>
                    <a:gd name="T23" fmla="*/ 0 h 8"/>
                    <a:gd name="T24" fmla="*/ 0 w 5"/>
                    <a:gd name="T25" fmla="*/ 0 h 8"/>
                    <a:gd name="T26" fmla="*/ 0 w 5"/>
                    <a:gd name="T27" fmla="*/ 0 h 8"/>
                    <a:gd name="T28" fmla="*/ 0 w 5"/>
                    <a:gd name="T29" fmla="*/ 4 h 8"/>
                    <a:gd name="T30" fmla="*/ 0 w 5"/>
                    <a:gd name="T31" fmla="*/ 8 h 8"/>
                    <a:gd name="T32" fmla="*/ 0 w 5"/>
                    <a:gd name="T33" fmla="*/ 8 h 8"/>
                    <a:gd name="T34" fmla="*/ 0 w 5"/>
                    <a:gd name="T35" fmla="*/ 8 h 8"/>
                    <a:gd name="T36" fmla="*/ 3 w 5"/>
                    <a:gd name="T37" fmla="*/ 8 h 8"/>
                    <a:gd name="T38" fmla="*/ 5 w 5"/>
                    <a:gd name="T39" fmla="*/ 8 h 8"/>
                    <a:gd name="T40" fmla="*/ 5 w 5"/>
                    <a:gd name="T41" fmla="*/ 8 h 8"/>
                    <a:gd name="T42" fmla="*/ 5 w 5"/>
                    <a:gd name="T43" fmla="*/ 4 h 8"/>
                    <a:gd name="T44" fmla="*/ 5 w 5"/>
                    <a:gd name="T45" fmla="*/ 0 h 8"/>
                    <a:gd name="T46" fmla="*/ 5 w 5"/>
                    <a:gd name="T4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" h="8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5" y="8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4" name="Freeform 3329"/>
                <p:cNvSpPr>
                  <a:spLocks/>
                </p:cNvSpPr>
                <p:nvPr/>
              </p:nvSpPr>
              <p:spPr bwMode="auto">
                <a:xfrm>
                  <a:off x="5681" y="2781"/>
                  <a:ext cx="3" cy="4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0 h 4"/>
                    <a:gd name="T4" fmla="*/ 0 w 3"/>
                    <a:gd name="T5" fmla="*/ 0 h 4"/>
                    <a:gd name="T6" fmla="*/ 3 w 3"/>
                    <a:gd name="T7" fmla="*/ 0 h 4"/>
                    <a:gd name="T8" fmla="*/ 3 w 3"/>
                    <a:gd name="T9" fmla="*/ 2 h 4"/>
                    <a:gd name="T10" fmla="*/ 3 w 3"/>
                    <a:gd name="T11" fmla="*/ 4 h 4"/>
                    <a:gd name="T12" fmla="*/ 1 w 3"/>
                    <a:gd name="T13" fmla="*/ 4 h 4"/>
                    <a:gd name="T14" fmla="*/ 0 w 3"/>
                    <a:gd name="T15" fmla="*/ 4 h 4"/>
                    <a:gd name="T16" fmla="*/ 0 w 3"/>
                    <a:gd name="T17" fmla="*/ 2 h 4"/>
                    <a:gd name="T18" fmla="*/ 0 w 3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5" name="Freeform 3330"/>
                <p:cNvSpPr>
                  <a:spLocks/>
                </p:cNvSpPr>
                <p:nvPr/>
              </p:nvSpPr>
              <p:spPr bwMode="auto">
                <a:xfrm>
                  <a:off x="5679" y="2779"/>
                  <a:ext cx="5" cy="8"/>
                </a:xfrm>
                <a:custGeom>
                  <a:avLst/>
                  <a:gdLst>
                    <a:gd name="T0" fmla="*/ 5 w 5"/>
                    <a:gd name="T1" fmla="*/ 0 h 8"/>
                    <a:gd name="T2" fmla="*/ 2 w 5"/>
                    <a:gd name="T3" fmla="*/ 0 h 8"/>
                    <a:gd name="T4" fmla="*/ 0 w 5"/>
                    <a:gd name="T5" fmla="*/ 0 h 8"/>
                    <a:gd name="T6" fmla="*/ 0 w 5"/>
                    <a:gd name="T7" fmla="*/ 0 h 8"/>
                    <a:gd name="T8" fmla="*/ 0 w 5"/>
                    <a:gd name="T9" fmla="*/ 4 h 8"/>
                    <a:gd name="T10" fmla="*/ 0 w 5"/>
                    <a:gd name="T11" fmla="*/ 8 h 8"/>
                    <a:gd name="T12" fmla="*/ 0 w 5"/>
                    <a:gd name="T13" fmla="*/ 8 h 8"/>
                    <a:gd name="T14" fmla="*/ 0 w 5"/>
                    <a:gd name="T15" fmla="*/ 8 h 8"/>
                    <a:gd name="T16" fmla="*/ 3 w 5"/>
                    <a:gd name="T17" fmla="*/ 8 h 8"/>
                    <a:gd name="T18" fmla="*/ 5 w 5"/>
                    <a:gd name="T19" fmla="*/ 8 h 8"/>
                    <a:gd name="T20" fmla="*/ 5 w 5"/>
                    <a:gd name="T21" fmla="*/ 8 h 8"/>
                    <a:gd name="T22" fmla="*/ 5 w 5"/>
                    <a:gd name="T23" fmla="*/ 4 h 8"/>
                    <a:gd name="T24" fmla="*/ 5 w 5"/>
                    <a:gd name="T25" fmla="*/ 0 h 8"/>
                    <a:gd name="T26" fmla="*/ 5 w 5"/>
                    <a:gd name="T2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8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5" y="8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6" name="Freeform 3331"/>
                <p:cNvSpPr>
                  <a:spLocks/>
                </p:cNvSpPr>
                <p:nvPr/>
              </p:nvSpPr>
              <p:spPr bwMode="auto">
                <a:xfrm>
                  <a:off x="4992" y="819"/>
                  <a:ext cx="471" cy="905"/>
                </a:xfrm>
                <a:custGeom>
                  <a:avLst/>
                  <a:gdLst>
                    <a:gd name="T0" fmla="*/ 331 w 471"/>
                    <a:gd name="T1" fmla="*/ 76 h 905"/>
                    <a:gd name="T2" fmla="*/ 320 w 471"/>
                    <a:gd name="T3" fmla="*/ 106 h 905"/>
                    <a:gd name="T4" fmla="*/ 233 w 471"/>
                    <a:gd name="T5" fmla="*/ 150 h 905"/>
                    <a:gd name="T6" fmla="*/ 183 w 471"/>
                    <a:gd name="T7" fmla="*/ 91 h 905"/>
                    <a:gd name="T8" fmla="*/ 139 w 471"/>
                    <a:gd name="T9" fmla="*/ 106 h 905"/>
                    <a:gd name="T10" fmla="*/ 89 w 471"/>
                    <a:gd name="T11" fmla="*/ 135 h 905"/>
                    <a:gd name="T12" fmla="*/ 80 w 471"/>
                    <a:gd name="T13" fmla="*/ 152 h 905"/>
                    <a:gd name="T14" fmla="*/ 48 w 471"/>
                    <a:gd name="T15" fmla="*/ 165 h 905"/>
                    <a:gd name="T16" fmla="*/ 11 w 471"/>
                    <a:gd name="T17" fmla="*/ 192 h 905"/>
                    <a:gd name="T18" fmla="*/ 2 w 471"/>
                    <a:gd name="T19" fmla="*/ 229 h 905"/>
                    <a:gd name="T20" fmla="*/ 24 w 471"/>
                    <a:gd name="T21" fmla="*/ 242 h 905"/>
                    <a:gd name="T22" fmla="*/ 50 w 471"/>
                    <a:gd name="T23" fmla="*/ 277 h 905"/>
                    <a:gd name="T24" fmla="*/ 83 w 471"/>
                    <a:gd name="T25" fmla="*/ 294 h 905"/>
                    <a:gd name="T26" fmla="*/ 100 w 471"/>
                    <a:gd name="T27" fmla="*/ 329 h 905"/>
                    <a:gd name="T28" fmla="*/ 131 w 471"/>
                    <a:gd name="T29" fmla="*/ 349 h 905"/>
                    <a:gd name="T30" fmla="*/ 161 w 471"/>
                    <a:gd name="T31" fmla="*/ 377 h 905"/>
                    <a:gd name="T32" fmla="*/ 189 w 471"/>
                    <a:gd name="T33" fmla="*/ 395 h 905"/>
                    <a:gd name="T34" fmla="*/ 198 w 471"/>
                    <a:gd name="T35" fmla="*/ 384 h 905"/>
                    <a:gd name="T36" fmla="*/ 196 w 471"/>
                    <a:gd name="T37" fmla="*/ 368 h 905"/>
                    <a:gd name="T38" fmla="*/ 174 w 471"/>
                    <a:gd name="T39" fmla="*/ 357 h 905"/>
                    <a:gd name="T40" fmla="*/ 159 w 471"/>
                    <a:gd name="T41" fmla="*/ 310 h 905"/>
                    <a:gd name="T42" fmla="*/ 194 w 471"/>
                    <a:gd name="T43" fmla="*/ 292 h 905"/>
                    <a:gd name="T44" fmla="*/ 211 w 471"/>
                    <a:gd name="T45" fmla="*/ 336 h 905"/>
                    <a:gd name="T46" fmla="*/ 225 w 471"/>
                    <a:gd name="T47" fmla="*/ 357 h 905"/>
                    <a:gd name="T48" fmla="*/ 264 w 471"/>
                    <a:gd name="T49" fmla="*/ 392 h 905"/>
                    <a:gd name="T50" fmla="*/ 262 w 471"/>
                    <a:gd name="T51" fmla="*/ 453 h 905"/>
                    <a:gd name="T52" fmla="*/ 307 w 471"/>
                    <a:gd name="T53" fmla="*/ 639 h 905"/>
                    <a:gd name="T54" fmla="*/ 314 w 471"/>
                    <a:gd name="T55" fmla="*/ 705 h 905"/>
                    <a:gd name="T56" fmla="*/ 301 w 471"/>
                    <a:gd name="T57" fmla="*/ 733 h 905"/>
                    <a:gd name="T58" fmla="*/ 305 w 471"/>
                    <a:gd name="T59" fmla="*/ 750 h 905"/>
                    <a:gd name="T60" fmla="*/ 305 w 471"/>
                    <a:gd name="T61" fmla="*/ 775 h 905"/>
                    <a:gd name="T62" fmla="*/ 329 w 471"/>
                    <a:gd name="T63" fmla="*/ 807 h 905"/>
                    <a:gd name="T64" fmla="*/ 342 w 471"/>
                    <a:gd name="T65" fmla="*/ 870 h 905"/>
                    <a:gd name="T66" fmla="*/ 384 w 471"/>
                    <a:gd name="T67" fmla="*/ 899 h 905"/>
                    <a:gd name="T68" fmla="*/ 436 w 471"/>
                    <a:gd name="T69" fmla="*/ 829 h 905"/>
                    <a:gd name="T70" fmla="*/ 395 w 471"/>
                    <a:gd name="T71" fmla="*/ 811 h 905"/>
                    <a:gd name="T72" fmla="*/ 373 w 471"/>
                    <a:gd name="T73" fmla="*/ 798 h 905"/>
                    <a:gd name="T74" fmla="*/ 380 w 471"/>
                    <a:gd name="T75" fmla="*/ 768 h 905"/>
                    <a:gd name="T76" fmla="*/ 417 w 471"/>
                    <a:gd name="T77" fmla="*/ 715 h 905"/>
                    <a:gd name="T78" fmla="*/ 434 w 471"/>
                    <a:gd name="T79" fmla="*/ 635 h 905"/>
                    <a:gd name="T80" fmla="*/ 471 w 471"/>
                    <a:gd name="T81" fmla="*/ 582 h 905"/>
                    <a:gd name="T82" fmla="*/ 449 w 471"/>
                    <a:gd name="T83" fmla="*/ 565 h 905"/>
                    <a:gd name="T84" fmla="*/ 445 w 471"/>
                    <a:gd name="T85" fmla="*/ 578 h 905"/>
                    <a:gd name="T86" fmla="*/ 397 w 471"/>
                    <a:gd name="T87" fmla="*/ 563 h 905"/>
                    <a:gd name="T88" fmla="*/ 362 w 471"/>
                    <a:gd name="T89" fmla="*/ 501 h 905"/>
                    <a:gd name="T90" fmla="*/ 369 w 471"/>
                    <a:gd name="T91" fmla="*/ 495 h 905"/>
                    <a:gd name="T92" fmla="*/ 358 w 471"/>
                    <a:gd name="T93" fmla="*/ 480 h 905"/>
                    <a:gd name="T94" fmla="*/ 332 w 471"/>
                    <a:gd name="T95" fmla="*/ 453 h 905"/>
                    <a:gd name="T96" fmla="*/ 338 w 471"/>
                    <a:gd name="T97" fmla="*/ 419 h 905"/>
                    <a:gd name="T98" fmla="*/ 353 w 471"/>
                    <a:gd name="T99" fmla="*/ 384 h 905"/>
                    <a:gd name="T100" fmla="*/ 353 w 471"/>
                    <a:gd name="T101" fmla="*/ 353 h 905"/>
                    <a:gd name="T102" fmla="*/ 355 w 471"/>
                    <a:gd name="T103" fmla="*/ 327 h 905"/>
                    <a:gd name="T104" fmla="*/ 369 w 471"/>
                    <a:gd name="T105" fmla="*/ 344 h 905"/>
                    <a:gd name="T106" fmla="*/ 392 w 471"/>
                    <a:gd name="T107" fmla="*/ 346 h 905"/>
                    <a:gd name="T108" fmla="*/ 399 w 471"/>
                    <a:gd name="T109" fmla="*/ 250 h 905"/>
                    <a:gd name="T110" fmla="*/ 406 w 471"/>
                    <a:gd name="T111" fmla="*/ 227 h 905"/>
                    <a:gd name="T112" fmla="*/ 467 w 471"/>
                    <a:gd name="T113" fmla="*/ 218 h 905"/>
                    <a:gd name="T114" fmla="*/ 454 w 471"/>
                    <a:gd name="T115" fmla="*/ 191 h 905"/>
                    <a:gd name="T116" fmla="*/ 438 w 471"/>
                    <a:gd name="T117" fmla="*/ 185 h 905"/>
                    <a:gd name="T118" fmla="*/ 438 w 471"/>
                    <a:gd name="T119" fmla="*/ 104 h 905"/>
                    <a:gd name="T120" fmla="*/ 417 w 471"/>
                    <a:gd name="T121" fmla="*/ 82 h 905"/>
                    <a:gd name="T122" fmla="*/ 412 w 471"/>
                    <a:gd name="T123" fmla="*/ 48 h 905"/>
                    <a:gd name="T124" fmla="*/ 408 w 471"/>
                    <a:gd name="T125" fmla="*/ 17 h 9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71" h="905">
                      <a:moveTo>
                        <a:pt x="364" y="0"/>
                      </a:moveTo>
                      <a:lnTo>
                        <a:pt x="360" y="2"/>
                      </a:lnTo>
                      <a:lnTo>
                        <a:pt x="360" y="2"/>
                      </a:lnTo>
                      <a:lnTo>
                        <a:pt x="356" y="2"/>
                      </a:lnTo>
                      <a:lnTo>
                        <a:pt x="353" y="4"/>
                      </a:lnTo>
                      <a:lnTo>
                        <a:pt x="349" y="4"/>
                      </a:lnTo>
                      <a:lnTo>
                        <a:pt x="342" y="24"/>
                      </a:lnTo>
                      <a:lnTo>
                        <a:pt x="338" y="41"/>
                      </a:lnTo>
                      <a:lnTo>
                        <a:pt x="334" y="52"/>
                      </a:lnTo>
                      <a:lnTo>
                        <a:pt x="332" y="61"/>
                      </a:lnTo>
                      <a:lnTo>
                        <a:pt x="331" y="69"/>
                      </a:lnTo>
                      <a:lnTo>
                        <a:pt x="331" y="76"/>
                      </a:lnTo>
                      <a:lnTo>
                        <a:pt x="329" y="83"/>
                      </a:lnTo>
                      <a:lnTo>
                        <a:pt x="329" y="95"/>
                      </a:lnTo>
                      <a:lnTo>
                        <a:pt x="327" y="95"/>
                      </a:lnTo>
                      <a:lnTo>
                        <a:pt x="321" y="95"/>
                      </a:lnTo>
                      <a:lnTo>
                        <a:pt x="318" y="95"/>
                      </a:lnTo>
                      <a:lnTo>
                        <a:pt x="318" y="96"/>
                      </a:lnTo>
                      <a:lnTo>
                        <a:pt x="318" y="96"/>
                      </a:lnTo>
                      <a:lnTo>
                        <a:pt x="318" y="100"/>
                      </a:lnTo>
                      <a:lnTo>
                        <a:pt x="320" y="102"/>
                      </a:lnTo>
                      <a:lnTo>
                        <a:pt x="320" y="102"/>
                      </a:lnTo>
                      <a:lnTo>
                        <a:pt x="320" y="106"/>
                      </a:lnTo>
                      <a:lnTo>
                        <a:pt x="320" y="106"/>
                      </a:lnTo>
                      <a:lnTo>
                        <a:pt x="318" y="113"/>
                      </a:lnTo>
                      <a:lnTo>
                        <a:pt x="314" y="126"/>
                      </a:lnTo>
                      <a:lnTo>
                        <a:pt x="314" y="126"/>
                      </a:lnTo>
                      <a:lnTo>
                        <a:pt x="307" y="128"/>
                      </a:lnTo>
                      <a:lnTo>
                        <a:pt x="299" y="128"/>
                      </a:lnTo>
                      <a:lnTo>
                        <a:pt x="294" y="130"/>
                      </a:lnTo>
                      <a:lnTo>
                        <a:pt x="286" y="131"/>
                      </a:lnTo>
                      <a:lnTo>
                        <a:pt x="273" y="135"/>
                      </a:lnTo>
                      <a:lnTo>
                        <a:pt x="262" y="139"/>
                      </a:lnTo>
                      <a:lnTo>
                        <a:pt x="249" y="144"/>
                      </a:lnTo>
                      <a:lnTo>
                        <a:pt x="238" y="148"/>
                      </a:lnTo>
                      <a:lnTo>
                        <a:pt x="233" y="150"/>
                      </a:lnTo>
                      <a:lnTo>
                        <a:pt x="225" y="152"/>
                      </a:lnTo>
                      <a:lnTo>
                        <a:pt x="220" y="154"/>
                      </a:lnTo>
                      <a:lnTo>
                        <a:pt x="213" y="154"/>
                      </a:lnTo>
                      <a:lnTo>
                        <a:pt x="209" y="139"/>
                      </a:lnTo>
                      <a:lnTo>
                        <a:pt x="203" y="126"/>
                      </a:lnTo>
                      <a:lnTo>
                        <a:pt x="200" y="111"/>
                      </a:lnTo>
                      <a:lnTo>
                        <a:pt x="196" y="98"/>
                      </a:lnTo>
                      <a:lnTo>
                        <a:pt x="192" y="96"/>
                      </a:lnTo>
                      <a:lnTo>
                        <a:pt x="192" y="96"/>
                      </a:lnTo>
                      <a:lnTo>
                        <a:pt x="189" y="95"/>
                      </a:lnTo>
                      <a:lnTo>
                        <a:pt x="185" y="93"/>
                      </a:lnTo>
                      <a:lnTo>
                        <a:pt x="183" y="91"/>
                      </a:lnTo>
                      <a:lnTo>
                        <a:pt x="179" y="95"/>
                      </a:lnTo>
                      <a:lnTo>
                        <a:pt x="176" y="96"/>
                      </a:lnTo>
                      <a:lnTo>
                        <a:pt x="174" y="98"/>
                      </a:lnTo>
                      <a:lnTo>
                        <a:pt x="174" y="98"/>
                      </a:lnTo>
                      <a:lnTo>
                        <a:pt x="170" y="98"/>
                      </a:lnTo>
                      <a:lnTo>
                        <a:pt x="165" y="102"/>
                      </a:lnTo>
                      <a:lnTo>
                        <a:pt x="165" y="102"/>
                      </a:lnTo>
                      <a:lnTo>
                        <a:pt x="159" y="104"/>
                      </a:lnTo>
                      <a:lnTo>
                        <a:pt x="159" y="104"/>
                      </a:lnTo>
                      <a:lnTo>
                        <a:pt x="152" y="104"/>
                      </a:lnTo>
                      <a:lnTo>
                        <a:pt x="146" y="104"/>
                      </a:lnTo>
                      <a:lnTo>
                        <a:pt x="139" y="106"/>
                      </a:lnTo>
                      <a:lnTo>
                        <a:pt x="131" y="106"/>
                      </a:lnTo>
                      <a:lnTo>
                        <a:pt x="131" y="109"/>
                      </a:lnTo>
                      <a:lnTo>
                        <a:pt x="131" y="113"/>
                      </a:lnTo>
                      <a:lnTo>
                        <a:pt x="131" y="117"/>
                      </a:lnTo>
                      <a:lnTo>
                        <a:pt x="131" y="122"/>
                      </a:lnTo>
                      <a:lnTo>
                        <a:pt x="120" y="122"/>
                      </a:lnTo>
                      <a:lnTo>
                        <a:pt x="111" y="124"/>
                      </a:lnTo>
                      <a:lnTo>
                        <a:pt x="100" y="124"/>
                      </a:lnTo>
                      <a:lnTo>
                        <a:pt x="91" y="126"/>
                      </a:lnTo>
                      <a:lnTo>
                        <a:pt x="91" y="131"/>
                      </a:lnTo>
                      <a:lnTo>
                        <a:pt x="89" y="135"/>
                      </a:lnTo>
                      <a:lnTo>
                        <a:pt x="89" y="135"/>
                      </a:lnTo>
                      <a:lnTo>
                        <a:pt x="89" y="141"/>
                      </a:lnTo>
                      <a:lnTo>
                        <a:pt x="89" y="141"/>
                      </a:lnTo>
                      <a:lnTo>
                        <a:pt x="87" y="144"/>
                      </a:lnTo>
                      <a:lnTo>
                        <a:pt x="85" y="146"/>
                      </a:lnTo>
                      <a:lnTo>
                        <a:pt x="85" y="146"/>
                      </a:lnTo>
                      <a:lnTo>
                        <a:pt x="85" y="148"/>
                      </a:lnTo>
                      <a:lnTo>
                        <a:pt x="85" y="148"/>
                      </a:lnTo>
                      <a:lnTo>
                        <a:pt x="83" y="150"/>
                      </a:lnTo>
                      <a:lnTo>
                        <a:pt x="83" y="150"/>
                      </a:lnTo>
                      <a:lnTo>
                        <a:pt x="81" y="150"/>
                      </a:lnTo>
                      <a:lnTo>
                        <a:pt x="80" y="152"/>
                      </a:lnTo>
                      <a:lnTo>
                        <a:pt x="80" y="152"/>
                      </a:lnTo>
                      <a:lnTo>
                        <a:pt x="76" y="154"/>
                      </a:lnTo>
                      <a:lnTo>
                        <a:pt x="74" y="154"/>
                      </a:lnTo>
                      <a:lnTo>
                        <a:pt x="74" y="154"/>
                      </a:lnTo>
                      <a:lnTo>
                        <a:pt x="70" y="155"/>
                      </a:lnTo>
                      <a:lnTo>
                        <a:pt x="70" y="159"/>
                      </a:lnTo>
                      <a:lnTo>
                        <a:pt x="70" y="167"/>
                      </a:lnTo>
                      <a:lnTo>
                        <a:pt x="70" y="167"/>
                      </a:lnTo>
                      <a:lnTo>
                        <a:pt x="65" y="165"/>
                      </a:lnTo>
                      <a:lnTo>
                        <a:pt x="59" y="163"/>
                      </a:lnTo>
                      <a:lnTo>
                        <a:pt x="54" y="161"/>
                      </a:lnTo>
                      <a:lnTo>
                        <a:pt x="48" y="161"/>
                      </a:lnTo>
                      <a:lnTo>
                        <a:pt x="48" y="165"/>
                      </a:lnTo>
                      <a:lnTo>
                        <a:pt x="48" y="170"/>
                      </a:lnTo>
                      <a:lnTo>
                        <a:pt x="48" y="170"/>
                      </a:lnTo>
                      <a:lnTo>
                        <a:pt x="43" y="170"/>
                      </a:lnTo>
                      <a:lnTo>
                        <a:pt x="39" y="170"/>
                      </a:lnTo>
                      <a:lnTo>
                        <a:pt x="39" y="174"/>
                      </a:lnTo>
                      <a:lnTo>
                        <a:pt x="39" y="176"/>
                      </a:lnTo>
                      <a:lnTo>
                        <a:pt x="41" y="179"/>
                      </a:lnTo>
                      <a:lnTo>
                        <a:pt x="43" y="183"/>
                      </a:lnTo>
                      <a:lnTo>
                        <a:pt x="33" y="185"/>
                      </a:lnTo>
                      <a:lnTo>
                        <a:pt x="26" y="189"/>
                      </a:lnTo>
                      <a:lnTo>
                        <a:pt x="19" y="191"/>
                      </a:lnTo>
                      <a:lnTo>
                        <a:pt x="11" y="192"/>
                      </a:lnTo>
                      <a:lnTo>
                        <a:pt x="11" y="196"/>
                      </a:lnTo>
                      <a:lnTo>
                        <a:pt x="11" y="200"/>
                      </a:lnTo>
                      <a:lnTo>
                        <a:pt x="11" y="205"/>
                      </a:lnTo>
                      <a:lnTo>
                        <a:pt x="11" y="209"/>
                      </a:lnTo>
                      <a:lnTo>
                        <a:pt x="9" y="209"/>
                      </a:lnTo>
                      <a:lnTo>
                        <a:pt x="4" y="209"/>
                      </a:lnTo>
                      <a:lnTo>
                        <a:pt x="0" y="209"/>
                      </a:lnTo>
                      <a:lnTo>
                        <a:pt x="0" y="214"/>
                      </a:lnTo>
                      <a:lnTo>
                        <a:pt x="0" y="220"/>
                      </a:lnTo>
                      <a:lnTo>
                        <a:pt x="0" y="226"/>
                      </a:lnTo>
                      <a:lnTo>
                        <a:pt x="0" y="229"/>
                      </a:lnTo>
                      <a:lnTo>
                        <a:pt x="2" y="229"/>
                      </a:lnTo>
                      <a:lnTo>
                        <a:pt x="4" y="229"/>
                      </a:lnTo>
                      <a:lnTo>
                        <a:pt x="8" y="229"/>
                      </a:lnTo>
                      <a:lnTo>
                        <a:pt x="8" y="229"/>
                      </a:lnTo>
                      <a:lnTo>
                        <a:pt x="11" y="227"/>
                      </a:lnTo>
                      <a:lnTo>
                        <a:pt x="11" y="227"/>
                      </a:lnTo>
                      <a:lnTo>
                        <a:pt x="11" y="231"/>
                      </a:lnTo>
                      <a:lnTo>
                        <a:pt x="13" y="235"/>
                      </a:lnTo>
                      <a:lnTo>
                        <a:pt x="15" y="238"/>
                      </a:lnTo>
                      <a:lnTo>
                        <a:pt x="17" y="240"/>
                      </a:lnTo>
                      <a:lnTo>
                        <a:pt x="21" y="242"/>
                      </a:lnTo>
                      <a:lnTo>
                        <a:pt x="21" y="242"/>
                      </a:lnTo>
                      <a:lnTo>
                        <a:pt x="24" y="242"/>
                      </a:lnTo>
                      <a:lnTo>
                        <a:pt x="30" y="244"/>
                      </a:lnTo>
                      <a:lnTo>
                        <a:pt x="30" y="244"/>
                      </a:lnTo>
                      <a:lnTo>
                        <a:pt x="33" y="244"/>
                      </a:lnTo>
                      <a:lnTo>
                        <a:pt x="33" y="246"/>
                      </a:lnTo>
                      <a:lnTo>
                        <a:pt x="35" y="251"/>
                      </a:lnTo>
                      <a:lnTo>
                        <a:pt x="35" y="259"/>
                      </a:lnTo>
                      <a:lnTo>
                        <a:pt x="37" y="266"/>
                      </a:lnTo>
                      <a:lnTo>
                        <a:pt x="39" y="274"/>
                      </a:lnTo>
                      <a:lnTo>
                        <a:pt x="41" y="274"/>
                      </a:lnTo>
                      <a:lnTo>
                        <a:pt x="45" y="275"/>
                      </a:lnTo>
                      <a:lnTo>
                        <a:pt x="46" y="275"/>
                      </a:lnTo>
                      <a:lnTo>
                        <a:pt x="50" y="277"/>
                      </a:lnTo>
                      <a:lnTo>
                        <a:pt x="50" y="277"/>
                      </a:lnTo>
                      <a:lnTo>
                        <a:pt x="52" y="281"/>
                      </a:lnTo>
                      <a:lnTo>
                        <a:pt x="52" y="281"/>
                      </a:lnTo>
                      <a:lnTo>
                        <a:pt x="52" y="285"/>
                      </a:lnTo>
                      <a:lnTo>
                        <a:pt x="54" y="286"/>
                      </a:lnTo>
                      <a:lnTo>
                        <a:pt x="54" y="290"/>
                      </a:lnTo>
                      <a:lnTo>
                        <a:pt x="61" y="290"/>
                      </a:lnTo>
                      <a:lnTo>
                        <a:pt x="69" y="290"/>
                      </a:lnTo>
                      <a:lnTo>
                        <a:pt x="74" y="290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lnTo>
                        <a:pt x="83" y="294"/>
                      </a:lnTo>
                      <a:lnTo>
                        <a:pt x="83" y="299"/>
                      </a:lnTo>
                      <a:lnTo>
                        <a:pt x="83" y="303"/>
                      </a:lnTo>
                      <a:lnTo>
                        <a:pt x="83" y="307"/>
                      </a:lnTo>
                      <a:lnTo>
                        <a:pt x="85" y="307"/>
                      </a:lnTo>
                      <a:lnTo>
                        <a:pt x="91" y="305"/>
                      </a:lnTo>
                      <a:lnTo>
                        <a:pt x="94" y="305"/>
                      </a:lnTo>
                      <a:lnTo>
                        <a:pt x="100" y="305"/>
                      </a:lnTo>
                      <a:lnTo>
                        <a:pt x="100" y="307"/>
                      </a:lnTo>
                      <a:lnTo>
                        <a:pt x="100" y="312"/>
                      </a:lnTo>
                      <a:lnTo>
                        <a:pt x="100" y="318"/>
                      </a:lnTo>
                      <a:lnTo>
                        <a:pt x="100" y="323"/>
                      </a:lnTo>
                      <a:lnTo>
                        <a:pt x="100" y="329"/>
                      </a:lnTo>
                      <a:lnTo>
                        <a:pt x="98" y="329"/>
                      </a:lnTo>
                      <a:lnTo>
                        <a:pt x="96" y="331"/>
                      </a:lnTo>
                      <a:lnTo>
                        <a:pt x="94" y="334"/>
                      </a:lnTo>
                      <a:lnTo>
                        <a:pt x="94" y="336"/>
                      </a:lnTo>
                      <a:lnTo>
                        <a:pt x="98" y="340"/>
                      </a:lnTo>
                      <a:lnTo>
                        <a:pt x="105" y="338"/>
                      </a:lnTo>
                      <a:lnTo>
                        <a:pt x="115" y="338"/>
                      </a:lnTo>
                      <a:lnTo>
                        <a:pt x="122" y="338"/>
                      </a:lnTo>
                      <a:lnTo>
                        <a:pt x="131" y="338"/>
                      </a:lnTo>
                      <a:lnTo>
                        <a:pt x="131" y="338"/>
                      </a:lnTo>
                      <a:lnTo>
                        <a:pt x="131" y="344"/>
                      </a:lnTo>
                      <a:lnTo>
                        <a:pt x="131" y="349"/>
                      </a:lnTo>
                      <a:lnTo>
                        <a:pt x="137" y="351"/>
                      </a:lnTo>
                      <a:lnTo>
                        <a:pt x="142" y="351"/>
                      </a:lnTo>
                      <a:lnTo>
                        <a:pt x="148" y="353"/>
                      </a:lnTo>
                      <a:lnTo>
                        <a:pt x="153" y="355"/>
                      </a:lnTo>
                      <a:lnTo>
                        <a:pt x="153" y="355"/>
                      </a:lnTo>
                      <a:lnTo>
                        <a:pt x="153" y="360"/>
                      </a:lnTo>
                      <a:lnTo>
                        <a:pt x="153" y="366"/>
                      </a:lnTo>
                      <a:lnTo>
                        <a:pt x="153" y="370"/>
                      </a:lnTo>
                      <a:lnTo>
                        <a:pt x="153" y="373"/>
                      </a:lnTo>
                      <a:lnTo>
                        <a:pt x="155" y="375"/>
                      </a:lnTo>
                      <a:lnTo>
                        <a:pt x="157" y="377"/>
                      </a:lnTo>
                      <a:lnTo>
                        <a:pt x="161" y="377"/>
                      </a:lnTo>
                      <a:lnTo>
                        <a:pt x="168" y="377"/>
                      </a:lnTo>
                      <a:lnTo>
                        <a:pt x="168" y="377"/>
                      </a:lnTo>
                      <a:lnTo>
                        <a:pt x="168" y="382"/>
                      </a:lnTo>
                      <a:lnTo>
                        <a:pt x="168" y="388"/>
                      </a:lnTo>
                      <a:lnTo>
                        <a:pt x="172" y="390"/>
                      </a:lnTo>
                      <a:lnTo>
                        <a:pt x="177" y="394"/>
                      </a:lnTo>
                      <a:lnTo>
                        <a:pt x="181" y="395"/>
                      </a:lnTo>
                      <a:lnTo>
                        <a:pt x="185" y="397"/>
                      </a:lnTo>
                      <a:lnTo>
                        <a:pt x="187" y="397"/>
                      </a:lnTo>
                      <a:lnTo>
                        <a:pt x="187" y="397"/>
                      </a:lnTo>
                      <a:lnTo>
                        <a:pt x="187" y="395"/>
                      </a:lnTo>
                      <a:lnTo>
                        <a:pt x="189" y="395"/>
                      </a:lnTo>
                      <a:lnTo>
                        <a:pt x="190" y="397"/>
                      </a:lnTo>
                      <a:lnTo>
                        <a:pt x="190" y="397"/>
                      </a:lnTo>
                      <a:lnTo>
                        <a:pt x="192" y="397"/>
                      </a:lnTo>
                      <a:lnTo>
                        <a:pt x="194" y="394"/>
                      </a:lnTo>
                      <a:lnTo>
                        <a:pt x="196" y="390"/>
                      </a:lnTo>
                      <a:lnTo>
                        <a:pt x="196" y="390"/>
                      </a:lnTo>
                      <a:lnTo>
                        <a:pt x="194" y="388"/>
                      </a:lnTo>
                      <a:lnTo>
                        <a:pt x="194" y="388"/>
                      </a:lnTo>
                      <a:lnTo>
                        <a:pt x="196" y="386"/>
                      </a:lnTo>
                      <a:lnTo>
                        <a:pt x="196" y="386"/>
                      </a:lnTo>
                      <a:lnTo>
                        <a:pt x="198" y="384"/>
                      </a:lnTo>
                      <a:lnTo>
                        <a:pt x="198" y="384"/>
                      </a:lnTo>
                      <a:lnTo>
                        <a:pt x="200" y="386"/>
                      </a:lnTo>
                      <a:lnTo>
                        <a:pt x="200" y="386"/>
                      </a:lnTo>
                      <a:lnTo>
                        <a:pt x="203" y="384"/>
                      </a:lnTo>
                      <a:lnTo>
                        <a:pt x="203" y="384"/>
                      </a:lnTo>
                      <a:lnTo>
                        <a:pt x="205" y="382"/>
                      </a:lnTo>
                      <a:lnTo>
                        <a:pt x="205" y="379"/>
                      </a:lnTo>
                      <a:lnTo>
                        <a:pt x="205" y="375"/>
                      </a:lnTo>
                      <a:lnTo>
                        <a:pt x="203" y="371"/>
                      </a:lnTo>
                      <a:lnTo>
                        <a:pt x="203" y="368"/>
                      </a:lnTo>
                      <a:lnTo>
                        <a:pt x="200" y="368"/>
                      </a:lnTo>
                      <a:lnTo>
                        <a:pt x="196" y="368"/>
                      </a:lnTo>
                      <a:lnTo>
                        <a:pt x="196" y="368"/>
                      </a:lnTo>
                      <a:lnTo>
                        <a:pt x="192" y="368"/>
                      </a:lnTo>
                      <a:lnTo>
                        <a:pt x="192" y="368"/>
                      </a:lnTo>
                      <a:lnTo>
                        <a:pt x="189" y="366"/>
                      </a:lnTo>
                      <a:lnTo>
                        <a:pt x="187" y="366"/>
                      </a:lnTo>
                      <a:lnTo>
                        <a:pt x="185" y="366"/>
                      </a:lnTo>
                      <a:lnTo>
                        <a:pt x="181" y="364"/>
                      </a:lnTo>
                      <a:lnTo>
                        <a:pt x="181" y="364"/>
                      </a:lnTo>
                      <a:lnTo>
                        <a:pt x="179" y="362"/>
                      </a:lnTo>
                      <a:lnTo>
                        <a:pt x="179" y="362"/>
                      </a:lnTo>
                      <a:lnTo>
                        <a:pt x="176" y="360"/>
                      </a:lnTo>
                      <a:lnTo>
                        <a:pt x="174" y="358"/>
                      </a:lnTo>
                      <a:lnTo>
                        <a:pt x="174" y="357"/>
                      </a:lnTo>
                      <a:lnTo>
                        <a:pt x="172" y="355"/>
                      </a:lnTo>
                      <a:lnTo>
                        <a:pt x="170" y="353"/>
                      </a:lnTo>
                      <a:lnTo>
                        <a:pt x="168" y="349"/>
                      </a:lnTo>
                      <a:lnTo>
                        <a:pt x="168" y="349"/>
                      </a:lnTo>
                      <a:lnTo>
                        <a:pt x="166" y="346"/>
                      </a:lnTo>
                      <a:lnTo>
                        <a:pt x="166" y="342"/>
                      </a:lnTo>
                      <a:lnTo>
                        <a:pt x="165" y="338"/>
                      </a:lnTo>
                      <a:lnTo>
                        <a:pt x="165" y="334"/>
                      </a:lnTo>
                      <a:lnTo>
                        <a:pt x="159" y="334"/>
                      </a:lnTo>
                      <a:lnTo>
                        <a:pt x="152" y="334"/>
                      </a:lnTo>
                      <a:lnTo>
                        <a:pt x="155" y="322"/>
                      </a:lnTo>
                      <a:lnTo>
                        <a:pt x="159" y="310"/>
                      </a:lnTo>
                      <a:lnTo>
                        <a:pt x="163" y="299"/>
                      </a:lnTo>
                      <a:lnTo>
                        <a:pt x="166" y="288"/>
                      </a:lnTo>
                      <a:lnTo>
                        <a:pt x="168" y="288"/>
                      </a:lnTo>
                      <a:lnTo>
                        <a:pt x="174" y="286"/>
                      </a:lnTo>
                      <a:lnTo>
                        <a:pt x="179" y="283"/>
                      </a:lnTo>
                      <a:lnTo>
                        <a:pt x="187" y="281"/>
                      </a:lnTo>
                      <a:lnTo>
                        <a:pt x="192" y="279"/>
                      </a:lnTo>
                      <a:lnTo>
                        <a:pt x="192" y="279"/>
                      </a:lnTo>
                      <a:lnTo>
                        <a:pt x="196" y="285"/>
                      </a:lnTo>
                      <a:lnTo>
                        <a:pt x="198" y="290"/>
                      </a:lnTo>
                      <a:lnTo>
                        <a:pt x="198" y="290"/>
                      </a:lnTo>
                      <a:lnTo>
                        <a:pt x="194" y="292"/>
                      </a:lnTo>
                      <a:lnTo>
                        <a:pt x="190" y="292"/>
                      </a:lnTo>
                      <a:lnTo>
                        <a:pt x="187" y="294"/>
                      </a:lnTo>
                      <a:lnTo>
                        <a:pt x="185" y="294"/>
                      </a:lnTo>
                      <a:lnTo>
                        <a:pt x="185" y="301"/>
                      </a:lnTo>
                      <a:lnTo>
                        <a:pt x="185" y="309"/>
                      </a:lnTo>
                      <a:lnTo>
                        <a:pt x="187" y="316"/>
                      </a:lnTo>
                      <a:lnTo>
                        <a:pt x="187" y="322"/>
                      </a:lnTo>
                      <a:lnTo>
                        <a:pt x="194" y="325"/>
                      </a:lnTo>
                      <a:lnTo>
                        <a:pt x="200" y="329"/>
                      </a:lnTo>
                      <a:lnTo>
                        <a:pt x="200" y="329"/>
                      </a:lnTo>
                      <a:lnTo>
                        <a:pt x="205" y="333"/>
                      </a:lnTo>
                      <a:lnTo>
                        <a:pt x="211" y="336"/>
                      </a:lnTo>
                      <a:lnTo>
                        <a:pt x="213" y="336"/>
                      </a:lnTo>
                      <a:lnTo>
                        <a:pt x="213" y="338"/>
                      </a:lnTo>
                      <a:lnTo>
                        <a:pt x="214" y="340"/>
                      </a:lnTo>
                      <a:lnTo>
                        <a:pt x="216" y="342"/>
                      </a:lnTo>
                      <a:lnTo>
                        <a:pt x="220" y="344"/>
                      </a:lnTo>
                      <a:lnTo>
                        <a:pt x="220" y="344"/>
                      </a:lnTo>
                      <a:lnTo>
                        <a:pt x="220" y="347"/>
                      </a:lnTo>
                      <a:lnTo>
                        <a:pt x="220" y="347"/>
                      </a:lnTo>
                      <a:lnTo>
                        <a:pt x="222" y="351"/>
                      </a:lnTo>
                      <a:lnTo>
                        <a:pt x="224" y="355"/>
                      </a:lnTo>
                      <a:lnTo>
                        <a:pt x="224" y="355"/>
                      </a:lnTo>
                      <a:lnTo>
                        <a:pt x="225" y="357"/>
                      </a:lnTo>
                      <a:lnTo>
                        <a:pt x="231" y="358"/>
                      </a:lnTo>
                      <a:lnTo>
                        <a:pt x="236" y="360"/>
                      </a:lnTo>
                      <a:lnTo>
                        <a:pt x="242" y="362"/>
                      </a:lnTo>
                      <a:lnTo>
                        <a:pt x="248" y="364"/>
                      </a:lnTo>
                      <a:lnTo>
                        <a:pt x="248" y="364"/>
                      </a:lnTo>
                      <a:lnTo>
                        <a:pt x="249" y="370"/>
                      </a:lnTo>
                      <a:lnTo>
                        <a:pt x="249" y="375"/>
                      </a:lnTo>
                      <a:lnTo>
                        <a:pt x="249" y="381"/>
                      </a:lnTo>
                      <a:lnTo>
                        <a:pt x="249" y="388"/>
                      </a:lnTo>
                      <a:lnTo>
                        <a:pt x="255" y="388"/>
                      </a:lnTo>
                      <a:lnTo>
                        <a:pt x="259" y="390"/>
                      </a:lnTo>
                      <a:lnTo>
                        <a:pt x="264" y="392"/>
                      </a:lnTo>
                      <a:lnTo>
                        <a:pt x="270" y="392"/>
                      </a:lnTo>
                      <a:lnTo>
                        <a:pt x="270" y="394"/>
                      </a:lnTo>
                      <a:lnTo>
                        <a:pt x="270" y="399"/>
                      </a:lnTo>
                      <a:lnTo>
                        <a:pt x="270" y="403"/>
                      </a:lnTo>
                      <a:lnTo>
                        <a:pt x="270" y="410"/>
                      </a:lnTo>
                      <a:lnTo>
                        <a:pt x="270" y="416"/>
                      </a:lnTo>
                      <a:lnTo>
                        <a:pt x="268" y="416"/>
                      </a:lnTo>
                      <a:lnTo>
                        <a:pt x="264" y="416"/>
                      </a:lnTo>
                      <a:lnTo>
                        <a:pt x="259" y="416"/>
                      </a:lnTo>
                      <a:lnTo>
                        <a:pt x="260" y="427"/>
                      </a:lnTo>
                      <a:lnTo>
                        <a:pt x="262" y="440"/>
                      </a:lnTo>
                      <a:lnTo>
                        <a:pt x="262" y="453"/>
                      </a:lnTo>
                      <a:lnTo>
                        <a:pt x="262" y="453"/>
                      </a:lnTo>
                      <a:lnTo>
                        <a:pt x="266" y="464"/>
                      </a:lnTo>
                      <a:lnTo>
                        <a:pt x="270" y="488"/>
                      </a:lnTo>
                      <a:lnTo>
                        <a:pt x="275" y="513"/>
                      </a:lnTo>
                      <a:lnTo>
                        <a:pt x="279" y="537"/>
                      </a:lnTo>
                      <a:lnTo>
                        <a:pt x="284" y="561"/>
                      </a:lnTo>
                      <a:lnTo>
                        <a:pt x="290" y="585"/>
                      </a:lnTo>
                      <a:lnTo>
                        <a:pt x="296" y="611"/>
                      </a:lnTo>
                      <a:lnTo>
                        <a:pt x="297" y="617"/>
                      </a:lnTo>
                      <a:lnTo>
                        <a:pt x="301" y="624"/>
                      </a:lnTo>
                      <a:lnTo>
                        <a:pt x="305" y="632"/>
                      </a:lnTo>
                      <a:lnTo>
                        <a:pt x="307" y="639"/>
                      </a:lnTo>
                      <a:lnTo>
                        <a:pt x="308" y="646"/>
                      </a:lnTo>
                      <a:lnTo>
                        <a:pt x="312" y="656"/>
                      </a:lnTo>
                      <a:lnTo>
                        <a:pt x="314" y="663"/>
                      </a:lnTo>
                      <a:lnTo>
                        <a:pt x="316" y="672"/>
                      </a:lnTo>
                      <a:lnTo>
                        <a:pt x="316" y="681"/>
                      </a:lnTo>
                      <a:lnTo>
                        <a:pt x="316" y="689"/>
                      </a:lnTo>
                      <a:lnTo>
                        <a:pt x="316" y="689"/>
                      </a:lnTo>
                      <a:lnTo>
                        <a:pt x="316" y="692"/>
                      </a:lnTo>
                      <a:lnTo>
                        <a:pt x="316" y="698"/>
                      </a:lnTo>
                      <a:lnTo>
                        <a:pt x="316" y="702"/>
                      </a:lnTo>
                      <a:lnTo>
                        <a:pt x="316" y="702"/>
                      </a:lnTo>
                      <a:lnTo>
                        <a:pt x="314" y="705"/>
                      </a:lnTo>
                      <a:lnTo>
                        <a:pt x="314" y="709"/>
                      </a:lnTo>
                      <a:lnTo>
                        <a:pt x="312" y="713"/>
                      </a:lnTo>
                      <a:lnTo>
                        <a:pt x="312" y="713"/>
                      </a:lnTo>
                      <a:lnTo>
                        <a:pt x="310" y="715"/>
                      </a:lnTo>
                      <a:lnTo>
                        <a:pt x="308" y="718"/>
                      </a:lnTo>
                      <a:lnTo>
                        <a:pt x="308" y="718"/>
                      </a:lnTo>
                      <a:lnTo>
                        <a:pt x="307" y="722"/>
                      </a:lnTo>
                      <a:lnTo>
                        <a:pt x="305" y="724"/>
                      </a:lnTo>
                      <a:lnTo>
                        <a:pt x="303" y="728"/>
                      </a:lnTo>
                      <a:lnTo>
                        <a:pt x="303" y="728"/>
                      </a:lnTo>
                      <a:lnTo>
                        <a:pt x="299" y="729"/>
                      </a:lnTo>
                      <a:lnTo>
                        <a:pt x="301" y="733"/>
                      </a:lnTo>
                      <a:lnTo>
                        <a:pt x="301" y="733"/>
                      </a:lnTo>
                      <a:lnTo>
                        <a:pt x="303" y="737"/>
                      </a:lnTo>
                      <a:lnTo>
                        <a:pt x="305" y="739"/>
                      </a:lnTo>
                      <a:lnTo>
                        <a:pt x="305" y="739"/>
                      </a:lnTo>
                      <a:lnTo>
                        <a:pt x="305" y="742"/>
                      </a:lnTo>
                      <a:lnTo>
                        <a:pt x="305" y="742"/>
                      </a:lnTo>
                      <a:lnTo>
                        <a:pt x="305" y="744"/>
                      </a:lnTo>
                      <a:lnTo>
                        <a:pt x="305" y="744"/>
                      </a:lnTo>
                      <a:lnTo>
                        <a:pt x="305" y="746"/>
                      </a:lnTo>
                      <a:lnTo>
                        <a:pt x="305" y="746"/>
                      </a:lnTo>
                      <a:lnTo>
                        <a:pt x="305" y="750"/>
                      </a:lnTo>
                      <a:lnTo>
                        <a:pt x="305" y="750"/>
                      </a:lnTo>
                      <a:lnTo>
                        <a:pt x="305" y="755"/>
                      </a:lnTo>
                      <a:lnTo>
                        <a:pt x="305" y="755"/>
                      </a:lnTo>
                      <a:lnTo>
                        <a:pt x="299" y="755"/>
                      </a:lnTo>
                      <a:lnTo>
                        <a:pt x="296" y="757"/>
                      </a:lnTo>
                      <a:lnTo>
                        <a:pt x="292" y="757"/>
                      </a:lnTo>
                      <a:lnTo>
                        <a:pt x="288" y="759"/>
                      </a:lnTo>
                      <a:lnTo>
                        <a:pt x="288" y="763"/>
                      </a:lnTo>
                      <a:lnTo>
                        <a:pt x="288" y="768"/>
                      </a:lnTo>
                      <a:lnTo>
                        <a:pt x="294" y="770"/>
                      </a:lnTo>
                      <a:lnTo>
                        <a:pt x="299" y="774"/>
                      </a:lnTo>
                      <a:lnTo>
                        <a:pt x="305" y="775"/>
                      </a:lnTo>
                      <a:lnTo>
                        <a:pt x="305" y="775"/>
                      </a:lnTo>
                      <a:lnTo>
                        <a:pt x="308" y="779"/>
                      </a:lnTo>
                      <a:lnTo>
                        <a:pt x="314" y="783"/>
                      </a:lnTo>
                      <a:lnTo>
                        <a:pt x="314" y="783"/>
                      </a:lnTo>
                      <a:lnTo>
                        <a:pt x="318" y="787"/>
                      </a:lnTo>
                      <a:lnTo>
                        <a:pt x="320" y="790"/>
                      </a:lnTo>
                      <a:lnTo>
                        <a:pt x="320" y="790"/>
                      </a:lnTo>
                      <a:lnTo>
                        <a:pt x="323" y="794"/>
                      </a:lnTo>
                      <a:lnTo>
                        <a:pt x="325" y="798"/>
                      </a:lnTo>
                      <a:lnTo>
                        <a:pt x="325" y="798"/>
                      </a:lnTo>
                      <a:lnTo>
                        <a:pt x="327" y="803"/>
                      </a:lnTo>
                      <a:lnTo>
                        <a:pt x="327" y="803"/>
                      </a:lnTo>
                      <a:lnTo>
                        <a:pt x="329" y="807"/>
                      </a:lnTo>
                      <a:lnTo>
                        <a:pt x="329" y="807"/>
                      </a:lnTo>
                      <a:lnTo>
                        <a:pt x="331" y="811"/>
                      </a:lnTo>
                      <a:lnTo>
                        <a:pt x="332" y="820"/>
                      </a:lnTo>
                      <a:lnTo>
                        <a:pt x="332" y="831"/>
                      </a:lnTo>
                      <a:lnTo>
                        <a:pt x="334" y="840"/>
                      </a:lnTo>
                      <a:lnTo>
                        <a:pt x="334" y="840"/>
                      </a:lnTo>
                      <a:lnTo>
                        <a:pt x="334" y="840"/>
                      </a:lnTo>
                      <a:lnTo>
                        <a:pt x="336" y="849"/>
                      </a:lnTo>
                      <a:lnTo>
                        <a:pt x="336" y="855"/>
                      </a:lnTo>
                      <a:lnTo>
                        <a:pt x="338" y="859"/>
                      </a:lnTo>
                      <a:lnTo>
                        <a:pt x="340" y="864"/>
                      </a:lnTo>
                      <a:lnTo>
                        <a:pt x="342" y="870"/>
                      </a:lnTo>
                      <a:lnTo>
                        <a:pt x="342" y="870"/>
                      </a:lnTo>
                      <a:lnTo>
                        <a:pt x="344" y="873"/>
                      </a:lnTo>
                      <a:lnTo>
                        <a:pt x="345" y="879"/>
                      </a:lnTo>
                      <a:lnTo>
                        <a:pt x="349" y="883"/>
                      </a:lnTo>
                      <a:lnTo>
                        <a:pt x="351" y="888"/>
                      </a:lnTo>
                      <a:lnTo>
                        <a:pt x="355" y="892"/>
                      </a:lnTo>
                      <a:lnTo>
                        <a:pt x="360" y="897"/>
                      </a:lnTo>
                      <a:lnTo>
                        <a:pt x="364" y="901"/>
                      </a:lnTo>
                      <a:lnTo>
                        <a:pt x="369" y="905"/>
                      </a:lnTo>
                      <a:lnTo>
                        <a:pt x="375" y="903"/>
                      </a:lnTo>
                      <a:lnTo>
                        <a:pt x="380" y="901"/>
                      </a:lnTo>
                      <a:lnTo>
                        <a:pt x="384" y="899"/>
                      </a:lnTo>
                      <a:lnTo>
                        <a:pt x="390" y="895"/>
                      </a:lnTo>
                      <a:lnTo>
                        <a:pt x="393" y="894"/>
                      </a:lnTo>
                      <a:lnTo>
                        <a:pt x="399" y="890"/>
                      </a:lnTo>
                      <a:lnTo>
                        <a:pt x="399" y="890"/>
                      </a:lnTo>
                      <a:lnTo>
                        <a:pt x="403" y="886"/>
                      </a:lnTo>
                      <a:lnTo>
                        <a:pt x="408" y="883"/>
                      </a:lnTo>
                      <a:lnTo>
                        <a:pt x="416" y="875"/>
                      </a:lnTo>
                      <a:lnTo>
                        <a:pt x="425" y="868"/>
                      </a:lnTo>
                      <a:lnTo>
                        <a:pt x="432" y="859"/>
                      </a:lnTo>
                      <a:lnTo>
                        <a:pt x="438" y="851"/>
                      </a:lnTo>
                      <a:lnTo>
                        <a:pt x="436" y="840"/>
                      </a:lnTo>
                      <a:lnTo>
                        <a:pt x="436" y="829"/>
                      </a:lnTo>
                      <a:lnTo>
                        <a:pt x="432" y="818"/>
                      </a:lnTo>
                      <a:lnTo>
                        <a:pt x="432" y="807"/>
                      </a:lnTo>
                      <a:lnTo>
                        <a:pt x="428" y="807"/>
                      </a:lnTo>
                      <a:lnTo>
                        <a:pt x="425" y="805"/>
                      </a:lnTo>
                      <a:lnTo>
                        <a:pt x="421" y="805"/>
                      </a:lnTo>
                      <a:lnTo>
                        <a:pt x="417" y="807"/>
                      </a:lnTo>
                      <a:lnTo>
                        <a:pt x="410" y="807"/>
                      </a:lnTo>
                      <a:lnTo>
                        <a:pt x="404" y="809"/>
                      </a:lnTo>
                      <a:lnTo>
                        <a:pt x="401" y="811"/>
                      </a:lnTo>
                      <a:lnTo>
                        <a:pt x="401" y="811"/>
                      </a:lnTo>
                      <a:lnTo>
                        <a:pt x="399" y="811"/>
                      </a:lnTo>
                      <a:lnTo>
                        <a:pt x="395" y="811"/>
                      </a:lnTo>
                      <a:lnTo>
                        <a:pt x="395" y="811"/>
                      </a:lnTo>
                      <a:lnTo>
                        <a:pt x="392" y="811"/>
                      </a:lnTo>
                      <a:lnTo>
                        <a:pt x="392" y="811"/>
                      </a:lnTo>
                      <a:lnTo>
                        <a:pt x="388" y="811"/>
                      </a:lnTo>
                      <a:lnTo>
                        <a:pt x="388" y="811"/>
                      </a:lnTo>
                      <a:lnTo>
                        <a:pt x="382" y="809"/>
                      </a:lnTo>
                      <a:lnTo>
                        <a:pt x="382" y="809"/>
                      </a:lnTo>
                      <a:lnTo>
                        <a:pt x="379" y="807"/>
                      </a:lnTo>
                      <a:lnTo>
                        <a:pt x="379" y="807"/>
                      </a:lnTo>
                      <a:lnTo>
                        <a:pt x="373" y="803"/>
                      </a:lnTo>
                      <a:lnTo>
                        <a:pt x="373" y="803"/>
                      </a:lnTo>
                      <a:lnTo>
                        <a:pt x="373" y="798"/>
                      </a:lnTo>
                      <a:lnTo>
                        <a:pt x="371" y="792"/>
                      </a:lnTo>
                      <a:lnTo>
                        <a:pt x="371" y="788"/>
                      </a:lnTo>
                      <a:lnTo>
                        <a:pt x="371" y="788"/>
                      </a:lnTo>
                      <a:lnTo>
                        <a:pt x="371" y="785"/>
                      </a:lnTo>
                      <a:lnTo>
                        <a:pt x="371" y="785"/>
                      </a:lnTo>
                      <a:lnTo>
                        <a:pt x="373" y="781"/>
                      </a:lnTo>
                      <a:lnTo>
                        <a:pt x="373" y="781"/>
                      </a:lnTo>
                      <a:lnTo>
                        <a:pt x="375" y="777"/>
                      </a:lnTo>
                      <a:lnTo>
                        <a:pt x="375" y="777"/>
                      </a:lnTo>
                      <a:lnTo>
                        <a:pt x="377" y="774"/>
                      </a:lnTo>
                      <a:lnTo>
                        <a:pt x="380" y="768"/>
                      </a:lnTo>
                      <a:lnTo>
                        <a:pt x="380" y="768"/>
                      </a:lnTo>
                      <a:lnTo>
                        <a:pt x="390" y="768"/>
                      </a:lnTo>
                      <a:lnTo>
                        <a:pt x="399" y="768"/>
                      </a:lnTo>
                      <a:lnTo>
                        <a:pt x="408" y="768"/>
                      </a:lnTo>
                      <a:lnTo>
                        <a:pt x="417" y="768"/>
                      </a:lnTo>
                      <a:lnTo>
                        <a:pt x="421" y="761"/>
                      </a:lnTo>
                      <a:lnTo>
                        <a:pt x="423" y="755"/>
                      </a:lnTo>
                      <a:lnTo>
                        <a:pt x="425" y="750"/>
                      </a:lnTo>
                      <a:lnTo>
                        <a:pt x="425" y="746"/>
                      </a:lnTo>
                      <a:lnTo>
                        <a:pt x="427" y="733"/>
                      </a:lnTo>
                      <a:lnTo>
                        <a:pt x="428" y="715"/>
                      </a:lnTo>
                      <a:lnTo>
                        <a:pt x="423" y="715"/>
                      </a:lnTo>
                      <a:lnTo>
                        <a:pt x="417" y="715"/>
                      </a:lnTo>
                      <a:lnTo>
                        <a:pt x="417" y="715"/>
                      </a:lnTo>
                      <a:lnTo>
                        <a:pt x="417" y="705"/>
                      </a:lnTo>
                      <a:lnTo>
                        <a:pt x="416" y="698"/>
                      </a:lnTo>
                      <a:lnTo>
                        <a:pt x="414" y="691"/>
                      </a:lnTo>
                      <a:lnTo>
                        <a:pt x="412" y="685"/>
                      </a:lnTo>
                      <a:lnTo>
                        <a:pt x="408" y="678"/>
                      </a:lnTo>
                      <a:lnTo>
                        <a:pt x="404" y="672"/>
                      </a:lnTo>
                      <a:lnTo>
                        <a:pt x="401" y="667"/>
                      </a:lnTo>
                      <a:lnTo>
                        <a:pt x="395" y="657"/>
                      </a:lnTo>
                      <a:lnTo>
                        <a:pt x="408" y="650"/>
                      </a:lnTo>
                      <a:lnTo>
                        <a:pt x="421" y="643"/>
                      </a:lnTo>
                      <a:lnTo>
                        <a:pt x="434" y="635"/>
                      </a:lnTo>
                      <a:lnTo>
                        <a:pt x="445" y="626"/>
                      </a:lnTo>
                      <a:lnTo>
                        <a:pt x="449" y="620"/>
                      </a:lnTo>
                      <a:lnTo>
                        <a:pt x="452" y="613"/>
                      </a:lnTo>
                      <a:lnTo>
                        <a:pt x="456" y="609"/>
                      </a:lnTo>
                      <a:lnTo>
                        <a:pt x="456" y="609"/>
                      </a:lnTo>
                      <a:lnTo>
                        <a:pt x="458" y="606"/>
                      </a:lnTo>
                      <a:lnTo>
                        <a:pt x="462" y="604"/>
                      </a:lnTo>
                      <a:lnTo>
                        <a:pt x="463" y="600"/>
                      </a:lnTo>
                      <a:lnTo>
                        <a:pt x="467" y="596"/>
                      </a:lnTo>
                      <a:lnTo>
                        <a:pt x="471" y="593"/>
                      </a:lnTo>
                      <a:lnTo>
                        <a:pt x="471" y="587"/>
                      </a:lnTo>
                      <a:lnTo>
                        <a:pt x="471" y="582"/>
                      </a:lnTo>
                      <a:lnTo>
                        <a:pt x="469" y="576"/>
                      </a:lnTo>
                      <a:lnTo>
                        <a:pt x="467" y="571"/>
                      </a:lnTo>
                      <a:lnTo>
                        <a:pt x="467" y="567"/>
                      </a:lnTo>
                      <a:lnTo>
                        <a:pt x="463" y="561"/>
                      </a:lnTo>
                      <a:lnTo>
                        <a:pt x="462" y="556"/>
                      </a:lnTo>
                      <a:lnTo>
                        <a:pt x="458" y="552"/>
                      </a:lnTo>
                      <a:lnTo>
                        <a:pt x="456" y="556"/>
                      </a:lnTo>
                      <a:lnTo>
                        <a:pt x="456" y="556"/>
                      </a:lnTo>
                      <a:lnTo>
                        <a:pt x="454" y="560"/>
                      </a:lnTo>
                      <a:lnTo>
                        <a:pt x="451" y="563"/>
                      </a:lnTo>
                      <a:lnTo>
                        <a:pt x="451" y="563"/>
                      </a:lnTo>
                      <a:lnTo>
                        <a:pt x="449" y="565"/>
                      </a:lnTo>
                      <a:lnTo>
                        <a:pt x="449" y="565"/>
                      </a:lnTo>
                      <a:lnTo>
                        <a:pt x="445" y="569"/>
                      </a:lnTo>
                      <a:lnTo>
                        <a:pt x="445" y="569"/>
                      </a:lnTo>
                      <a:lnTo>
                        <a:pt x="441" y="569"/>
                      </a:lnTo>
                      <a:lnTo>
                        <a:pt x="438" y="571"/>
                      </a:lnTo>
                      <a:lnTo>
                        <a:pt x="434" y="573"/>
                      </a:lnTo>
                      <a:lnTo>
                        <a:pt x="434" y="573"/>
                      </a:lnTo>
                      <a:lnTo>
                        <a:pt x="438" y="574"/>
                      </a:lnTo>
                      <a:lnTo>
                        <a:pt x="438" y="574"/>
                      </a:lnTo>
                      <a:lnTo>
                        <a:pt x="441" y="576"/>
                      </a:lnTo>
                      <a:lnTo>
                        <a:pt x="447" y="578"/>
                      </a:lnTo>
                      <a:lnTo>
                        <a:pt x="445" y="578"/>
                      </a:lnTo>
                      <a:lnTo>
                        <a:pt x="443" y="582"/>
                      </a:lnTo>
                      <a:lnTo>
                        <a:pt x="441" y="587"/>
                      </a:lnTo>
                      <a:lnTo>
                        <a:pt x="432" y="585"/>
                      </a:lnTo>
                      <a:lnTo>
                        <a:pt x="423" y="582"/>
                      </a:lnTo>
                      <a:lnTo>
                        <a:pt x="417" y="580"/>
                      </a:lnTo>
                      <a:lnTo>
                        <a:pt x="410" y="576"/>
                      </a:lnTo>
                      <a:lnTo>
                        <a:pt x="410" y="576"/>
                      </a:lnTo>
                      <a:lnTo>
                        <a:pt x="406" y="573"/>
                      </a:lnTo>
                      <a:lnTo>
                        <a:pt x="406" y="573"/>
                      </a:lnTo>
                      <a:lnTo>
                        <a:pt x="401" y="569"/>
                      </a:lnTo>
                      <a:lnTo>
                        <a:pt x="401" y="569"/>
                      </a:lnTo>
                      <a:lnTo>
                        <a:pt x="397" y="563"/>
                      </a:lnTo>
                      <a:lnTo>
                        <a:pt x="397" y="563"/>
                      </a:lnTo>
                      <a:lnTo>
                        <a:pt x="393" y="560"/>
                      </a:lnTo>
                      <a:lnTo>
                        <a:pt x="392" y="554"/>
                      </a:lnTo>
                      <a:lnTo>
                        <a:pt x="390" y="547"/>
                      </a:lnTo>
                      <a:lnTo>
                        <a:pt x="386" y="541"/>
                      </a:lnTo>
                      <a:lnTo>
                        <a:pt x="384" y="536"/>
                      </a:lnTo>
                      <a:lnTo>
                        <a:pt x="379" y="519"/>
                      </a:lnTo>
                      <a:lnTo>
                        <a:pt x="373" y="502"/>
                      </a:lnTo>
                      <a:lnTo>
                        <a:pt x="368" y="502"/>
                      </a:lnTo>
                      <a:lnTo>
                        <a:pt x="362" y="502"/>
                      </a:lnTo>
                      <a:lnTo>
                        <a:pt x="362" y="502"/>
                      </a:lnTo>
                      <a:lnTo>
                        <a:pt x="362" y="501"/>
                      </a:lnTo>
                      <a:lnTo>
                        <a:pt x="362" y="501"/>
                      </a:lnTo>
                      <a:lnTo>
                        <a:pt x="362" y="499"/>
                      </a:lnTo>
                      <a:lnTo>
                        <a:pt x="362" y="499"/>
                      </a:lnTo>
                      <a:lnTo>
                        <a:pt x="362" y="497"/>
                      </a:lnTo>
                      <a:lnTo>
                        <a:pt x="362" y="497"/>
                      </a:lnTo>
                      <a:lnTo>
                        <a:pt x="364" y="495"/>
                      </a:lnTo>
                      <a:lnTo>
                        <a:pt x="364" y="495"/>
                      </a:lnTo>
                      <a:lnTo>
                        <a:pt x="366" y="495"/>
                      </a:lnTo>
                      <a:lnTo>
                        <a:pt x="366" y="495"/>
                      </a:lnTo>
                      <a:lnTo>
                        <a:pt x="368" y="495"/>
                      </a:lnTo>
                      <a:lnTo>
                        <a:pt x="369" y="495"/>
                      </a:lnTo>
                      <a:lnTo>
                        <a:pt x="369" y="495"/>
                      </a:lnTo>
                      <a:lnTo>
                        <a:pt x="373" y="495"/>
                      </a:lnTo>
                      <a:lnTo>
                        <a:pt x="373" y="495"/>
                      </a:lnTo>
                      <a:lnTo>
                        <a:pt x="373" y="493"/>
                      </a:lnTo>
                      <a:lnTo>
                        <a:pt x="371" y="493"/>
                      </a:lnTo>
                      <a:lnTo>
                        <a:pt x="371" y="491"/>
                      </a:lnTo>
                      <a:lnTo>
                        <a:pt x="366" y="489"/>
                      </a:lnTo>
                      <a:lnTo>
                        <a:pt x="355" y="489"/>
                      </a:lnTo>
                      <a:lnTo>
                        <a:pt x="356" y="488"/>
                      </a:lnTo>
                      <a:lnTo>
                        <a:pt x="358" y="484"/>
                      </a:lnTo>
                      <a:lnTo>
                        <a:pt x="358" y="484"/>
                      </a:lnTo>
                      <a:lnTo>
                        <a:pt x="362" y="482"/>
                      </a:lnTo>
                      <a:lnTo>
                        <a:pt x="358" y="480"/>
                      </a:lnTo>
                      <a:lnTo>
                        <a:pt x="355" y="477"/>
                      </a:lnTo>
                      <a:lnTo>
                        <a:pt x="351" y="475"/>
                      </a:lnTo>
                      <a:lnTo>
                        <a:pt x="347" y="471"/>
                      </a:lnTo>
                      <a:lnTo>
                        <a:pt x="347" y="471"/>
                      </a:lnTo>
                      <a:lnTo>
                        <a:pt x="344" y="469"/>
                      </a:lnTo>
                      <a:lnTo>
                        <a:pt x="342" y="465"/>
                      </a:lnTo>
                      <a:lnTo>
                        <a:pt x="338" y="462"/>
                      </a:lnTo>
                      <a:lnTo>
                        <a:pt x="338" y="462"/>
                      </a:lnTo>
                      <a:lnTo>
                        <a:pt x="336" y="458"/>
                      </a:lnTo>
                      <a:lnTo>
                        <a:pt x="334" y="456"/>
                      </a:lnTo>
                      <a:lnTo>
                        <a:pt x="334" y="456"/>
                      </a:lnTo>
                      <a:lnTo>
                        <a:pt x="332" y="453"/>
                      </a:lnTo>
                      <a:lnTo>
                        <a:pt x="332" y="453"/>
                      </a:lnTo>
                      <a:lnTo>
                        <a:pt x="331" y="449"/>
                      </a:lnTo>
                      <a:lnTo>
                        <a:pt x="329" y="443"/>
                      </a:lnTo>
                      <a:lnTo>
                        <a:pt x="325" y="436"/>
                      </a:lnTo>
                      <a:lnTo>
                        <a:pt x="323" y="425"/>
                      </a:lnTo>
                      <a:lnTo>
                        <a:pt x="323" y="425"/>
                      </a:lnTo>
                      <a:lnTo>
                        <a:pt x="327" y="425"/>
                      </a:lnTo>
                      <a:lnTo>
                        <a:pt x="332" y="425"/>
                      </a:lnTo>
                      <a:lnTo>
                        <a:pt x="336" y="425"/>
                      </a:lnTo>
                      <a:lnTo>
                        <a:pt x="340" y="425"/>
                      </a:lnTo>
                      <a:lnTo>
                        <a:pt x="338" y="419"/>
                      </a:lnTo>
                      <a:lnTo>
                        <a:pt x="338" y="419"/>
                      </a:lnTo>
                      <a:lnTo>
                        <a:pt x="336" y="414"/>
                      </a:lnTo>
                      <a:lnTo>
                        <a:pt x="334" y="410"/>
                      </a:lnTo>
                      <a:lnTo>
                        <a:pt x="334" y="410"/>
                      </a:lnTo>
                      <a:lnTo>
                        <a:pt x="334" y="403"/>
                      </a:lnTo>
                      <a:lnTo>
                        <a:pt x="334" y="403"/>
                      </a:lnTo>
                      <a:lnTo>
                        <a:pt x="342" y="405"/>
                      </a:lnTo>
                      <a:lnTo>
                        <a:pt x="349" y="405"/>
                      </a:lnTo>
                      <a:lnTo>
                        <a:pt x="355" y="406"/>
                      </a:lnTo>
                      <a:lnTo>
                        <a:pt x="360" y="408"/>
                      </a:lnTo>
                      <a:lnTo>
                        <a:pt x="358" y="399"/>
                      </a:lnTo>
                      <a:lnTo>
                        <a:pt x="355" y="392"/>
                      </a:lnTo>
                      <a:lnTo>
                        <a:pt x="353" y="384"/>
                      </a:lnTo>
                      <a:lnTo>
                        <a:pt x="353" y="384"/>
                      </a:lnTo>
                      <a:lnTo>
                        <a:pt x="351" y="377"/>
                      </a:lnTo>
                      <a:lnTo>
                        <a:pt x="351" y="377"/>
                      </a:lnTo>
                      <a:lnTo>
                        <a:pt x="351" y="375"/>
                      </a:lnTo>
                      <a:lnTo>
                        <a:pt x="351" y="371"/>
                      </a:lnTo>
                      <a:lnTo>
                        <a:pt x="351" y="371"/>
                      </a:lnTo>
                      <a:lnTo>
                        <a:pt x="351" y="368"/>
                      </a:lnTo>
                      <a:lnTo>
                        <a:pt x="351" y="362"/>
                      </a:lnTo>
                      <a:lnTo>
                        <a:pt x="351" y="362"/>
                      </a:lnTo>
                      <a:lnTo>
                        <a:pt x="351" y="358"/>
                      </a:lnTo>
                      <a:lnTo>
                        <a:pt x="353" y="353"/>
                      </a:lnTo>
                      <a:lnTo>
                        <a:pt x="353" y="353"/>
                      </a:lnTo>
                      <a:lnTo>
                        <a:pt x="353" y="347"/>
                      </a:lnTo>
                      <a:lnTo>
                        <a:pt x="355" y="342"/>
                      </a:lnTo>
                      <a:lnTo>
                        <a:pt x="355" y="340"/>
                      </a:lnTo>
                      <a:lnTo>
                        <a:pt x="353" y="338"/>
                      </a:lnTo>
                      <a:lnTo>
                        <a:pt x="353" y="338"/>
                      </a:lnTo>
                      <a:lnTo>
                        <a:pt x="351" y="333"/>
                      </a:lnTo>
                      <a:lnTo>
                        <a:pt x="349" y="325"/>
                      </a:lnTo>
                      <a:lnTo>
                        <a:pt x="351" y="325"/>
                      </a:lnTo>
                      <a:lnTo>
                        <a:pt x="353" y="327"/>
                      </a:lnTo>
                      <a:lnTo>
                        <a:pt x="355" y="327"/>
                      </a:lnTo>
                      <a:lnTo>
                        <a:pt x="355" y="327"/>
                      </a:lnTo>
                      <a:lnTo>
                        <a:pt x="355" y="327"/>
                      </a:lnTo>
                      <a:lnTo>
                        <a:pt x="356" y="327"/>
                      </a:lnTo>
                      <a:lnTo>
                        <a:pt x="356" y="327"/>
                      </a:lnTo>
                      <a:lnTo>
                        <a:pt x="356" y="331"/>
                      </a:lnTo>
                      <a:lnTo>
                        <a:pt x="356" y="334"/>
                      </a:lnTo>
                      <a:lnTo>
                        <a:pt x="358" y="336"/>
                      </a:lnTo>
                      <a:lnTo>
                        <a:pt x="360" y="336"/>
                      </a:lnTo>
                      <a:lnTo>
                        <a:pt x="362" y="338"/>
                      </a:lnTo>
                      <a:lnTo>
                        <a:pt x="364" y="340"/>
                      </a:lnTo>
                      <a:lnTo>
                        <a:pt x="368" y="342"/>
                      </a:lnTo>
                      <a:lnTo>
                        <a:pt x="368" y="342"/>
                      </a:lnTo>
                      <a:lnTo>
                        <a:pt x="369" y="344"/>
                      </a:lnTo>
                      <a:lnTo>
                        <a:pt x="369" y="344"/>
                      </a:lnTo>
                      <a:lnTo>
                        <a:pt x="371" y="346"/>
                      </a:lnTo>
                      <a:lnTo>
                        <a:pt x="375" y="349"/>
                      </a:lnTo>
                      <a:lnTo>
                        <a:pt x="379" y="353"/>
                      </a:lnTo>
                      <a:lnTo>
                        <a:pt x="382" y="355"/>
                      </a:lnTo>
                      <a:lnTo>
                        <a:pt x="382" y="355"/>
                      </a:lnTo>
                      <a:lnTo>
                        <a:pt x="384" y="357"/>
                      </a:lnTo>
                      <a:lnTo>
                        <a:pt x="388" y="357"/>
                      </a:lnTo>
                      <a:lnTo>
                        <a:pt x="392" y="358"/>
                      </a:lnTo>
                      <a:lnTo>
                        <a:pt x="393" y="358"/>
                      </a:lnTo>
                      <a:lnTo>
                        <a:pt x="393" y="355"/>
                      </a:lnTo>
                      <a:lnTo>
                        <a:pt x="392" y="349"/>
                      </a:lnTo>
                      <a:lnTo>
                        <a:pt x="392" y="346"/>
                      </a:lnTo>
                      <a:lnTo>
                        <a:pt x="390" y="342"/>
                      </a:lnTo>
                      <a:lnTo>
                        <a:pt x="384" y="329"/>
                      </a:lnTo>
                      <a:lnTo>
                        <a:pt x="373" y="309"/>
                      </a:lnTo>
                      <a:lnTo>
                        <a:pt x="373" y="309"/>
                      </a:lnTo>
                      <a:lnTo>
                        <a:pt x="375" y="305"/>
                      </a:lnTo>
                      <a:lnTo>
                        <a:pt x="379" y="301"/>
                      </a:lnTo>
                      <a:lnTo>
                        <a:pt x="380" y="298"/>
                      </a:lnTo>
                      <a:lnTo>
                        <a:pt x="382" y="294"/>
                      </a:lnTo>
                      <a:lnTo>
                        <a:pt x="388" y="283"/>
                      </a:lnTo>
                      <a:lnTo>
                        <a:pt x="392" y="272"/>
                      </a:lnTo>
                      <a:lnTo>
                        <a:pt x="397" y="261"/>
                      </a:lnTo>
                      <a:lnTo>
                        <a:pt x="399" y="250"/>
                      </a:lnTo>
                      <a:lnTo>
                        <a:pt x="399" y="250"/>
                      </a:lnTo>
                      <a:lnTo>
                        <a:pt x="403" y="240"/>
                      </a:lnTo>
                      <a:lnTo>
                        <a:pt x="404" y="231"/>
                      </a:lnTo>
                      <a:lnTo>
                        <a:pt x="403" y="231"/>
                      </a:lnTo>
                      <a:lnTo>
                        <a:pt x="403" y="231"/>
                      </a:lnTo>
                      <a:lnTo>
                        <a:pt x="401" y="229"/>
                      </a:lnTo>
                      <a:lnTo>
                        <a:pt x="401" y="229"/>
                      </a:lnTo>
                      <a:lnTo>
                        <a:pt x="403" y="227"/>
                      </a:lnTo>
                      <a:lnTo>
                        <a:pt x="403" y="227"/>
                      </a:lnTo>
                      <a:lnTo>
                        <a:pt x="404" y="226"/>
                      </a:lnTo>
                      <a:lnTo>
                        <a:pt x="406" y="226"/>
                      </a:lnTo>
                      <a:lnTo>
                        <a:pt x="406" y="227"/>
                      </a:lnTo>
                      <a:lnTo>
                        <a:pt x="408" y="227"/>
                      </a:lnTo>
                      <a:lnTo>
                        <a:pt x="416" y="226"/>
                      </a:lnTo>
                      <a:lnTo>
                        <a:pt x="425" y="224"/>
                      </a:lnTo>
                      <a:lnTo>
                        <a:pt x="425" y="224"/>
                      </a:lnTo>
                      <a:lnTo>
                        <a:pt x="432" y="224"/>
                      </a:lnTo>
                      <a:lnTo>
                        <a:pt x="439" y="222"/>
                      </a:lnTo>
                      <a:lnTo>
                        <a:pt x="447" y="222"/>
                      </a:lnTo>
                      <a:lnTo>
                        <a:pt x="454" y="222"/>
                      </a:lnTo>
                      <a:lnTo>
                        <a:pt x="462" y="222"/>
                      </a:lnTo>
                      <a:lnTo>
                        <a:pt x="469" y="222"/>
                      </a:lnTo>
                      <a:lnTo>
                        <a:pt x="469" y="220"/>
                      </a:lnTo>
                      <a:lnTo>
                        <a:pt x="467" y="218"/>
                      </a:lnTo>
                      <a:lnTo>
                        <a:pt x="467" y="214"/>
                      </a:lnTo>
                      <a:lnTo>
                        <a:pt x="467" y="214"/>
                      </a:lnTo>
                      <a:lnTo>
                        <a:pt x="465" y="211"/>
                      </a:lnTo>
                      <a:lnTo>
                        <a:pt x="463" y="211"/>
                      </a:lnTo>
                      <a:lnTo>
                        <a:pt x="460" y="209"/>
                      </a:lnTo>
                      <a:lnTo>
                        <a:pt x="456" y="209"/>
                      </a:lnTo>
                      <a:lnTo>
                        <a:pt x="454" y="207"/>
                      </a:lnTo>
                      <a:lnTo>
                        <a:pt x="454" y="207"/>
                      </a:lnTo>
                      <a:lnTo>
                        <a:pt x="454" y="202"/>
                      </a:lnTo>
                      <a:lnTo>
                        <a:pt x="454" y="198"/>
                      </a:lnTo>
                      <a:lnTo>
                        <a:pt x="454" y="194"/>
                      </a:lnTo>
                      <a:lnTo>
                        <a:pt x="454" y="191"/>
                      </a:lnTo>
                      <a:lnTo>
                        <a:pt x="451" y="191"/>
                      </a:lnTo>
                      <a:lnTo>
                        <a:pt x="445" y="191"/>
                      </a:lnTo>
                      <a:lnTo>
                        <a:pt x="441" y="191"/>
                      </a:lnTo>
                      <a:lnTo>
                        <a:pt x="438" y="191"/>
                      </a:lnTo>
                      <a:lnTo>
                        <a:pt x="438" y="191"/>
                      </a:lnTo>
                      <a:lnTo>
                        <a:pt x="438" y="189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5"/>
                      </a:lnTo>
                      <a:lnTo>
                        <a:pt x="438" y="185"/>
                      </a:lnTo>
                      <a:lnTo>
                        <a:pt x="441" y="183"/>
                      </a:lnTo>
                      <a:lnTo>
                        <a:pt x="441" y="183"/>
                      </a:lnTo>
                      <a:lnTo>
                        <a:pt x="445" y="179"/>
                      </a:lnTo>
                      <a:lnTo>
                        <a:pt x="445" y="170"/>
                      </a:lnTo>
                      <a:lnTo>
                        <a:pt x="445" y="163"/>
                      </a:lnTo>
                      <a:lnTo>
                        <a:pt x="443" y="154"/>
                      </a:lnTo>
                      <a:lnTo>
                        <a:pt x="443" y="154"/>
                      </a:lnTo>
                      <a:lnTo>
                        <a:pt x="441" y="146"/>
                      </a:lnTo>
                      <a:lnTo>
                        <a:pt x="441" y="137"/>
                      </a:lnTo>
                      <a:lnTo>
                        <a:pt x="439" y="128"/>
                      </a:lnTo>
                      <a:lnTo>
                        <a:pt x="438" y="117"/>
                      </a:lnTo>
                      <a:lnTo>
                        <a:pt x="438" y="104"/>
                      </a:lnTo>
                      <a:lnTo>
                        <a:pt x="434" y="102"/>
                      </a:lnTo>
                      <a:lnTo>
                        <a:pt x="430" y="102"/>
                      </a:lnTo>
                      <a:lnTo>
                        <a:pt x="425" y="100"/>
                      </a:lnTo>
                      <a:lnTo>
                        <a:pt x="421" y="100"/>
                      </a:lnTo>
                      <a:lnTo>
                        <a:pt x="421" y="98"/>
                      </a:lnTo>
                      <a:lnTo>
                        <a:pt x="421" y="95"/>
                      </a:lnTo>
                      <a:lnTo>
                        <a:pt x="421" y="91"/>
                      </a:lnTo>
                      <a:lnTo>
                        <a:pt x="421" y="87"/>
                      </a:lnTo>
                      <a:lnTo>
                        <a:pt x="419" y="85"/>
                      </a:lnTo>
                      <a:lnTo>
                        <a:pt x="419" y="83"/>
                      </a:lnTo>
                      <a:lnTo>
                        <a:pt x="417" y="83"/>
                      </a:lnTo>
                      <a:lnTo>
                        <a:pt x="417" y="82"/>
                      </a:lnTo>
                      <a:lnTo>
                        <a:pt x="414" y="80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6" y="72"/>
                      </a:lnTo>
                      <a:lnTo>
                        <a:pt x="419" y="71"/>
                      </a:lnTo>
                      <a:lnTo>
                        <a:pt x="419" y="65"/>
                      </a:lnTo>
                      <a:lnTo>
                        <a:pt x="417" y="61"/>
                      </a:lnTo>
                      <a:lnTo>
                        <a:pt x="417" y="61"/>
                      </a:lnTo>
                      <a:lnTo>
                        <a:pt x="417" y="58"/>
                      </a:lnTo>
                      <a:lnTo>
                        <a:pt x="416" y="56"/>
                      </a:lnTo>
                      <a:lnTo>
                        <a:pt x="416" y="52"/>
                      </a:lnTo>
                      <a:lnTo>
                        <a:pt x="412" y="48"/>
                      </a:lnTo>
                      <a:lnTo>
                        <a:pt x="410" y="45"/>
                      </a:lnTo>
                      <a:lnTo>
                        <a:pt x="406" y="41"/>
                      </a:lnTo>
                      <a:lnTo>
                        <a:pt x="406" y="39"/>
                      </a:lnTo>
                      <a:lnTo>
                        <a:pt x="408" y="37"/>
                      </a:lnTo>
                      <a:lnTo>
                        <a:pt x="410" y="35"/>
                      </a:lnTo>
                      <a:lnTo>
                        <a:pt x="410" y="35"/>
                      </a:lnTo>
                      <a:lnTo>
                        <a:pt x="410" y="34"/>
                      </a:lnTo>
                      <a:lnTo>
                        <a:pt x="410" y="32"/>
                      </a:lnTo>
                      <a:lnTo>
                        <a:pt x="410" y="28"/>
                      </a:lnTo>
                      <a:lnTo>
                        <a:pt x="410" y="26"/>
                      </a:lnTo>
                      <a:lnTo>
                        <a:pt x="410" y="23"/>
                      </a:lnTo>
                      <a:lnTo>
                        <a:pt x="408" y="17"/>
                      </a:lnTo>
                      <a:lnTo>
                        <a:pt x="408" y="17"/>
                      </a:lnTo>
                      <a:lnTo>
                        <a:pt x="408" y="13"/>
                      </a:lnTo>
                      <a:lnTo>
                        <a:pt x="408" y="12"/>
                      </a:lnTo>
                      <a:lnTo>
                        <a:pt x="399" y="12"/>
                      </a:lnTo>
                      <a:lnTo>
                        <a:pt x="388" y="12"/>
                      </a:lnTo>
                      <a:lnTo>
                        <a:pt x="377" y="12"/>
                      </a:lnTo>
                      <a:lnTo>
                        <a:pt x="364" y="12"/>
                      </a:lnTo>
                      <a:lnTo>
                        <a:pt x="364" y="12"/>
                      </a:lnTo>
                      <a:lnTo>
                        <a:pt x="364" y="6"/>
                      </a:lnTo>
                      <a:lnTo>
                        <a:pt x="3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7" name="Freeform 3332"/>
                <p:cNvSpPr>
                  <a:spLocks/>
                </p:cNvSpPr>
                <p:nvPr/>
              </p:nvSpPr>
              <p:spPr bwMode="auto">
                <a:xfrm>
                  <a:off x="4992" y="819"/>
                  <a:ext cx="471" cy="905"/>
                </a:xfrm>
                <a:custGeom>
                  <a:avLst/>
                  <a:gdLst>
                    <a:gd name="T0" fmla="*/ 331 w 471"/>
                    <a:gd name="T1" fmla="*/ 76 h 905"/>
                    <a:gd name="T2" fmla="*/ 320 w 471"/>
                    <a:gd name="T3" fmla="*/ 106 h 905"/>
                    <a:gd name="T4" fmla="*/ 233 w 471"/>
                    <a:gd name="T5" fmla="*/ 150 h 905"/>
                    <a:gd name="T6" fmla="*/ 183 w 471"/>
                    <a:gd name="T7" fmla="*/ 91 h 905"/>
                    <a:gd name="T8" fmla="*/ 139 w 471"/>
                    <a:gd name="T9" fmla="*/ 106 h 905"/>
                    <a:gd name="T10" fmla="*/ 89 w 471"/>
                    <a:gd name="T11" fmla="*/ 135 h 905"/>
                    <a:gd name="T12" fmla="*/ 80 w 471"/>
                    <a:gd name="T13" fmla="*/ 152 h 905"/>
                    <a:gd name="T14" fmla="*/ 48 w 471"/>
                    <a:gd name="T15" fmla="*/ 165 h 905"/>
                    <a:gd name="T16" fmla="*/ 11 w 471"/>
                    <a:gd name="T17" fmla="*/ 192 h 905"/>
                    <a:gd name="T18" fmla="*/ 2 w 471"/>
                    <a:gd name="T19" fmla="*/ 229 h 905"/>
                    <a:gd name="T20" fmla="*/ 24 w 471"/>
                    <a:gd name="T21" fmla="*/ 242 h 905"/>
                    <a:gd name="T22" fmla="*/ 50 w 471"/>
                    <a:gd name="T23" fmla="*/ 277 h 905"/>
                    <a:gd name="T24" fmla="*/ 83 w 471"/>
                    <a:gd name="T25" fmla="*/ 294 h 905"/>
                    <a:gd name="T26" fmla="*/ 100 w 471"/>
                    <a:gd name="T27" fmla="*/ 329 h 905"/>
                    <a:gd name="T28" fmla="*/ 131 w 471"/>
                    <a:gd name="T29" fmla="*/ 349 h 905"/>
                    <a:gd name="T30" fmla="*/ 161 w 471"/>
                    <a:gd name="T31" fmla="*/ 377 h 905"/>
                    <a:gd name="T32" fmla="*/ 189 w 471"/>
                    <a:gd name="T33" fmla="*/ 395 h 905"/>
                    <a:gd name="T34" fmla="*/ 198 w 471"/>
                    <a:gd name="T35" fmla="*/ 384 h 905"/>
                    <a:gd name="T36" fmla="*/ 196 w 471"/>
                    <a:gd name="T37" fmla="*/ 368 h 905"/>
                    <a:gd name="T38" fmla="*/ 174 w 471"/>
                    <a:gd name="T39" fmla="*/ 357 h 905"/>
                    <a:gd name="T40" fmla="*/ 159 w 471"/>
                    <a:gd name="T41" fmla="*/ 310 h 905"/>
                    <a:gd name="T42" fmla="*/ 194 w 471"/>
                    <a:gd name="T43" fmla="*/ 292 h 905"/>
                    <a:gd name="T44" fmla="*/ 211 w 471"/>
                    <a:gd name="T45" fmla="*/ 336 h 905"/>
                    <a:gd name="T46" fmla="*/ 225 w 471"/>
                    <a:gd name="T47" fmla="*/ 357 h 905"/>
                    <a:gd name="T48" fmla="*/ 264 w 471"/>
                    <a:gd name="T49" fmla="*/ 392 h 905"/>
                    <a:gd name="T50" fmla="*/ 262 w 471"/>
                    <a:gd name="T51" fmla="*/ 453 h 905"/>
                    <a:gd name="T52" fmla="*/ 307 w 471"/>
                    <a:gd name="T53" fmla="*/ 639 h 905"/>
                    <a:gd name="T54" fmla="*/ 314 w 471"/>
                    <a:gd name="T55" fmla="*/ 705 h 905"/>
                    <a:gd name="T56" fmla="*/ 301 w 471"/>
                    <a:gd name="T57" fmla="*/ 733 h 905"/>
                    <a:gd name="T58" fmla="*/ 305 w 471"/>
                    <a:gd name="T59" fmla="*/ 750 h 905"/>
                    <a:gd name="T60" fmla="*/ 305 w 471"/>
                    <a:gd name="T61" fmla="*/ 775 h 905"/>
                    <a:gd name="T62" fmla="*/ 329 w 471"/>
                    <a:gd name="T63" fmla="*/ 807 h 905"/>
                    <a:gd name="T64" fmla="*/ 342 w 471"/>
                    <a:gd name="T65" fmla="*/ 870 h 905"/>
                    <a:gd name="T66" fmla="*/ 384 w 471"/>
                    <a:gd name="T67" fmla="*/ 899 h 905"/>
                    <a:gd name="T68" fmla="*/ 436 w 471"/>
                    <a:gd name="T69" fmla="*/ 829 h 905"/>
                    <a:gd name="T70" fmla="*/ 395 w 471"/>
                    <a:gd name="T71" fmla="*/ 811 h 905"/>
                    <a:gd name="T72" fmla="*/ 373 w 471"/>
                    <a:gd name="T73" fmla="*/ 798 h 905"/>
                    <a:gd name="T74" fmla="*/ 380 w 471"/>
                    <a:gd name="T75" fmla="*/ 768 h 905"/>
                    <a:gd name="T76" fmla="*/ 417 w 471"/>
                    <a:gd name="T77" fmla="*/ 715 h 905"/>
                    <a:gd name="T78" fmla="*/ 434 w 471"/>
                    <a:gd name="T79" fmla="*/ 635 h 905"/>
                    <a:gd name="T80" fmla="*/ 471 w 471"/>
                    <a:gd name="T81" fmla="*/ 582 h 905"/>
                    <a:gd name="T82" fmla="*/ 449 w 471"/>
                    <a:gd name="T83" fmla="*/ 565 h 905"/>
                    <a:gd name="T84" fmla="*/ 445 w 471"/>
                    <a:gd name="T85" fmla="*/ 578 h 905"/>
                    <a:gd name="T86" fmla="*/ 397 w 471"/>
                    <a:gd name="T87" fmla="*/ 563 h 905"/>
                    <a:gd name="T88" fmla="*/ 362 w 471"/>
                    <a:gd name="T89" fmla="*/ 501 h 905"/>
                    <a:gd name="T90" fmla="*/ 369 w 471"/>
                    <a:gd name="T91" fmla="*/ 495 h 905"/>
                    <a:gd name="T92" fmla="*/ 358 w 471"/>
                    <a:gd name="T93" fmla="*/ 480 h 905"/>
                    <a:gd name="T94" fmla="*/ 332 w 471"/>
                    <a:gd name="T95" fmla="*/ 453 h 905"/>
                    <a:gd name="T96" fmla="*/ 338 w 471"/>
                    <a:gd name="T97" fmla="*/ 419 h 905"/>
                    <a:gd name="T98" fmla="*/ 353 w 471"/>
                    <a:gd name="T99" fmla="*/ 384 h 905"/>
                    <a:gd name="T100" fmla="*/ 353 w 471"/>
                    <a:gd name="T101" fmla="*/ 353 h 905"/>
                    <a:gd name="T102" fmla="*/ 355 w 471"/>
                    <a:gd name="T103" fmla="*/ 327 h 905"/>
                    <a:gd name="T104" fmla="*/ 369 w 471"/>
                    <a:gd name="T105" fmla="*/ 344 h 905"/>
                    <a:gd name="T106" fmla="*/ 392 w 471"/>
                    <a:gd name="T107" fmla="*/ 346 h 905"/>
                    <a:gd name="T108" fmla="*/ 399 w 471"/>
                    <a:gd name="T109" fmla="*/ 250 h 905"/>
                    <a:gd name="T110" fmla="*/ 406 w 471"/>
                    <a:gd name="T111" fmla="*/ 227 h 905"/>
                    <a:gd name="T112" fmla="*/ 467 w 471"/>
                    <a:gd name="T113" fmla="*/ 218 h 905"/>
                    <a:gd name="T114" fmla="*/ 454 w 471"/>
                    <a:gd name="T115" fmla="*/ 191 h 905"/>
                    <a:gd name="T116" fmla="*/ 438 w 471"/>
                    <a:gd name="T117" fmla="*/ 185 h 905"/>
                    <a:gd name="T118" fmla="*/ 438 w 471"/>
                    <a:gd name="T119" fmla="*/ 104 h 905"/>
                    <a:gd name="T120" fmla="*/ 417 w 471"/>
                    <a:gd name="T121" fmla="*/ 82 h 905"/>
                    <a:gd name="T122" fmla="*/ 412 w 471"/>
                    <a:gd name="T123" fmla="*/ 48 h 905"/>
                    <a:gd name="T124" fmla="*/ 408 w 471"/>
                    <a:gd name="T125" fmla="*/ 17 h 9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71" h="905">
                      <a:moveTo>
                        <a:pt x="364" y="0"/>
                      </a:moveTo>
                      <a:lnTo>
                        <a:pt x="360" y="2"/>
                      </a:lnTo>
                      <a:lnTo>
                        <a:pt x="360" y="2"/>
                      </a:lnTo>
                      <a:lnTo>
                        <a:pt x="356" y="2"/>
                      </a:lnTo>
                      <a:lnTo>
                        <a:pt x="353" y="4"/>
                      </a:lnTo>
                      <a:lnTo>
                        <a:pt x="349" y="4"/>
                      </a:lnTo>
                      <a:lnTo>
                        <a:pt x="342" y="24"/>
                      </a:lnTo>
                      <a:lnTo>
                        <a:pt x="338" y="41"/>
                      </a:lnTo>
                      <a:lnTo>
                        <a:pt x="334" y="52"/>
                      </a:lnTo>
                      <a:lnTo>
                        <a:pt x="332" y="61"/>
                      </a:lnTo>
                      <a:lnTo>
                        <a:pt x="331" y="69"/>
                      </a:lnTo>
                      <a:lnTo>
                        <a:pt x="331" y="76"/>
                      </a:lnTo>
                      <a:lnTo>
                        <a:pt x="329" y="83"/>
                      </a:lnTo>
                      <a:lnTo>
                        <a:pt x="329" y="95"/>
                      </a:lnTo>
                      <a:lnTo>
                        <a:pt x="327" y="95"/>
                      </a:lnTo>
                      <a:lnTo>
                        <a:pt x="321" y="95"/>
                      </a:lnTo>
                      <a:lnTo>
                        <a:pt x="318" y="95"/>
                      </a:lnTo>
                      <a:lnTo>
                        <a:pt x="318" y="96"/>
                      </a:lnTo>
                      <a:lnTo>
                        <a:pt x="318" y="96"/>
                      </a:lnTo>
                      <a:lnTo>
                        <a:pt x="318" y="100"/>
                      </a:lnTo>
                      <a:lnTo>
                        <a:pt x="320" y="102"/>
                      </a:lnTo>
                      <a:lnTo>
                        <a:pt x="320" y="102"/>
                      </a:lnTo>
                      <a:lnTo>
                        <a:pt x="320" y="106"/>
                      </a:lnTo>
                      <a:lnTo>
                        <a:pt x="320" y="106"/>
                      </a:lnTo>
                      <a:lnTo>
                        <a:pt x="318" y="113"/>
                      </a:lnTo>
                      <a:lnTo>
                        <a:pt x="314" y="126"/>
                      </a:lnTo>
                      <a:lnTo>
                        <a:pt x="314" y="126"/>
                      </a:lnTo>
                      <a:lnTo>
                        <a:pt x="307" y="128"/>
                      </a:lnTo>
                      <a:lnTo>
                        <a:pt x="299" y="128"/>
                      </a:lnTo>
                      <a:lnTo>
                        <a:pt x="294" y="130"/>
                      </a:lnTo>
                      <a:lnTo>
                        <a:pt x="286" y="131"/>
                      </a:lnTo>
                      <a:lnTo>
                        <a:pt x="273" y="135"/>
                      </a:lnTo>
                      <a:lnTo>
                        <a:pt x="262" y="139"/>
                      </a:lnTo>
                      <a:lnTo>
                        <a:pt x="249" y="144"/>
                      </a:lnTo>
                      <a:lnTo>
                        <a:pt x="238" y="148"/>
                      </a:lnTo>
                      <a:lnTo>
                        <a:pt x="233" y="150"/>
                      </a:lnTo>
                      <a:lnTo>
                        <a:pt x="225" y="152"/>
                      </a:lnTo>
                      <a:lnTo>
                        <a:pt x="220" y="154"/>
                      </a:lnTo>
                      <a:lnTo>
                        <a:pt x="213" y="154"/>
                      </a:lnTo>
                      <a:lnTo>
                        <a:pt x="209" y="139"/>
                      </a:lnTo>
                      <a:lnTo>
                        <a:pt x="203" y="126"/>
                      </a:lnTo>
                      <a:lnTo>
                        <a:pt x="200" y="111"/>
                      </a:lnTo>
                      <a:lnTo>
                        <a:pt x="196" y="98"/>
                      </a:lnTo>
                      <a:lnTo>
                        <a:pt x="192" y="96"/>
                      </a:lnTo>
                      <a:lnTo>
                        <a:pt x="192" y="96"/>
                      </a:lnTo>
                      <a:lnTo>
                        <a:pt x="189" y="95"/>
                      </a:lnTo>
                      <a:lnTo>
                        <a:pt x="185" y="93"/>
                      </a:lnTo>
                      <a:lnTo>
                        <a:pt x="183" y="91"/>
                      </a:lnTo>
                      <a:lnTo>
                        <a:pt x="179" y="95"/>
                      </a:lnTo>
                      <a:lnTo>
                        <a:pt x="176" y="96"/>
                      </a:lnTo>
                      <a:lnTo>
                        <a:pt x="174" y="98"/>
                      </a:lnTo>
                      <a:lnTo>
                        <a:pt x="174" y="98"/>
                      </a:lnTo>
                      <a:lnTo>
                        <a:pt x="170" y="98"/>
                      </a:lnTo>
                      <a:lnTo>
                        <a:pt x="165" y="102"/>
                      </a:lnTo>
                      <a:lnTo>
                        <a:pt x="165" y="102"/>
                      </a:lnTo>
                      <a:lnTo>
                        <a:pt x="159" y="104"/>
                      </a:lnTo>
                      <a:lnTo>
                        <a:pt x="159" y="104"/>
                      </a:lnTo>
                      <a:lnTo>
                        <a:pt x="152" y="104"/>
                      </a:lnTo>
                      <a:lnTo>
                        <a:pt x="146" y="104"/>
                      </a:lnTo>
                      <a:lnTo>
                        <a:pt x="139" y="106"/>
                      </a:lnTo>
                      <a:lnTo>
                        <a:pt x="131" y="106"/>
                      </a:lnTo>
                      <a:lnTo>
                        <a:pt x="131" y="109"/>
                      </a:lnTo>
                      <a:lnTo>
                        <a:pt x="131" y="113"/>
                      </a:lnTo>
                      <a:lnTo>
                        <a:pt x="131" y="117"/>
                      </a:lnTo>
                      <a:lnTo>
                        <a:pt x="131" y="122"/>
                      </a:lnTo>
                      <a:lnTo>
                        <a:pt x="120" y="122"/>
                      </a:lnTo>
                      <a:lnTo>
                        <a:pt x="111" y="124"/>
                      </a:lnTo>
                      <a:lnTo>
                        <a:pt x="100" y="124"/>
                      </a:lnTo>
                      <a:lnTo>
                        <a:pt x="91" y="126"/>
                      </a:lnTo>
                      <a:lnTo>
                        <a:pt x="91" y="131"/>
                      </a:lnTo>
                      <a:lnTo>
                        <a:pt x="89" y="135"/>
                      </a:lnTo>
                      <a:lnTo>
                        <a:pt x="89" y="135"/>
                      </a:lnTo>
                      <a:lnTo>
                        <a:pt x="89" y="141"/>
                      </a:lnTo>
                      <a:lnTo>
                        <a:pt x="89" y="141"/>
                      </a:lnTo>
                      <a:lnTo>
                        <a:pt x="87" y="144"/>
                      </a:lnTo>
                      <a:lnTo>
                        <a:pt x="85" y="146"/>
                      </a:lnTo>
                      <a:lnTo>
                        <a:pt x="85" y="146"/>
                      </a:lnTo>
                      <a:lnTo>
                        <a:pt x="85" y="148"/>
                      </a:lnTo>
                      <a:lnTo>
                        <a:pt x="85" y="148"/>
                      </a:lnTo>
                      <a:lnTo>
                        <a:pt x="83" y="150"/>
                      </a:lnTo>
                      <a:lnTo>
                        <a:pt x="83" y="150"/>
                      </a:lnTo>
                      <a:lnTo>
                        <a:pt x="81" y="150"/>
                      </a:lnTo>
                      <a:lnTo>
                        <a:pt x="80" y="152"/>
                      </a:lnTo>
                      <a:lnTo>
                        <a:pt x="80" y="152"/>
                      </a:lnTo>
                      <a:lnTo>
                        <a:pt x="76" y="154"/>
                      </a:lnTo>
                      <a:lnTo>
                        <a:pt x="74" y="154"/>
                      </a:lnTo>
                      <a:lnTo>
                        <a:pt x="74" y="154"/>
                      </a:lnTo>
                      <a:lnTo>
                        <a:pt x="70" y="155"/>
                      </a:lnTo>
                      <a:lnTo>
                        <a:pt x="70" y="159"/>
                      </a:lnTo>
                      <a:lnTo>
                        <a:pt x="70" y="167"/>
                      </a:lnTo>
                      <a:lnTo>
                        <a:pt x="70" y="167"/>
                      </a:lnTo>
                      <a:lnTo>
                        <a:pt x="65" y="165"/>
                      </a:lnTo>
                      <a:lnTo>
                        <a:pt x="59" y="163"/>
                      </a:lnTo>
                      <a:lnTo>
                        <a:pt x="54" y="161"/>
                      </a:lnTo>
                      <a:lnTo>
                        <a:pt x="48" y="161"/>
                      </a:lnTo>
                      <a:lnTo>
                        <a:pt x="48" y="165"/>
                      </a:lnTo>
                      <a:lnTo>
                        <a:pt x="48" y="170"/>
                      </a:lnTo>
                      <a:lnTo>
                        <a:pt x="48" y="170"/>
                      </a:lnTo>
                      <a:lnTo>
                        <a:pt x="43" y="170"/>
                      </a:lnTo>
                      <a:lnTo>
                        <a:pt x="39" y="170"/>
                      </a:lnTo>
                      <a:lnTo>
                        <a:pt x="39" y="174"/>
                      </a:lnTo>
                      <a:lnTo>
                        <a:pt x="39" y="176"/>
                      </a:lnTo>
                      <a:lnTo>
                        <a:pt x="41" y="179"/>
                      </a:lnTo>
                      <a:lnTo>
                        <a:pt x="43" y="183"/>
                      </a:lnTo>
                      <a:lnTo>
                        <a:pt x="33" y="185"/>
                      </a:lnTo>
                      <a:lnTo>
                        <a:pt x="26" y="189"/>
                      </a:lnTo>
                      <a:lnTo>
                        <a:pt x="19" y="191"/>
                      </a:lnTo>
                      <a:lnTo>
                        <a:pt x="11" y="192"/>
                      </a:lnTo>
                      <a:lnTo>
                        <a:pt x="11" y="196"/>
                      </a:lnTo>
                      <a:lnTo>
                        <a:pt x="11" y="200"/>
                      </a:lnTo>
                      <a:lnTo>
                        <a:pt x="11" y="205"/>
                      </a:lnTo>
                      <a:lnTo>
                        <a:pt x="11" y="209"/>
                      </a:lnTo>
                      <a:lnTo>
                        <a:pt x="9" y="209"/>
                      </a:lnTo>
                      <a:lnTo>
                        <a:pt x="4" y="209"/>
                      </a:lnTo>
                      <a:lnTo>
                        <a:pt x="0" y="209"/>
                      </a:lnTo>
                      <a:lnTo>
                        <a:pt x="0" y="214"/>
                      </a:lnTo>
                      <a:lnTo>
                        <a:pt x="0" y="220"/>
                      </a:lnTo>
                      <a:lnTo>
                        <a:pt x="0" y="226"/>
                      </a:lnTo>
                      <a:lnTo>
                        <a:pt x="0" y="229"/>
                      </a:lnTo>
                      <a:lnTo>
                        <a:pt x="2" y="229"/>
                      </a:lnTo>
                      <a:lnTo>
                        <a:pt x="4" y="229"/>
                      </a:lnTo>
                      <a:lnTo>
                        <a:pt x="8" y="229"/>
                      </a:lnTo>
                      <a:lnTo>
                        <a:pt x="8" y="229"/>
                      </a:lnTo>
                      <a:lnTo>
                        <a:pt x="11" y="227"/>
                      </a:lnTo>
                      <a:lnTo>
                        <a:pt x="11" y="227"/>
                      </a:lnTo>
                      <a:lnTo>
                        <a:pt x="11" y="231"/>
                      </a:lnTo>
                      <a:lnTo>
                        <a:pt x="13" y="235"/>
                      </a:lnTo>
                      <a:lnTo>
                        <a:pt x="15" y="238"/>
                      </a:lnTo>
                      <a:lnTo>
                        <a:pt x="17" y="240"/>
                      </a:lnTo>
                      <a:lnTo>
                        <a:pt x="21" y="242"/>
                      </a:lnTo>
                      <a:lnTo>
                        <a:pt x="21" y="242"/>
                      </a:lnTo>
                      <a:lnTo>
                        <a:pt x="24" y="242"/>
                      </a:lnTo>
                      <a:lnTo>
                        <a:pt x="30" y="244"/>
                      </a:lnTo>
                      <a:lnTo>
                        <a:pt x="30" y="244"/>
                      </a:lnTo>
                      <a:lnTo>
                        <a:pt x="33" y="244"/>
                      </a:lnTo>
                      <a:lnTo>
                        <a:pt x="33" y="246"/>
                      </a:lnTo>
                      <a:lnTo>
                        <a:pt x="35" y="251"/>
                      </a:lnTo>
                      <a:lnTo>
                        <a:pt x="35" y="259"/>
                      </a:lnTo>
                      <a:lnTo>
                        <a:pt x="37" y="266"/>
                      </a:lnTo>
                      <a:lnTo>
                        <a:pt x="39" y="274"/>
                      </a:lnTo>
                      <a:lnTo>
                        <a:pt x="41" y="274"/>
                      </a:lnTo>
                      <a:lnTo>
                        <a:pt x="45" y="275"/>
                      </a:lnTo>
                      <a:lnTo>
                        <a:pt x="46" y="275"/>
                      </a:lnTo>
                      <a:lnTo>
                        <a:pt x="50" y="277"/>
                      </a:lnTo>
                      <a:lnTo>
                        <a:pt x="50" y="277"/>
                      </a:lnTo>
                      <a:lnTo>
                        <a:pt x="52" y="281"/>
                      </a:lnTo>
                      <a:lnTo>
                        <a:pt x="52" y="281"/>
                      </a:lnTo>
                      <a:lnTo>
                        <a:pt x="52" y="285"/>
                      </a:lnTo>
                      <a:lnTo>
                        <a:pt x="54" y="286"/>
                      </a:lnTo>
                      <a:lnTo>
                        <a:pt x="54" y="290"/>
                      </a:lnTo>
                      <a:lnTo>
                        <a:pt x="61" y="290"/>
                      </a:lnTo>
                      <a:lnTo>
                        <a:pt x="69" y="290"/>
                      </a:lnTo>
                      <a:lnTo>
                        <a:pt x="74" y="290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lnTo>
                        <a:pt x="83" y="294"/>
                      </a:lnTo>
                      <a:lnTo>
                        <a:pt x="83" y="299"/>
                      </a:lnTo>
                      <a:lnTo>
                        <a:pt x="83" y="303"/>
                      </a:lnTo>
                      <a:lnTo>
                        <a:pt x="83" y="307"/>
                      </a:lnTo>
                      <a:lnTo>
                        <a:pt x="85" y="307"/>
                      </a:lnTo>
                      <a:lnTo>
                        <a:pt x="91" y="305"/>
                      </a:lnTo>
                      <a:lnTo>
                        <a:pt x="94" y="305"/>
                      </a:lnTo>
                      <a:lnTo>
                        <a:pt x="100" y="305"/>
                      </a:lnTo>
                      <a:lnTo>
                        <a:pt x="100" y="307"/>
                      </a:lnTo>
                      <a:lnTo>
                        <a:pt x="100" y="312"/>
                      </a:lnTo>
                      <a:lnTo>
                        <a:pt x="100" y="318"/>
                      </a:lnTo>
                      <a:lnTo>
                        <a:pt x="100" y="323"/>
                      </a:lnTo>
                      <a:lnTo>
                        <a:pt x="100" y="329"/>
                      </a:lnTo>
                      <a:lnTo>
                        <a:pt x="98" y="329"/>
                      </a:lnTo>
                      <a:lnTo>
                        <a:pt x="96" y="331"/>
                      </a:lnTo>
                      <a:lnTo>
                        <a:pt x="94" y="334"/>
                      </a:lnTo>
                      <a:lnTo>
                        <a:pt x="94" y="336"/>
                      </a:lnTo>
                      <a:lnTo>
                        <a:pt x="98" y="340"/>
                      </a:lnTo>
                      <a:lnTo>
                        <a:pt x="105" y="338"/>
                      </a:lnTo>
                      <a:lnTo>
                        <a:pt x="115" y="338"/>
                      </a:lnTo>
                      <a:lnTo>
                        <a:pt x="122" y="338"/>
                      </a:lnTo>
                      <a:lnTo>
                        <a:pt x="131" y="338"/>
                      </a:lnTo>
                      <a:lnTo>
                        <a:pt x="131" y="338"/>
                      </a:lnTo>
                      <a:lnTo>
                        <a:pt x="131" y="344"/>
                      </a:lnTo>
                      <a:lnTo>
                        <a:pt x="131" y="349"/>
                      </a:lnTo>
                      <a:lnTo>
                        <a:pt x="137" y="351"/>
                      </a:lnTo>
                      <a:lnTo>
                        <a:pt x="142" y="351"/>
                      </a:lnTo>
                      <a:lnTo>
                        <a:pt x="148" y="353"/>
                      </a:lnTo>
                      <a:lnTo>
                        <a:pt x="153" y="355"/>
                      </a:lnTo>
                      <a:lnTo>
                        <a:pt x="153" y="355"/>
                      </a:lnTo>
                      <a:lnTo>
                        <a:pt x="153" y="360"/>
                      </a:lnTo>
                      <a:lnTo>
                        <a:pt x="153" y="366"/>
                      </a:lnTo>
                      <a:lnTo>
                        <a:pt x="153" y="370"/>
                      </a:lnTo>
                      <a:lnTo>
                        <a:pt x="153" y="373"/>
                      </a:lnTo>
                      <a:lnTo>
                        <a:pt x="155" y="375"/>
                      </a:lnTo>
                      <a:lnTo>
                        <a:pt x="157" y="377"/>
                      </a:lnTo>
                      <a:lnTo>
                        <a:pt x="161" y="377"/>
                      </a:lnTo>
                      <a:lnTo>
                        <a:pt x="168" y="377"/>
                      </a:lnTo>
                      <a:lnTo>
                        <a:pt x="168" y="377"/>
                      </a:lnTo>
                      <a:lnTo>
                        <a:pt x="168" y="382"/>
                      </a:lnTo>
                      <a:lnTo>
                        <a:pt x="168" y="388"/>
                      </a:lnTo>
                      <a:lnTo>
                        <a:pt x="172" y="390"/>
                      </a:lnTo>
                      <a:lnTo>
                        <a:pt x="177" y="394"/>
                      </a:lnTo>
                      <a:lnTo>
                        <a:pt x="181" y="395"/>
                      </a:lnTo>
                      <a:lnTo>
                        <a:pt x="185" y="397"/>
                      </a:lnTo>
                      <a:lnTo>
                        <a:pt x="187" y="397"/>
                      </a:lnTo>
                      <a:lnTo>
                        <a:pt x="187" y="397"/>
                      </a:lnTo>
                      <a:lnTo>
                        <a:pt x="187" y="395"/>
                      </a:lnTo>
                      <a:lnTo>
                        <a:pt x="189" y="395"/>
                      </a:lnTo>
                      <a:lnTo>
                        <a:pt x="190" y="397"/>
                      </a:lnTo>
                      <a:lnTo>
                        <a:pt x="190" y="397"/>
                      </a:lnTo>
                      <a:lnTo>
                        <a:pt x="192" y="397"/>
                      </a:lnTo>
                      <a:lnTo>
                        <a:pt x="194" y="394"/>
                      </a:lnTo>
                      <a:lnTo>
                        <a:pt x="196" y="390"/>
                      </a:lnTo>
                      <a:lnTo>
                        <a:pt x="196" y="390"/>
                      </a:lnTo>
                      <a:lnTo>
                        <a:pt x="194" y="388"/>
                      </a:lnTo>
                      <a:lnTo>
                        <a:pt x="194" y="388"/>
                      </a:lnTo>
                      <a:lnTo>
                        <a:pt x="196" y="386"/>
                      </a:lnTo>
                      <a:lnTo>
                        <a:pt x="196" y="386"/>
                      </a:lnTo>
                      <a:lnTo>
                        <a:pt x="198" y="384"/>
                      </a:lnTo>
                      <a:lnTo>
                        <a:pt x="198" y="384"/>
                      </a:lnTo>
                      <a:lnTo>
                        <a:pt x="200" y="386"/>
                      </a:lnTo>
                      <a:lnTo>
                        <a:pt x="200" y="386"/>
                      </a:lnTo>
                      <a:lnTo>
                        <a:pt x="203" y="384"/>
                      </a:lnTo>
                      <a:lnTo>
                        <a:pt x="203" y="384"/>
                      </a:lnTo>
                      <a:lnTo>
                        <a:pt x="205" y="382"/>
                      </a:lnTo>
                      <a:lnTo>
                        <a:pt x="205" y="379"/>
                      </a:lnTo>
                      <a:lnTo>
                        <a:pt x="205" y="375"/>
                      </a:lnTo>
                      <a:lnTo>
                        <a:pt x="203" y="371"/>
                      </a:lnTo>
                      <a:lnTo>
                        <a:pt x="203" y="368"/>
                      </a:lnTo>
                      <a:lnTo>
                        <a:pt x="200" y="368"/>
                      </a:lnTo>
                      <a:lnTo>
                        <a:pt x="196" y="368"/>
                      </a:lnTo>
                      <a:lnTo>
                        <a:pt x="196" y="368"/>
                      </a:lnTo>
                      <a:lnTo>
                        <a:pt x="192" y="368"/>
                      </a:lnTo>
                      <a:lnTo>
                        <a:pt x="192" y="368"/>
                      </a:lnTo>
                      <a:lnTo>
                        <a:pt x="189" y="366"/>
                      </a:lnTo>
                      <a:lnTo>
                        <a:pt x="187" y="366"/>
                      </a:lnTo>
                      <a:lnTo>
                        <a:pt x="185" y="366"/>
                      </a:lnTo>
                      <a:lnTo>
                        <a:pt x="181" y="364"/>
                      </a:lnTo>
                      <a:lnTo>
                        <a:pt x="181" y="364"/>
                      </a:lnTo>
                      <a:lnTo>
                        <a:pt x="179" y="362"/>
                      </a:lnTo>
                      <a:lnTo>
                        <a:pt x="179" y="362"/>
                      </a:lnTo>
                      <a:lnTo>
                        <a:pt x="176" y="360"/>
                      </a:lnTo>
                      <a:lnTo>
                        <a:pt x="174" y="358"/>
                      </a:lnTo>
                      <a:lnTo>
                        <a:pt x="174" y="357"/>
                      </a:lnTo>
                      <a:lnTo>
                        <a:pt x="172" y="355"/>
                      </a:lnTo>
                      <a:lnTo>
                        <a:pt x="170" y="353"/>
                      </a:lnTo>
                      <a:lnTo>
                        <a:pt x="168" y="349"/>
                      </a:lnTo>
                      <a:lnTo>
                        <a:pt x="168" y="349"/>
                      </a:lnTo>
                      <a:lnTo>
                        <a:pt x="166" y="346"/>
                      </a:lnTo>
                      <a:lnTo>
                        <a:pt x="166" y="342"/>
                      </a:lnTo>
                      <a:lnTo>
                        <a:pt x="165" y="338"/>
                      </a:lnTo>
                      <a:lnTo>
                        <a:pt x="165" y="334"/>
                      </a:lnTo>
                      <a:lnTo>
                        <a:pt x="159" y="334"/>
                      </a:lnTo>
                      <a:lnTo>
                        <a:pt x="152" y="334"/>
                      </a:lnTo>
                      <a:lnTo>
                        <a:pt x="155" y="322"/>
                      </a:lnTo>
                      <a:lnTo>
                        <a:pt x="159" y="310"/>
                      </a:lnTo>
                      <a:lnTo>
                        <a:pt x="163" y="299"/>
                      </a:lnTo>
                      <a:lnTo>
                        <a:pt x="166" y="288"/>
                      </a:lnTo>
                      <a:lnTo>
                        <a:pt x="168" y="288"/>
                      </a:lnTo>
                      <a:lnTo>
                        <a:pt x="174" y="286"/>
                      </a:lnTo>
                      <a:lnTo>
                        <a:pt x="179" y="283"/>
                      </a:lnTo>
                      <a:lnTo>
                        <a:pt x="187" y="281"/>
                      </a:lnTo>
                      <a:lnTo>
                        <a:pt x="192" y="279"/>
                      </a:lnTo>
                      <a:lnTo>
                        <a:pt x="192" y="279"/>
                      </a:lnTo>
                      <a:lnTo>
                        <a:pt x="196" y="285"/>
                      </a:lnTo>
                      <a:lnTo>
                        <a:pt x="198" y="290"/>
                      </a:lnTo>
                      <a:lnTo>
                        <a:pt x="198" y="290"/>
                      </a:lnTo>
                      <a:lnTo>
                        <a:pt x="194" y="292"/>
                      </a:lnTo>
                      <a:lnTo>
                        <a:pt x="190" y="292"/>
                      </a:lnTo>
                      <a:lnTo>
                        <a:pt x="187" y="294"/>
                      </a:lnTo>
                      <a:lnTo>
                        <a:pt x="185" y="294"/>
                      </a:lnTo>
                      <a:lnTo>
                        <a:pt x="185" y="301"/>
                      </a:lnTo>
                      <a:lnTo>
                        <a:pt x="185" y="309"/>
                      </a:lnTo>
                      <a:lnTo>
                        <a:pt x="187" y="316"/>
                      </a:lnTo>
                      <a:lnTo>
                        <a:pt x="187" y="322"/>
                      </a:lnTo>
                      <a:lnTo>
                        <a:pt x="194" y="325"/>
                      </a:lnTo>
                      <a:lnTo>
                        <a:pt x="200" y="329"/>
                      </a:lnTo>
                      <a:lnTo>
                        <a:pt x="200" y="329"/>
                      </a:lnTo>
                      <a:lnTo>
                        <a:pt x="205" y="333"/>
                      </a:lnTo>
                      <a:lnTo>
                        <a:pt x="211" y="336"/>
                      </a:lnTo>
                      <a:lnTo>
                        <a:pt x="213" y="336"/>
                      </a:lnTo>
                      <a:lnTo>
                        <a:pt x="213" y="338"/>
                      </a:lnTo>
                      <a:lnTo>
                        <a:pt x="214" y="340"/>
                      </a:lnTo>
                      <a:lnTo>
                        <a:pt x="216" y="342"/>
                      </a:lnTo>
                      <a:lnTo>
                        <a:pt x="220" y="344"/>
                      </a:lnTo>
                      <a:lnTo>
                        <a:pt x="220" y="344"/>
                      </a:lnTo>
                      <a:lnTo>
                        <a:pt x="220" y="347"/>
                      </a:lnTo>
                      <a:lnTo>
                        <a:pt x="220" y="347"/>
                      </a:lnTo>
                      <a:lnTo>
                        <a:pt x="222" y="351"/>
                      </a:lnTo>
                      <a:lnTo>
                        <a:pt x="224" y="355"/>
                      </a:lnTo>
                      <a:lnTo>
                        <a:pt x="224" y="355"/>
                      </a:lnTo>
                      <a:lnTo>
                        <a:pt x="225" y="357"/>
                      </a:lnTo>
                      <a:lnTo>
                        <a:pt x="231" y="358"/>
                      </a:lnTo>
                      <a:lnTo>
                        <a:pt x="236" y="360"/>
                      </a:lnTo>
                      <a:lnTo>
                        <a:pt x="242" y="362"/>
                      </a:lnTo>
                      <a:lnTo>
                        <a:pt x="248" y="364"/>
                      </a:lnTo>
                      <a:lnTo>
                        <a:pt x="248" y="364"/>
                      </a:lnTo>
                      <a:lnTo>
                        <a:pt x="249" y="370"/>
                      </a:lnTo>
                      <a:lnTo>
                        <a:pt x="249" y="375"/>
                      </a:lnTo>
                      <a:lnTo>
                        <a:pt x="249" y="381"/>
                      </a:lnTo>
                      <a:lnTo>
                        <a:pt x="249" y="388"/>
                      </a:lnTo>
                      <a:lnTo>
                        <a:pt x="255" y="388"/>
                      </a:lnTo>
                      <a:lnTo>
                        <a:pt x="259" y="390"/>
                      </a:lnTo>
                      <a:lnTo>
                        <a:pt x="264" y="392"/>
                      </a:lnTo>
                      <a:lnTo>
                        <a:pt x="270" y="392"/>
                      </a:lnTo>
                      <a:lnTo>
                        <a:pt x="270" y="394"/>
                      </a:lnTo>
                      <a:lnTo>
                        <a:pt x="270" y="399"/>
                      </a:lnTo>
                      <a:lnTo>
                        <a:pt x="270" y="403"/>
                      </a:lnTo>
                      <a:lnTo>
                        <a:pt x="270" y="410"/>
                      </a:lnTo>
                      <a:lnTo>
                        <a:pt x="270" y="416"/>
                      </a:lnTo>
                      <a:lnTo>
                        <a:pt x="268" y="416"/>
                      </a:lnTo>
                      <a:lnTo>
                        <a:pt x="264" y="416"/>
                      </a:lnTo>
                      <a:lnTo>
                        <a:pt x="259" y="416"/>
                      </a:lnTo>
                      <a:lnTo>
                        <a:pt x="260" y="427"/>
                      </a:lnTo>
                      <a:lnTo>
                        <a:pt x="262" y="440"/>
                      </a:lnTo>
                      <a:lnTo>
                        <a:pt x="262" y="453"/>
                      </a:lnTo>
                      <a:lnTo>
                        <a:pt x="262" y="453"/>
                      </a:lnTo>
                      <a:lnTo>
                        <a:pt x="266" y="464"/>
                      </a:lnTo>
                      <a:lnTo>
                        <a:pt x="270" y="488"/>
                      </a:lnTo>
                      <a:lnTo>
                        <a:pt x="275" y="513"/>
                      </a:lnTo>
                      <a:lnTo>
                        <a:pt x="279" y="537"/>
                      </a:lnTo>
                      <a:lnTo>
                        <a:pt x="284" y="561"/>
                      </a:lnTo>
                      <a:lnTo>
                        <a:pt x="290" y="585"/>
                      </a:lnTo>
                      <a:lnTo>
                        <a:pt x="296" y="611"/>
                      </a:lnTo>
                      <a:lnTo>
                        <a:pt x="297" y="617"/>
                      </a:lnTo>
                      <a:lnTo>
                        <a:pt x="301" y="624"/>
                      </a:lnTo>
                      <a:lnTo>
                        <a:pt x="305" y="632"/>
                      </a:lnTo>
                      <a:lnTo>
                        <a:pt x="307" y="639"/>
                      </a:lnTo>
                      <a:lnTo>
                        <a:pt x="308" y="646"/>
                      </a:lnTo>
                      <a:lnTo>
                        <a:pt x="312" y="656"/>
                      </a:lnTo>
                      <a:lnTo>
                        <a:pt x="314" y="663"/>
                      </a:lnTo>
                      <a:lnTo>
                        <a:pt x="316" y="672"/>
                      </a:lnTo>
                      <a:lnTo>
                        <a:pt x="316" y="681"/>
                      </a:lnTo>
                      <a:lnTo>
                        <a:pt x="316" y="689"/>
                      </a:lnTo>
                      <a:lnTo>
                        <a:pt x="316" y="689"/>
                      </a:lnTo>
                      <a:lnTo>
                        <a:pt x="316" y="692"/>
                      </a:lnTo>
                      <a:lnTo>
                        <a:pt x="316" y="698"/>
                      </a:lnTo>
                      <a:lnTo>
                        <a:pt x="316" y="702"/>
                      </a:lnTo>
                      <a:lnTo>
                        <a:pt x="316" y="702"/>
                      </a:lnTo>
                      <a:lnTo>
                        <a:pt x="314" y="705"/>
                      </a:lnTo>
                      <a:lnTo>
                        <a:pt x="314" y="709"/>
                      </a:lnTo>
                      <a:lnTo>
                        <a:pt x="312" y="713"/>
                      </a:lnTo>
                      <a:lnTo>
                        <a:pt x="312" y="713"/>
                      </a:lnTo>
                      <a:lnTo>
                        <a:pt x="310" y="715"/>
                      </a:lnTo>
                      <a:lnTo>
                        <a:pt x="308" y="718"/>
                      </a:lnTo>
                      <a:lnTo>
                        <a:pt x="308" y="718"/>
                      </a:lnTo>
                      <a:lnTo>
                        <a:pt x="307" y="722"/>
                      </a:lnTo>
                      <a:lnTo>
                        <a:pt x="305" y="724"/>
                      </a:lnTo>
                      <a:lnTo>
                        <a:pt x="303" y="728"/>
                      </a:lnTo>
                      <a:lnTo>
                        <a:pt x="303" y="728"/>
                      </a:lnTo>
                      <a:lnTo>
                        <a:pt x="299" y="729"/>
                      </a:lnTo>
                      <a:lnTo>
                        <a:pt x="301" y="733"/>
                      </a:lnTo>
                      <a:lnTo>
                        <a:pt x="301" y="733"/>
                      </a:lnTo>
                      <a:lnTo>
                        <a:pt x="303" y="737"/>
                      </a:lnTo>
                      <a:lnTo>
                        <a:pt x="305" y="739"/>
                      </a:lnTo>
                      <a:lnTo>
                        <a:pt x="305" y="739"/>
                      </a:lnTo>
                      <a:lnTo>
                        <a:pt x="305" y="742"/>
                      </a:lnTo>
                      <a:lnTo>
                        <a:pt x="305" y="742"/>
                      </a:lnTo>
                      <a:lnTo>
                        <a:pt x="305" y="744"/>
                      </a:lnTo>
                      <a:lnTo>
                        <a:pt x="305" y="744"/>
                      </a:lnTo>
                      <a:lnTo>
                        <a:pt x="305" y="746"/>
                      </a:lnTo>
                      <a:lnTo>
                        <a:pt x="305" y="746"/>
                      </a:lnTo>
                      <a:lnTo>
                        <a:pt x="305" y="750"/>
                      </a:lnTo>
                      <a:lnTo>
                        <a:pt x="305" y="750"/>
                      </a:lnTo>
                      <a:lnTo>
                        <a:pt x="305" y="755"/>
                      </a:lnTo>
                      <a:lnTo>
                        <a:pt x="305" y="755"/>
                      </a:lnTo>
                      <a:lnTo>
                        <a:pt x="299" y="755"/>
                      </a:lnTo>
                      <a:lnTo>
                        <a:pt x="296" y="757"/>
                      </a:lnTo>
                      <a:lnTo>
                        <a:pt x="292" y="757"/>
                      </a:lnTo>
                      <a:lnTo>
                        <a:pt x="288" y="759"/>
                      </a:lnTo>
                      <a:lnTo>
                        <a:pt x="288" y="763"/>
                      </a:lnTo>
                      <a:lnTo>
                        <a:pt x="288" y="768"/>
                      </a:lnTo>
                      <a:lnTo>
                        <a:pt x="294" y="770"/>
                      </a:lnTo>
                      <a:lnTo>
                        <a:pt x="299" y="774"/>
                      </a:lnTo>
                      <a:lnTo>
                        <a:pt x="305" y="775"/>
                      </a:lnTo>
                      <a:lnTo>
                        <a:pt x="305" y="775"/>
                      </a:lnTo>
                      <a:lnTo>
                        <a:pt x="308" y="779"/>
                      </a:lnTo>
                      <a:lnTo>
                        <a:pt x="314" y="783"/>
                      </a:lnTo>
                      <a:lnTo>
                        <a:pt x="314" y="783"/>
                      </a:lnTo>
                      <a:lnTo>
                        <a:pt x="318" y="787"/>
                      </a:lnTo>
                      <a:lnTo>
                        <a:pt x="320" y="790"/>
                      </a:lnTo>
                      <a:lnTo>
                        <a:pt x="320" y="790"/>
                      </a:lnTo>
                      <a:lnTo>
                        <a:pt x="323" y="794"/>
                      </a:lnTo>
                      <a:lnTo>
                        <a:pt x="325" y="798"/>
                      </a:lnTo>
                      <a:lnTo>
                        <a:pt x="325" y="798"/>
                      </a:lnTo>
                      <a:lnTo>
                        <a:pt x="327" y="803"/>
                      </a:lnTo>
                      <a:lnTo>
                        <a:pt x="327" y="803"/>
                      </a:lnTo>
                      <a:lnTo>
                        <a:pt x="329" y="807"/>
                      </a:lnTo>
                      <a:lnTo>
                        <a:pt x="329" y="807"/>
                      </a:lnTo>
                      <a:lnTo>
                        <a:pt x="331" y="811"/>
                      </a:lnTo>
                      <a:lnTo>
                        <a:pt x="332" y="820"/>
                      </a:lnTo>
                      <a:lnTo>
                        <a:pt x="332" y="831"/>
                      </a:lnTo>
                      <a:lnTo>
                        <a:pt x="334" y="840"/>
                      </a:lnTo>
                      <a:lnTo>
                        <a:pt x="334" y="840"/>
                      </a:lnTo>
                      <a:lnTo>
                        <a:pt x="334" y="840"/>
                      </a:lnTo>
                      <a:lnTo>
                        <a:pt x="336" y="849"/>
                      </a:lnTo>
                      <a:lnTo>
                        <a:pt x="336" y="855"/>
                      </a:lnTo>
                      <a:lnTo>
                        <a:pt x="338" y="859"/>
                      </a:lnTo>
                      <a:lnTo>
                        <a:pt x="340" y="864"/>
                      </a:lnTo>
                      <a:lnTo>
                        <a:pt x="342" y="870"/>
                      </a:lnTo>
                      <a:lnTo>
                        <a:pt x="342" y="870"/>
                      </a:lnTo>
                      <a:lnTo>
                        <a:pt x="344" y="873"/>
                      </a:lnTo>
                      <a:lnTo>
                        <a:pt x="345" y="879"/>
                      </a:lnTo>
                      <a:lnTo>
                        <a:pt x="349" y="883"/>
                      </a:lnTo>
                      <a:lnTo>
                        <a:pt x="351" y="888"/>
                      </a:lnTo>
                      <a:lnTo>
                        <a:pt x="355" y="892"/>
                      </a:lnTo>
                      <a:lnTo>
                        <a:pt x="360" y="897"/>
                      </a:lnTo>
                      <a:lnTo>
                        <a:pt x="364" y="901"/>
                      </a:lnTo>
                      <a:lnTo>
                        <a:pt x="369" y="905"/>
                      </a:lnTo>
                      <a:lnTo>
                        <a:pt x="375" y="903"/>
                      </a:lnTo>
                      <a:lnTo>
                        <a:pt x="380" y="901"/>
                      </a:lnTo>
                      <a:lnTo>
                        <a:pt x="384" y="899"/>
                      </a:lnTo>
                      <a:lnTo>
                        <a:pt x="390" y="895"/>
                      </a:lnTo>
                      <a:lnTo>
                        <a:pt x="393" y="894"/>
                      </a:lnTo>
                      <a:lnTo>
                        <a:pt x="399" y="890"/>
                      </a:lnTo>
                      <a:lnTo>
                        <a:pt x="399" y="890"/>
                      </a:lnTo>
                      <a:lnTo>
                        <a:pt x="403" y="886"/>
                      </a:lnTo>
                      <a:lnTo>
                        <a:pt x="408" y="883"/>
                      </a:lnTo>
                      <a:lnTo>
                        <a:pt x="416" y="875"/>
                      </a:lnTo>
                      <a:lnTo>
                        <a:pt x="425" y="868"/>
                      </a:lnTo>
                      <a:lnTo>
                        <a:pt x="432" y="859"/>
                      </a:lnTo>
                      <a:lnTo>
                        <a:pt x="438" y="851"/>
                      </a:lnTo>
                      <a:lnTo>
                        <a:pt x="436" y="840"/>
                      </a:lnTo>
                      <a:lnTo>
                        <a:pt x="436" y="829"/>
                      </a:lnTo>
                      <a:lnTo>
                        <a:pt x="432" y="818"/>
                      </a:lnTo>
                      <a:lnTo>
                        <a:pt x="432" y="807"/>
                      </a:lnTo>
                      <a:lnTo>
                        <a:pt x="428" y="807"/>
                      </a:lnTo>
                      <a:lnTo>
                        <a:pt x="425" y="805"/>
                      </a:lnTo>
                      <a:lnTo>
                        <a:pt x="421" y="805"/>
                      </a:lnTo>
                      <a:lnTo>
                        <a:pt x="417" y="807"/>
                      </a:lnTo>
                      <a:lnTo>
                        <a:pt x="410" y="807"/>
                      </a:lnTo>
                      <a:lnTo>
                        <a:pt x="404" y="809"/>
                      </a:lnTo>
                      <a:lnTo>
                        <a:pt x="401" y="811"/>
                      </a:lnTo>
                      <a:lnTo>
                        <a:pt x="401" y="811"/>
                      </a:lnTo>
                      <a:lnTo>
                        <a:pt x="399" y="811"/>
                      </a:lnTo>
                      <a:lnTo>
                        <a:pt x="395" y="811"/>
                      </a:lnTo>
                      <a:lnTo>
                        <a:pt x="395" y="811"/>
                      </a:lnTo>
                      <a:lnTo>
                        <a:pt x="392" y="811"/>
                      </a:lnTo>
                      <a:lnTo>
                        <a:pt x="392" y="811"/>
                      </a:lnTo>
                      <a:lnTo>
                        <a:pt x="388" y="811"/>
                      </a:lnTo>
                      <a:lnTo>
                        <a:pt x="388" y="811"/>
                      </a:lnTo>
                      <a:lnTo>
                        <a:pt x="382" y="809"/>
                      </a:lnTo>
                      <a:lnTo>
                        <a:pt x="382" y="809"/>
                      </a:lnTo>
                      <a:lnTo>
                        <a:pt x="379" y="807"/>
                      </a:lnTo>
                      <a:lnTo>
                        <a:pt x="379" y="807"/>
                      </a:lnTo>
                      <a:lnTo>
                        <a:pt x="373" y="803"/>
                      </a:lnTo>
                      <a:lnTo>
                        <a:pt x="373" y="803"/>
                      </a:lnTo>
                      <a:lnTo>
                        <a:pt x="373" y="798"/>
                      </a:lnTo>
                      <a:lnTo>
                        <a:pt x="371" y="792"/>
                      </a:lnTo>
                      <a:lnTo>
                        <a:pt x="371" y="788"/>
                      </a:lnTo>
                      <a:lnTo>
                        <a:pt x="371" y="788"/>
                      </a:lnTo>
                      <a:lnTo>
                        <a:pt x="371" y="785"/>
                      </a:lnTo>
                      <a:lnTo>
                        <a:pt x="371" y="785"/>
                      </a:lnTo>
                      <a:lnTo>
                        <a:pt x="373" y="781"/>
                      </a:lnTo>
                      <a:lnTo>
                        <a:pt x="373" y="781"/>
                      </a:lnTo>
                      <a:lnTo>
                        <a:pt x="375" y="777"/>
                      </a:lnTo>
                      <a:lnTo>
                        <a:pt x="375" y="777"/>
                      </a:lnTo>
                      <a:lnTo>
                        <a:pt x="377" y="774"/>
                      </a:lnTo>
                      <a:lnTo>
                        <a:pt x="380" y="768"/>
                      </a:lnTo>
                      <a:lnTo>
                        <a:pt x="380" y="768"/>
                      </a:lnTo>
                      <a:lnTo>
                        <a:pt x="390" y="768"/>
                      </a:lnTo>
                      <a:lnTo>
                        <a:pt x="399" y="768"/>
                      </a:lnTo>
                      <a:lnTo>
                        <a:pt x="408" y="768"/>
                      </a:lnTo>
                      <a:lnTo>
                        <a:pt x="417" y="768"/>
                      </a:lnTo>
                      <a:lnTo>
                        <a:pt x="421" y="761"/>
                      </a:lnTo>
                      <a:lnTo>
                        <a:pt x="423" y="755"/>
                      </a:lnTo>
                      <a:lnTo>
                        <a:pt x="425" y="750"/>
                      </a:lnTo>
                      <a:lnTo>
                        <a:pt x="425" y="746"/>
                      </a:lnTo>
                      <a:lnTo>
                        <a:pt x="427" y="733"/>
                      </a:lnTo>
                      <a:lnTo>
                        <a:pt x="428" y="715"/>
                      </a:lnTo>
                      <a:lnTo>
                        <a:pt x="423" y="715"/>
                      </a:lnTo>
                      <a:lnTo>
                        <a:pt x="417" y="715"/>
                      </a:lnTo>
                      <a:lnTo>
                        <a:pt x="417" y="715"/>
                      </a:lnTo>
                      <a:lnTo>
                        <a:pt x="417" y="705"/>
                      </a:lnTo>
                      <a:lnTo>
                        <a:pt x="416" y="698"/>
                      </a:lnTo>
                      <a:lnTo>
                        <a:pt x="414" y="691"/>
                      </a:lnTo>
                      <a:lnTo>
                        <a:pt x="412" y="685"/>
                      </a:lnTo>
                      <a:lnTo>
                        <a:pt x="408" y="678"/>
                      </a:lnTo>
                      <a:lnTo>
                        <a:pt x="404" y="672"/>
                      </a:lnTo>
                      <a:lnTo>
                        <a:pt x="401" y="667"/>
                      </a:lnTo>
                      <a:lnTo>
                        <a:pt x="395" y="657"/>
                      </a:lnTo>
                      <a:lnTo>
                        <a:pt x="408" y="650"/>
                      </a:lnTo>
                      <a:lnTo>
                        <a:pt x="421" y="643"/>
                      </a:lnTo>
                      <a:lnTo>
                        <a:pt x="434" y="635"/>
                      </a:lnTo>
                      <a:lnTo>
                        <a:pt x="445" y="626"/>
                      </a:lnTo>
                      <a:lnTo>
                        <a:pt x="449" y="620"/>
                      </a:lnTo>
                      <a:lnTo>
                        <a:pt x="452" y="613"/>
                      </a:lnTo>
                      <a:lnTo>
                        <a:pt x="456" y="609"/>
                      </a:lnTo>
                      <a:lnTo>
                        <a:pt x="456" y="609"/>
                      </a:lnTo>
                      <a:lnTo>
                        <a:pt x="458" y="606"/>
                      </a:lnTo>
                      <a:lnTo>
                        <a:pt x="462" y="604"/>
                      </a:lnTo>
                      <a:lnTo>
                        <a:pt x="463" y="600"/>
                      </a:lnTo>
                      <a:lnTo>
                        <a:pt x="467" y="596"/>
                      </a:lnTo>
                      <a:lnTo>
                        <a:pt x="471" y="593"/>
                      </a:lnTo>
                      <a:lnTo>
                        <a:pt x="471" y="587"/>
                      </a:lnTo>
                      <a:lnTo>
                        <a:pt x="471" y="582"/>
                      </a:lnTo>
                      <a:lnTo>
                        <a:pt x="469" y="576"/>
                      </a:lnTo>
                      <a:lnTo>
                        <a:pt x="467" y="571"/>
                      </a:lnTo>
                      <a:lnTo>
                        <a:pt x="467" y="567"/>
                      </a:lnTo>
                      <a:lnTo>
                        <a:pt x="463" y="561"/>
                      </a:lnTo>
                      <a:lnTo>
                        <a:pt x="462" y="556"/>
                      </a:lnTo>
                      <a:lnTo>
                        <a:pt x="458" y="552"/>
                      </a:lnTo>
                      <a:lnTo>
                        <a:pt x="456" y="556"/>
                      </a:lnTo>
                      <a:lnTo>
                        <a:pt x="456" y="556"/>
                      </a:lnTo>
                      <a:lnTo>
                        <a:pt x="454" y="560"/>
                      </a:lnTo>
                      <a:lnTo>
                        <a:pt x="451" y="563"/>
                      </a:lnTo>
                      <a:lnTo>
                        <a:pt x="451" y="563"/>
                      </a:lnTo>
                      <a:lnTo>
                        <a:pt x="449" y="565"/>
                      </a:lnTo>
                      <a:lnTo>
                        <a:pt x="449" y="565"/>
                      </a:lnTo>
                      <a:lnTo>
                        <a:pt x="445" y="569"/>
                      </a:lnTo>
                      <a:lnTo>
                        <a:pt x="445" y="569"/>
                      </a:lnTo>
                      <a:lnTo>
                        <a:pt x="441" y="569"/>
                      </a:lnTo>
                      <a:lnTo>
                        <a:pt x="438" y="571"/>
                      </a:lnTo>
                      <a:lnTo>
                        <a:pt x="434" y="573"/>
                      </a:lnTo>
                      <a:lnTo>
                        <a:pt x="434" y="573"/>
                      </a:lnTo>
                      <a:lnTo>
                        <a:pt x="438" y="574"/>
                      </a:lnTo>
                      <a:lnTo>
                        <a:pt x="438" y="574"/>
                      </a:lnTo>
                      <a:lnTo>
                        <a:pt x="441" y="576"/>
                      </a:lnTo>
                      <a:lnTo>
                        <a:pt x="447" y="578"/>
                      </a:lnTo>
                      <a:lnTo>
                        <a:pt x="445" y="578"/>
                      </a:lnTo>
                      <a:lnTo>
                        <a:pt x="443" y="582"/>
                      </a:lnTo>
                      <a:lnTo>
                        <a:pt x="441" y="587"/>
                      </a:lnTo>
                      <a:lnTo>
                        <a:pt x="432" y="585"/>
                      </a:lnTo>
                      <a:lnTo>
                        <a:pt x="423" y="582"/>
                      </a:lnTo>
                      <a:lnTo>
                        <a:pt x="417" y="580"/>
                      </a:lnTo>
                      <a:lnTo>
                        <a:pt x="410" y="576"/>
                      </a:lnTo>
                      <a:lnTo>
                        <a:pt x="410" y="576"/>
                      </a:lnTo>
                      <a:lnTo>
                        <a:pt x="406" y="573"/>
                      </a:lnTo>
                      <a:lnTo>
                        <a:pt x="406" y="573"/>
                      </a:lnTo>
                      <a:lnTo>
                        <a:pt x="401" y="569"/>
                      </a:lnTo>
                      <a:lnTo>
                        <a:pt x="401" y="569"/>
                      </a:lnTo>
                      <a:lnTo>
                        <a:pt x="397" y="563"/>
                      </a:lnTo>
                      <a:lnTo>
                        <a:pt x="397" y="563"/>
                      </a:lnTo>
                      <a:lnTo>
                        <a:pt x="393" y="560"/>
                      </a:lnTo>
                      <a:lnTo>
                        <a:pt x="392" y="554"/>
                      </a:lnTo>
                      <a:lnTo>
                        <a:pt x="390" y="547"/>
                      </a:lnTo>
                      <a:lnTo>
                        <a:pt x="386" y="541"/>
                      </a:lnTo>
                      <a:lnTo>
                        <a:pt x="384" y="536"/>
                      </a:lnTo>
                      <a:lnTo>
                        <a:pt x="379" y="519"/>
                      </a:lnTo>
                      <a:lnTo>
                        <a:pt x="373" y="502"/>
                      </a:lnTo>
                      <a:lnTo>
                        <a:pt x="368" y="502"/>
                      </a:lnTo>
                      <a:lnTo>
                        <a:pt x="362" y="502"/>
                      </a:lnTo>
                      <a:lnTo>
                        <a:pt x="362" y="502"/>
                      </a:lnTo>
                      <a:lnTo>
                        <a:pt x="362" y="501"/>
                      </a:lnTo>
                      <a:lnTo>
                        <a:pt x="362" y="501"/>
                      </a:lnTo>
                      <a:lnTo>
                        <a:pt x="362" y="499"/>
                      </a:lnTo>
                      <a:lnTo>
                        <a:pt x="362" y="499"/>
                      </a:lnTo>
                      <a:lnTo>
                        <a:pt x="362" y="497"/>
                      </a:lnTo>
                      <a:lnTo>
                        <a:pt x="362" y="497"/>
                      </a:lnTo>
                      <a:lnTo>
                        <a:pt x="364" y="495"/>
                      </a:lnTo>
                      <a:lnTo>
                        <a:pt x="364" y="495"/>
                      </a:lnTo>
                      <a:lnTo>
                        <a:pt x="366" y="495"/>
                      </a:lnTo>
                      <a:lnTo>
                        <a:pt x="366" y="495"/>
                      </a:lnTo>
                      <a:lnTo>
                        <a:pt x="368" y="495"/>
                      </a:lnTo>
                      <a:lnTo>
                        <a:pt x="369" y="495"/>
                      </a:lnTo>
                      <a:lnTo>
                        <a:pt x="369" y="495"/>
                      </a:lnTo>
                      <a:lnTo>
                        <a:pt x="373" y="495"/>
                      </a:lnTo>
                      <a:lnTo>
                        <a:pt x="373" y="495"/>
                      </a:lnTo>
                      <a:lnTo>
                        <a:pt x="373" y="493"/>
                      </a:lnTo>
                      <a:lnTo>
                        <a:pt x="371" y="493"/>
                      </a:lnTo>
                      <a:lnTo>
                        <a:pt x="371" y="491"/>
                      </a:lnTo>
                      <a:lnTo>
                        <a:pt x="366" y="489"/>
                      </a:lnTo>
                      <a:lnTo>
                        <a:pt x="355" y="489"/>
                      </a:lnTo>
                      <a:lnTo>
                        <a:pt x="356" y="488"/>
                      </a:lnTo>
                      <a:lnTo>
                        <a:pt x="358" y="484"/>
                      </a:lnTo>
                      <a:lnTo>
                        <a:pt x="358" y="484"/>
                      </a:lnTo>
                      <a:lnTo>
                        <a:pt x="362" y="482"/>
                      </a:lnTo>
                      <a:lnTo>
                        <a:pt x="358" y="480"/>
                      </a:lnTo>
                      <a:lnTo>
                        <a:pt x="355" y="477"/>
                      </a:lnTo>
                      <a:lnTo>
                        <a:pt x="351" y="475"/>
                      </a:lnTo>
                      <a:lnTo>
                        <a:pt x="347" y="471"/>
                      </a:lnTo>
                      <a:lnTo>
                        <a:pt x="347" y="471"/>
                      </a:lnTo>
                      <a:lnTo>
                        <a:pt x="344" y="469"/>
                      </a:lnTo>
                      <a:lnTo>
                        <a:pt x="342" y="465"/>
                      </a:lnTo>
                      <a:lnTo>
                        <a:pt x="338" y="462"/>
                      </a:lnTo>
                      <a:lnTo>
                        <a:pt x="338" y="462"/>
                      </a:lnTo>
                      <a:lnTo>
                        <a:pt x="336" y="458"/>
                      </a:lnTo>
                      <a:lnTo>
                        <a:pt x="334" y="456"/>
                      </a:lnTo>
                      <a:lnTo>
                        <a:pt x="334" y="456"/>
                      </a:lnTo>
                      <a:lnTo>
                        <a:pt x="332" y="453"/>
                      </a:lnTo>
                      <a:lnTo>
                        <a:pt x="332" y="453"/>
                      </a:lnTo>
                      <a:lnTo>
                        <a:pt x="331" y="449"/>
                      </a:lnTo>
                      <a:lnTo>
                        <a:pt x="329" y="443"/>
                      </a:lnTo>
                      <a:lnTo>
                        <a:pt x="325" y="436"/>
                      </a:lnTo>
                      <a:lnTo>
                        <a:pt x="323" y="425"/>
                      </a:lnTo>
                      <a:lnTo>
                        <a:pt x="323" y="425"/>
                      </a:lnTo>
                      <a:lnTo>
                        <a:pt x="327" y="425"/>
                      </a:lnTo>
                      <a:lnTo>
                        <a:pt x="332" y="425"/>
                      </a:lnTo>
                      <a:lnTo>
                        <a:pt x="336" y="425"/>
                      </a:lnTo>
                      <a:lnTo>
                        <a:pt x="340" y="425"/>
                      </a:lnTo>
                      <a:lnTo>
                        <a:pt x="338" y="419"/>
                      </a:lnTo>
                      <a:lnTo>
                        <a:pt x="338" y="419"/>
                      </a:lnTo>
                      <a:lnTo>
                        <a:pt x="336" y="414"/>
                      </a:lnTo>
                      <a:lnTo>
                        <a:pt x="334" y="410"/>
                      </a:lnTo>
                      <a:lnTo>
                        <a:pt x="334" y="410"/>
                      </a:lnTo>
                      <a:lnTo>
                        <a:pt x="334" y="403"/>
                      </a:lnTo>
                      <a:lnTo>
                        <a:pt x="334" y="403"/>
                      </a:lnTo>
                      <a:lnTo>
                        <a:pt x="342" y="405"/>
                      </a:lnTo>
                      <a:lnTo>
                        <a:pt x="349" y="405"/>
                      </a:lnTo>
                      <a:lnTo>
                        <a:pt x="355" y="406"/>
                      </a:lnTo>
                      <a:lnTo>
                        <a:pt x="360" y="408"/>
                      </a:lnTo>
                      <a:lnTo>
                        <a:pt x="358" y="399"/>
                      </a:lnTo>
                      <a:lnTo>
                        <a:pt x="355" y="392"/>
                      </a:lnTo>
                      <a:lnTo>
                        <a:pt x="353" y="384"/>
                      </a:lnTo>
                      <a:lnTo>
                        <a:pt x="353" y="384"/>
                      </a:lnTo>
                      <a:lnTo>
                        <a:pt x="351" y="377"/>
                      </a:lnTo>
                      <a:lnTo>
                        <a:pt x="351" y="377"/>
                      </a:lnTo>
                      <a:lnTo>
                        <a:pt x="351" y="375"/>
                      </a:lnTo>
                      <a:lnTo>
                        <a:pt x="351" y="371"/>
                      </a:lnTo>
                      <a:lnTo>
                        <a:pt x="351" y="371"/>
                      </a:lnTo>
                      <a:lnTo>
                        <a:pt x="351" y="368"/>
                      </a:lnTo>
                      <a:lnTo>
                        <a:pt x="351" y="362"/>
                      </a:lnTo>
                      <a:lnTo>
                        <a:pt x="351" y="362"/>
                      </a:lnTo>
                      <a:lnTo>
                        <a:pt x="351" y="358"/>
                      </a:lnTo>
                      <a:lnTo>
                        <a:pt x="353" y="353"/>
                      </a:lnTo>
                      <a:lnTo>
                        <a:pt x="353" y="353"/>
                      </a:lnTo>
                      <a:lnTo>
                        <a:pt x="353" y="347"/>
                      </a:lnTo>
                      <a:lnTo>
                        <a:pt x="355" y="342"/>
                      </a:lnTo>
                      <a:lnTo>
                        <a:pt x="355" y="340"/>
                      </a:lnTo>
                      <a:lnTo>
                        <a:pt x="353" y="338"/>
                      </a:lnTo>
                      <a:lnTo>
                        <a:pt x="353" y="338"/>
                      </a:lnTo>
                      <a:lnTo>
                        <a:pt x="351" y="333"/>
                      </a:lnTo>
                      <a:lnTo>
                        <a:pt x="349" y="325"/>
                      </a:lnTo>
                      <a:lnTo>
                        <a:pt x="351" y="325"/>
                      </a:lnTo>
                      <a:lnTo>
                        <a:pt x="353" y="327"/>
                      </a:lnTo>
                      <a:lnTo>
                        <a:pt x="355" y="327"/>
                      </a:lnTo>
                      <a:lnTo>
                        <a:pt x="355" y="327"/>
                      </a:lnTo>
                      <a:lnTo>
                        <a:pt x="355" y="327"/>
                      </a:lnTo>
                      <a:lnTo>
                        <a:pt x="356" y="327"/>
                      </a:lnTo>
                      <a:lnTo>
                        <a:pt x="356" y="327"/>
                      </a:lnTo>
                      <a:lnTo>
                        <a:pt x="356" y="331"/>
                      </a:lnTo>
                      <a:lnTo>
                        <a:pt x="356" y="334"/>
                      </a:lnTo>
                      <a:lnTo>
                        <a:pt x="358" y="336"/>
                      </a:lnTo>
                      <a:lnTo>
                        <a:pt x="360" y="336"/>
                      </a:lnTo>
                      <a:lnTo>
                        <a:pt x="362" y="338"/>
                      </a:lnTo>
                      <a:lnTo>
                        <a:pt x="364" y="340"/>
                      </a:lnTo>
                      <a:lnTo>
                        <a:pt x="368" y="342"/>
                      </a:lnTo>
                      <a:lnTo>
                        <a:pt x="368" y="342"/>
                      </a:lnTo>
                      <a:lnTo>
                        <a:pt x="369" y="344"/>
                      </a:lnTo>
                      <a:lnTo>
                        <a:pt x="369" y="344"/>
                      </a:lnTo>
                      <a:lnTo>
                        <a:pt x="371" y="346"/>
                      </a:lnTo>
                      <a:lnTo>
                        <a:pt x="375" y="349"/>
                      </a:lnTo>
                      <a:lnTo>
                        <a:pt x="379" y="353"/>
                      </a:lnTo>
                      <a:lnTo>
                        <a:pt x="382" y="355"/>
                      </a:lnTo>
                      <a:lnTo>
                        <a:pt x="382" y="355"/>
                      </a:lnTo>
                      <a:lnTo>
                        <a:pt x="384" y="357"/>
                      </a:lnTo>
                      <a:lnTo>
                        <a:pt x="388" y="357"/>
                      </a:lnTo>
                      <a:lnTo>
                        <a:pt x="392" y="358"/>
                      </a:lnTo>
                      <a:lnTo>
                        <a:pt x="393" y="358"/>
                      </a:lnTo>
                      <a:lnTo>
                        <a:pt x="393" y="355"/>
                      </a:lnTo>
                      <a:lnTo>
                        <a:pt x="392" y="349"/>
                      </a:lnTo>
                      <a:lnTo>
                        <a:pt x="392" y="346"/>
                      </a:lnTo>
                      <a:lnTo>
                        <a:pt x="390" y="342"/>
                      </a:lnTo>
                      <a:lnTo>
                        <a:pt x="384" y="329"/>
                      </a:lnTo>
                      <a:lnTo>
                        <a:pt x="373" y="309"/>
                      </a:lnTo>
                      <a:lnTo>
                        <a:pt x="373" y="309"/>
                      </a:lnTo>
                      <a:lnTo>
                        <a:pt x="375" y="305"/>
                      </a:lnTo>
                      <a:lnTo>
                        <a:pt x="379" y="301"/>
                      </a:lnTo>
                      <a:lnTo>
                        <a:pt x="380" y="298"/>
                      </a:lnTo>
                      <a:lnTo>
                        <a:pt x="382" y="294"/>
                      </a:lnTo>
                      <a:lnTo>
                        <a:pt x="388" y="283"/>
                      </a:lnTo>
                      <a:lnTo>
                        <a:pt x="392" y="272"/>
                      </a:lnTo>
                      <a:lnTo>
                        <a:pt x="397" y="261"/>
                      </a:lnTo>
                      <a:lnTo>
                        <a:pt x="399" y="250"/>
                      </a:lnTo>
                      <a:lnTo>
                        <a:pt x="399" y="250"/>
                      </a:lnTo>
                      <a:lnTo>
                        <a:pt x="403" y="240"/>
                      </a:lnTo>
                      <a:lnTo>
                        <a:pt x="404" y="231"/>
                      </a:lnTo>
                      <a:lnTo>
                        <a:pt x="403" y="231"/>
                      </a:lnTo>
                      <a:lnTo>
                        <a:pt x="403" y="231"/>
                      </a:lnTo>
                      <a:lnTo>
                        <a:pt x="401" y="229"/>
                      </a:lnTo>
                      <a:lnTo>
                        <a:pt x="401" y="229"/>
                      </a:lnTo>
                      <a:lnTo>
                        <a:pt x="403" y="227"/>
                      </a:lnTo>
                      <a:lnTo>
                        <a:pt x="403" y="227"/>
                      </a:lnTo>
                      <a:lnTo>
                        <a:pt x="404" y="226"/>
                      </a:lnTo>
                      <a:lnTo>
                        <a:pt x="406" y="226"/>
                      </a:lnTo>
                      <a:lnTo>
                        <a:pt x="406" y="227"/>
                      </a:lnTo>
                      <a:lnTo>
                        <a:pt x="408" y="227"/>
                      </a:lnTo>
                      <a:lnTo>
                        <a:pt x="416" y="226"/>
                      </a:lnTo>
                      <a:lnTo>
                        <a:pt x="425" y="224"/>
                      </a:lnTo>
                      <a:lnTo>
                        <a:pt x="425" y="224"/>
                      </a:lnTo>
                      <a:lnTo>
                        <a:pt x="432" y="224"/>
                      </a:lnTo>
                      <a:lnTo>
                        <a:pt x="439" y="222"/>
                      </a:lnTo>
                      <a:lnTo>
                        <a:pt x="447" y="222"/>
                      </a:lnTo>
                      <a:lnTo>
                        <a:pt x="454" y="222"/>
                      </a:lnTo>
                      <a:lnTo>
                        <a:pt x="462" y="222"/>
                      </a:lnTo>
                      <a:lnTo>
                        <a:pt x="469" y="222"/>
                      </a:lnTo>
                      <a:lnTo>
                        <a:pt x="469" y="220"/>
                      </a:lnTo>
                      <a:lnTo>
                        <a:pt x="467" y="218"/>
                      </a:lnTo>
                      <a:lnTo>
                        <a:pt x="467" y="214"/>
                      </a:lnTo>
                      <a:lnTo>
                        <a:pt x="467" y="214"/>
                      </a:lnTo>
                      <a:lnTo>
                        <a:pt x="465" y="211"/>
                      </a:lnTo>
                      <a:lnTo>
                        <a:pt x="463" y="211"/>
                      </a:lnTo>
                      <a:lnTo>
                        <a:pt x="460" y="209"/>
                      </a:lnTo>
                      <a:lnTo>
                        <a:pt x="456" y="209"/>
                      </a:lnTo>
                      <a:lnTo>
                        <a:pt x="454" y="207"/>
                      </a:lnTo>
                      <a:lnTo>
                        <a:pt x="454" y="207"/>
                      </a:lnTo>
                      <a:lnTo>
                        <a:pt x="454" y="202"/>
                      </a:lnTo>
                      <a:lnTo>
                        <a:pt x="454" y="198"/>
                      </a:lnTo>
                      <a:lnTo>
                        <a:pt x="454" y="194"/>
                      </a:lnTo>
                      <a:lnTo>
                        <a:pt x="454" y="191"/>
                      </a:lnTo>
                      <a:lnTo>
                        <a:pt x="451" y="191"/>
                      </a:lnTo>
                      <a:lnTo>
                        <a:pt x="445" y="191"/>
                      </a:lnTo>
                      <a:lnTo>
                        <a:pt x="441" y="191"/>
                      </a:lnTo>
                      <a:lnTo>
                        <a:pt x="438" y="191"/>
                      </a:lnTo>
                      <a:lnTo>
                        <a:pt x="438" y="191"/>
                      </a:lnTo>
                      <a:lnTo>
                        <a:pt x="438" y="189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7"/>
                      </a:lnTo>
                      <a:lnTo>
                        <a:pt x="438" y="185"/>
                      </a:lnTo>
                      <a:lnTo>
                        <a:pt x="438" y="185"/>
                      </a:lnTo>
                      <a:lnTo>
                        <a:pt x="441" y="183"/>
                      </a:lnTo>
                      <a:lnTo>
                        <a:pt x="441" y="183"/>
                      </a:lnTo>
                      <a:lnTo>
                        <a:pt x="445" y="179"/>
                      </a:lnTo>
                      <a:lnTo>
                        <a:pt x="445" y="170"/>
                      </a:lnTo>
                      <a:lnTo>
                        <a:pt x="445" y="163"/>
                      </a:lnTo>
                      <a:lnTo>
                        <a:pt x="443" y="154"/>
                      </a:lnTo>
                      <a:lnTo>
                        <a:pt x="443" y="154"/>
                      </a:lnTo>
                      <a:lnTo>
                        <a:pt x="441" y="146"/>
                      </a:lnTo>
                      <a:lnTo>
                        <a:pt x="441" y="137"/>
                      </a:lnTo>
                      <a:lnTo>
                        <a:pt x="439" y="128"/>
                      </a:lnTo>
                      <a:lnTo>
                        <a:pt x="438" y="117"/>
                      </a:lnTo>
                      <a:lnTo>
                        <a:pt x="438" y="104"/>
                      </a:lnTo>
                      <a:lnTo>
                        <a:pt x="434" y="102"/>
                      </a:lnTo>
                      <a:lnTo>
                        <a:pt x="430" y="102"/>
                      </a:lnTo>
                      <a:lnTo>
                        <a:pt x="425" y="100"/>
                      </a:lnTo>
                      <a:lnTo>
                        <a:pt x="421" y="100"/>
                      </a:lnTo>
                      <a:lnTo>
                        <a:pt x="421" y="98"/>
                      </a:lnTo>
                      <a:lnTo>
                        <a:pt x="421" y="95"/>
                      </a:lnTo>
                      <a:lnTo>
                        <a:pt x="421" y="91"/>
                      </a:lnTo>
                      <a:lnTo>
                        <a:pt x="421" y="87"/>
                      </a:lnTo>
                      <a:lnTo>
                        <a:pt x="419" y="85"/>
                      </a:lnTo>
                      <a:lnTo>
                        <a:pt x="419" y="83"/>
                      </a:lnTo>
                      <a:lnTo>
                        <a:pt x="417" y="83"/>
                      </a:lnTo>
                      <a:lnTo>
                        <a:pt x="417" y="82"/>
                      </a:lnTo>
                      <a:lnTo>
                        <a:pt x="414" y="80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6" y="72"/>
                      </a:lnTo>
                      <a:lnTo>
                        <a:pt x="419" y="71"/>
                      </a:lnTo>
                      <a:lnTo>
                        <a:pt x="419" y="65"/>
                      </a:lnTo>
                      <a:lnTo>
                        <a:pt x="417" y="61"/>
                      </a:lnTo>
                      <a:lnTo>
                        <a:pt x="417" y="61"/>
                      </a:lnTo>
                      <a:lnTo>
                        <a:pt x="417" y="58"/>
                      </a:lnTo>
                      <a:lnTo>
                        <a:pt x="416" y="56"/>
                      </a:lnTo>
                      <a:lnTo>
                        <a:pt x="416" y="52"/>
                      </a:lnTo>
                      <a:lnTo>
                        <a:pt x="412" y="48"/>
                      </a:lnTo>
                      <a:lnTo>
                        <a:pt x="410" y="45"/>
                      </a:lnTo>
                      <a:lnTo>
                        <a:pt x="406" y="41"/>
                      </a:lnTo>
                      <a:lnTo>
                        <a:pt x="406" y="39"/>
                      </a:lnTo>
                      <a:lnTo>
                        <a:pt x="408" y="37"/>
                      </a:lnTo>
                      <a:lnTo>
                        <a:pt x="410" y="35"/>
                      </a:lnTo>
                      <a:lnTo>
                        <a:pt x="410" y="35"/>
                      </a:lnTo>
                      <a:lnTo>
                        <a:pt x="410" y="34"/>
                      </a:lnTo>
                      <a:lnTo>
                        <a:pt x="410" y="32"/>
                      </a:lnTo>
                      <a:lnTo>
                        <a:pt x="410" y="28"/>
                      </a:lnTo>
                      <a:lnTo>
                        <a:pt x="410" y="26"/>
                      </a:lnTo>
                      <a:lnTo>
                        <a:pt x="410" y="23"/>
                      </a:lnTo>
                      <a:lnTo>
                        <a:pt x="408" y="17"/>
                      </a:lnTo>
                      <a:lnTo>
                        <a:pt x="408" y="17"/>
                      </a:lnTo>
                      <a:lnTo>
                        <a:pt x="408" y="13"/>
                      </a:lnTo>
                      <a:lnTo>
                        <a:pt x="408" y="12"/>
                      </a:lnTo>
                      <a:lnTo>
                        <a:pt x="399" y="12"/>
                      </a:lnTo>
                      <a:lnTo>
                        <a:pt x="388" y="12"/>
                      </a:lnTo>
                      <a:lnTo>
                        <a:pt x="377" y="12"/>
                      </a:lnTo>
                      <a:lnTo>
                        <a:pt x="364" y="12"/>
                      </a:lnTo>
                      <a:lnTo>
                        <a:pt x="364" y="12"/>
                      </a:lnTo>
                      <a:lnTo>
                        <a:pt x="364" y="6"/>
                      </a:lnTo>
                      <a:lnTo>
                        <a:pt x="36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8" name="Rectangle 3333"/>
                <p:cNvSpPr>
                  <a:spLocks noChangeArrowheads="1"/>
                </p:cNvSpPr>
                <p:nvPr/>
              </p:nvSpPr>
              <p:spPr bwMode="auto">
                <a:xfrm>
                  <a:off x="4996" y="1048"/>
                  <a:ext cx="4" cy="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19" name="Freeform 3334"/>
                <p:cNvSpPr>
                  <a:spLocks/>
                </p:cNvSpPr>
                <p:nvPr/>
              </p:nvSpPr>
              <p:spPr bwMode="auto">
                <a:xfrm>
                  <a:off x="4996" y="1048"/>
                  <a:ext cx="4" cy="1"/>
                </a:xfrm>
                <a:custGeom>
                  <a:avLst/>
                  <a:gdLst>
                    <a:gd name="T0" fmla="*/ 4 w 4"/>
                    <a:gd name="T1" fmla="*/ 0 w 4"/>
                    <a:gd name="T2" fmla="*/ 0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0" name="Freeform 3335"/>
                <p:cNvSpPr>
                  <a:spLocks/>
                </p:cNvSpPr>
                <p:nvPr/>
              </p:nvSpPr>
              <p:spPr bwMode="auto">
                <a:xfrm>
                  <a:off x="4994" y="1048"/>
                  <a:ext cx="2" cy="1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2 w 2"/>
                    <a:gd name="T4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1" name="Freeform 3336"/>
                <p:cNvSpPr>
                  <a:spLocks/>
                </p:cNvSpPr>
                <p:nvPr/>
              </p:nvSpPr>
              <p:spPr bwMode="auto">
                <a:xfrm>
                  <a:off x="4994" y="1048"/>
                  <a:ext cx="2" cy="1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2 w 2"/>
                    <a:gd name="T4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122" name="Freeform 3337"/>
                <p:cNvSpPr>
                  <a:spLocks/>
                </p:cNvSpPr>
                <p:nvPr/>
              </p:nvSpPr>
              <p:spPr bwMode="auto">
                <a:xfrm>
                  <a:off x="5459" y="1412"/>
                  <a:ext cx="4" cy="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3 h 3"/>
                    <a:gd name="T4" fmla="*/ 4 w 4"/>
                    <a:gd name="T5" fmla="*/ 0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781"/>
                  <a:endParaRPr lang="ru-RU" sz="16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97" name="Freeform 3338"/>
              <p:cNvSpPr>
                <a:spLocks/>
              </p:cNvSpPr>
              <p:nvPr/>
            </p:nvSpPr>
            <p:spPr bwMode="auto">
              <a:xfrm>
                <a:off x="8430542" y="2752953"/>
                <a:ext cx="5916" cy="4537"/>
              </a:xfrm>
              <a:custGeom>
                <a:avLst/>
                <a:gdLst>
                  <a:gd name="T0" fmla="*/ 4 w 4"/>
                  <a:gd name="T1" fmla="*/ 0 h 3"/>
                  <a:gd name="T2" fmla="*/ 0 w 4"/>
                  <a:gd name="T3" fmla="*/ 3 h 3"/>
                  <a:gd name="T4" fmla="*/ 4 w 4"/>
                  <a:gd name="T5" fmla="*/ 0 h 3"/>
                  <a:gd name="T6" fmla="*/ 4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98" name="Freeform 3339"/>
              <p:cNvSpPr>
                <a:spLocks/>
              </p:cNvSpPr>
              <p:nvPr/>
            </p:nvSpPr>
            <p:spPr bwMode="auto">
              <a:xfrm>
                <a:off x="8319620" y="2523096"/>
                <a:ext cx="39932" cy="107367"/>
              </a:xfrm>
              <a:custGeom>
                <a:avLst/>
                <a:gdLst>
                  <a:gd name="T0" fmla="*/ 3 w 27"/>
                  <a:gd name="T1" fmla="*/ 0 h 71"/>
                  <a:gd name="T2" fmla="*/ 3 w 27"/>
                  <a:gd name="T3" fmla="*/ 10 h 71"/>
                  <a:gd name="T4" fmla="*/ 1 w 27"/>
                  <a:gd name="T5" fmla="*/ 17 h 71"/>
                  <a:gd name="T6" fmla="*/ 1 w 27"/>
                  <a:gd name="T7" fmla="*/ 26 h 71"/>
                  <a:gd name="T8" fmla="*/ 0 w 27"/>
                  <a:gd name="T9" fmla="*/ 34 h 71"/>
                  <a:gd name="T10" fmla="*/ 3 w 27"/>
                  <a:gd name="T11" fmla="*/ 37 h 71"/>
                  <a:gd name="T12" fmla="*/ 7 w 27"/>
                  <a:gd name="T13" fmla="*/ 41 h 71"/>
                  <a:gd name="T14" fmla="*/ 7 w 27"/>
                  <a:gd name="T15" fmla="*/ 41 h 71"/>
                  <a:gd name="T16" fmla="*/ 11 w 27"/>
                  <a:gd name="T17" fmla="*/ 47 h 71"/>
                  <a:gd name="T18" fmla="*/ 11 w 27"/>
                  <a:gd name="T19" fmla="*/ 47 h 71"/>
                  <a:gd name="T20" fmla="*/ 12 w 27"/>
                  <a:gd name="T21" fmla="*/ 50 h 71"/>
                  <a:gd name="T22" fmla="*/ 16 w 27"/>
                  <a:gd name="T23" fmla="*/ 60 h 71"/>
                  <a:gd name="T24" fmla="*/ 20 w 27"/>
                  <a:gd name="T25" fmla="*/ 71 h 71"/>
                  <a:gd name="T26" fmla="*/ 24 w 27"/>
                  <a:gd name="T27" fmla="*/ 69 h 71"/>
                  <a:gd name="T28" fmla="*/ 27 w 27"/>
                  <a:gd name="T29" fmla="*/ 67 h 71"/>
                  <a:gd name="T30" fmla="*/ 27 w 27"/>
                  <a:gd name="T31" fmla="*/ 52 h 71"/>
                  <a:gd name="T32" fmla="*/ 27 w 27"/>
                  <a:gd name="T33" fmla="*/ 37 h 71"/>
                  <a:gd name="T34" fmla="*/ 25 w 27"/>
                  <a:gd name="T35" fmla="*/ 24 h 71"/>
                  <a:gd name="T36" fmla="*/ 25 w 27"/>
                  <a:gd name="T37" fmla="*/ 10 h 71"/>
                  <a:gd name="T38" fmla="*/ 20 w 27"/>
                  <a:gd name="T39" fmla="*/ 8 h 71"/>
                  <a:gd name="T40" fmla="*/ 14 w 27"/>
                  <a:gd name="T41" fmla="*/ 6 h 71"/>
                  <a:gd name="T42" fmla="*/ 9 w 27"/>
                  <a:gd name="T43" fmla="*/ 4 h 71"/>
                  <a:gd name="T44" fmla="*/ 3 w 27"/>
                  <a:gd name="T4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71">
                    <a:moveTo>
                      <a:pt x="3" y="0"/>
                    </a:moveTo>
                    <a:lnTo>
                      <a:pt x="3" y="10"/>
                    </a:lnTo>
                    <a:lnTo>
                      <a:pt x="1" y="17"/>
                    </a:lnTo>
                    <a:lnTo>
                      <a:pt x="1" y="26"/>
                    </a:lnTo>
                    <a:lnTo>
                      <a:pt x="0" y="34"/>
                    </a:lnTo>
                    <a:lnTo>
                      <a:pt x="3" y="37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12" y="50"/>
                    </a:lnTo>
                    <a:lnTo>
                      <a:pt x="16" y="60"/>
                    </a:lnTo>
                    <a:lnTo>
                      <a:pt x="20" y="71"/>
                    </a:lnTo>
                    <a:lnTo>
                      <a:pt x="24" y="69"/>
                    </a:lnTo>
                    <a:lnTo>
                      <a:pt x="27" y="67"/>
                    </a:lnTo>
                    <a:lnTo>
                      <a:pt x="27" y="52"/>
                    </a:lnTo>
                    <a:lnTo>
                      <a:pt x="27" y="37"/>
                    </a:lnTo>
                    <a:lnTo>
                      <a:pt x="25" y="24"/>
                    </a:lnTo>
                    <a:lnTo>
                      <a:pt x="25" y="10"/>
                    </a:lnTo>
                    <a:lnTo>
                      <a:pt x="20" y="8"/>
                    </a:lnTo>
                    <a:lnTo>
                      <a:pt x="14" y="6"/>
                    </a:lnTo>
                    <a:lnTo>
                      <a:pt x="9" y="4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99" name="Freeform 3340"/>
              <p:cNvSpPr>
                <a:spLocks/>
              </p:cNvSpPr>
              <p:nvPr/>
            </p:nvSpPr>
            <p:spPr bwMode="auto">
              <a:xfrm>
                <a:off x="8319620" y="2523096"/>
                <a:ext cx="39932" cy="107367"/>
              </a:xfrm>
              <a:custGeom>
                <a:avLst/>
                <a:gdLst>
                  <a:gd name="T0" fmla="*/ 3 w 27"/>
                  <a:gd name="T1" fmla="*/ 0 h 71"/>
                  <a:gd name="T2" fmla="*/ 3 w 27"/>
                  <a:gd name="T3" fmla="*/ 10 h 71"/>
                  <a:gd name="T4" fmla="*/ 1 w 27"/>
                  <a:gd name="T5" fmla="*/ 17 h 71"/>
                  <a:gd name="T6" fmla="*/ 1 w 27"/>
                  <a:gd name="T7" fmla="*/ 26 h 71"/>
                  <a:gd name="T8" fmla="*/ 0 w 27"/>
                  <a:gd name="T9" fmla="*/ 34 h 71"/>
                  <a:gd name="T10" fmla="*/ 3 w 27"/>
                  <a:gd name="T11" fmla="*/ 37 h 71"/>
                  <a:gd name="T12" fmla="*/ 7 w 27"/>
                  <a:gd name="T13" fmla="*/ 41 h 71"/>
                  <a:gd name="T14" fmla="*/ 7 w 27"/>
                  <a:gd name="T15" fmla="*/ 41 h 71"/>
                  <a:gd name="T16" fmla="*/ 11 w 27"/>
                  <a:gd name="T17" fmla="*/ 47 h 71"/>
                  <a:gd name="T18" fmla="*/ 11 w 27"/>
                  <a:gd name="T19" fmla="*/ 47 h 71"/>
                  <a:gd name="T20" fmla="*/ 12 w 27"/>
                  <a:gd name="T21" fmla="*/ 50 h 71"/>
                  <a:gd name="T22" fmla="*/ 16 w 27"/>
                  <a:gd name="T23" fmla="*/ 60 h 71"/>
                  <a:gd name="T24" fmla="*/ 20 w 27"/>
                  <a:gd name="T25" fmla="*/ 71 h 71"/>
                  <a:gd name="T26" fmla="*/ 24 w 27"/>
                  <a:gd name="T27" fmla="*/ 69 h 71"/>
                  <a:gd name="T28" fmla="*/ 27 w 27"/>
                  <a:gd name="T29" fmla="*/ 67 h 71"/>
                  <a:gd name="T30" fmla="*/ 27 w 27"/>
                  <a:gd name="T31" fmla="*/ 52 h 71"/>
                  <a:gd name="T32" fmla="*/ 27 w 27"/>
                  <a:gd name="T33" fmla="*/ 37 h 71"/>
                  <a:gd name="T34" fmla="*/ 25 w 27"/>
                  <a:gd name="T35" fmla="*/ 24 h 71"/>
                  <a:gd name="T36" fmla="*/ 25 w 27"/>
                  <a:gd name="T37" fmla="*/ 10 h 71"/>
                  <a:gd name="T38" fmla="*/ 20 w 27"/>
                  <a:gd name="T39" fmla="*/ 8 h 71"/>
                  <a:gd name="T40" fmla="*/ 14 w 27"/>
                  <a:gd name="T41" fmla="*/ 6 h 71"/>
                  <a:gd name="T42" fmla="*/ 9 w 27"/>
                  <a:gd name="T43" fmla="*/ 4 h 71"/>
                  <a:gd name="T44" fmla="*/ 3 w 27"/>
                  <a:gd name="T4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71">
                    <a:moveTo>
                      <a:pt x="3" y="0"/>
                    </a:moveTo>
                    <a:lnTo>
                      <a:pt x="3" y="10"/>
                    </a:lnTo>
                    <a:lnTo>
                      <a:pt x="1" y="17"/>
                    </a:lnTo>
                    <a:lnTo>
                      <a:pt x="1" y="26"/>
                    </a:lnTo>
                    <a:lnTo>
                      <a:pt x="0" y="34"/>
                    </a:lnTo>
                    <a:lnTo>
                      <a:pt x="3" y="37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12" y="50"/>
                    </a:lnTo>
                    <a:lnTo>
                      <a:pt x="16" y="60"/>
                    </a:lnTo>
                    <a:lnTo>
                      <a:pt x="20" y="71"/>
                    </a:lnTo>
                    <a:lnTo>
                      <a:pt x="24" y="69"/>
                    </a:lnTo>
                    <a:lnTo>
                      <a:pt x="27" y="67"/>
                    </a:lnTo>
                    <a:lnTo>
                      <a:pt x="27" y="52"/>
                    </a:lnTo>
                    <a:lnTo>
                      <a:pt x="27" y="37"/>
                    </a:lnTo>
                    <a:lnTo>
                      <a:pt x="25" y="24"/>
                    </a:lnTo>
                    <a:lnTo>
                      <a:pt x="25" y="10"/>
                    </a:lnTo>
                    <a:lnTo>
                      <a:pt x="20" y="8"/>
                    </a:lnTo>
                    <a:lnTo>
                      <a:pt x="14" y="6"/>
                    </a:lnTo>
                    <a:lnTo>
                      <a:pt x="9" y="4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0" name="Freeform 3341"/>
              <p:cNvSpPr>
                <a:spLocks noEditPoints="1"/>
              </p:cNvSpPr>
              <p:nvPr/>
            </p:nvSpPr>
            <p:spPr bwMode="auto">
              <a:xfrm>
                <a:off x="7748736" y="1881917"/>
                <a:ext cx="690680" cy="1345872"/>
              </a:xfrm>
              <a:custGeom>
                <a:avLst/>
                <a:gdLst>
                  <a:gd name="T0" fmla="*/ 159 w 467"/>
                  <a:gd name="T1" fmla="*/ 317 h 890"/>
                  <a:gd name="T2" fmla="*/ 181 w 467"/>
                  <a:gd name="T3" fmla="*/ 349 h 890"/>
                  <a:gd name="T4" fmla="*/ 192 w 467"/>
                  <a:gd name="T5" fmla="*/ 367 h 890"/>
                  <a:gd name="T6" fmla="*/ 179 w 467"/>
                  <a:gd name="T7" fmla="*/ 380 h 890"/>
                  <a:gd name="T8" fmla="*/ 147 w 467"/>
                  <a:gd name="T9" fmla="*/ 338 h 890"/>
                  <a:gd name="T10" fmla="*/ 99 w 467"/>
                  <a:gd name="T11" fmla="*/ 321 h 890"/>
                  <a:gd name="T12" fmla="*/ 147 w 467"/>
                  <a:gd name="T13" fmla="*/ 358 h 890"/>
                  <a:gd name="T14" fmla="*/ 181 w 467"/>
                  <a:gd name="T15" fmla="*/ 380 h 890"/>
                  <a:gd name="T16" fmla="*/ 195 w 467"/>
                  <a:gd name="T17" fmla="*/ 371 h 890"/>
                  <a:gd name="T18" fmla="*/ 171 w 467"/>
                  <a:gd name="T19" fmla="*/ 341 h 890"/>
                  <a:gd name="T20" fmla="*/ 168 w 467"/>
                  <a:gd name="T21" fmla="*/ 269 h 890"/>
                  <a:gd name="T22" fmla="*/ 179 w 467"/>
                  <a:gd name="T23" fmla="*/ 306 h 890"/>
                  <a:gd name="T24" fmla="*/ 236 w 467"/>
                  <a:gd name="T25" fmla="*/ 347 h 890"/>
                  <a:gd name="T26" fmla="*/ 258 w 467"/>
                  <a:gd name="T27" fmla="*/ 397 h 890"/>
                  <a:gd name="T28" fmla="*/ 297 w 467"/>
                  <a:gd name="T29" fmla="*/ 615 h 890"/>
                  <a:gd name="T30" fmla="*/ 304 w 467"/>
                  <a:gd name="T31" fmla="*/ 698 h 890"/>
                  <a:gd name="T32" fmla="*/ 293 w 467"/>
                  <a:gd name="T33" fmla="*/ 736 h 890"/>
                  <a:gd name="T34" fmla="*/ 314 w 467"/>
                  <a:gd name="T35" fmla="*/ 773 h 890"/>
                  <a:gd name="T36" fmla="*/ 336 w 467"/>
                  <a:gd name="T37" fmla="*/ 858 h 890"/>
                  <a:gd name="T38" fmla="*/ 363 w 467"/>
                  <a:gd name="T39" fmla="*/ 888 h 890"/>
                  <a:gd name="T40" fmla="*/ 345 w 467"/>
                  <a:gd name="T41" fmla="*/ 871 h 890"/>
                  <a:gd name="T42" fmla="*/ 323 w 467"/>
                  <a:gd name="T43" fmla="*/ 790 h 890"/>
                  <a:gd name="T44" fmla="*/ 288 w 467"/>
                  <a:gd name="T45" fmla="*/ 753 h 890"/>
                  <a:gd name="T46" fmla="*/ 299 w 467"/>
                  <a:gd name="T47" fmla="*/ 725 h 890"/>
                  <a:gd name="T48" fmla="*/ 308 w 467"/>
                  <a:gd name="T49" fmla="*/ 692 h 890"/>
                  <a:gd name="T50" fmla="*/ 291 w 467"/>
                  <a:gd name="T51" fmla="*/ 600 h 890"/>
                  <a:gd name="T52" fmla="*/ 264 w 467"/>
                  <a:gd name="T53" fmla="*/ 393 h 890"/>
                  <a:gd name="T54" fmla="*/ 225 w 467"/>
                  <a:gd name="T55" fmla="*/ 341 h 890"/>
                  <a:gd name="T56" fmla="*/ 194 w 467"/>
                  <a:gd name="T57" fmla="*/ 312 h 890"/>
                  <a:gd name="T58" fmla="*/ 0 w 467"/>
                  <a:gd name="T59" fmla="*/ 214 h 890"/>
                  <a:gd name="T60" fmla="*/ 404 w 467"/>
                  <a:gd name="T61" fmla="*/ 0 h 890"/>
                  <a:gd name="T62" fmla="*/ 410 w 467"/>
                  <a:gd name="T63" fmla="*/ 39 h 890"/>
                  <a:gd name="T64" fmla="*/ 415 w 467"/>
                  <a:gd name="T65" fmla="*/ 78 h 890"/>
                  <a:gd name="T66" fmla="*/ 435 w 467"/>
                  <a:gd name="T67" fmla="*/ 166 h 890"/>
                  <a:gd name="T68" fmla="*/ 448 w 467"/>
                  <a:gd name="T69" fmla="*/ 181 h 890"/>
                  <a:gd name="T70" fmla="*/ 433 w 467"/>
                  <a:gd name="T71" fmla="*/ 205 h 890"/>
                  <a:gd name="T72" fmla="*/ 397 w 467"/>
                  <a:gd name="T73" fmla="*/ 223 h 890"/>
                  <a:gd name="T74" fmla="*/ 387 w 467"/>
                  <a:gd name="T75" fmla="*/ 338 h 890"/>
                  <a:gd name="T76" fmla="*/ 354 w 467"/>
                  <a:gd name="T77" fmla="*/ 319 h 890"/>
                  <a:gd name="T78" fmla="*/ 349 w 467"/>
                  <a:gd name="T79" fmla="*/ 325 h 890"/>
                  <a:gd name="T80" fmla="*/ 352 w 467"/>
                  <a:gd name="T81" fmla="*/ 382 h 890"/>
                  <a:gd name="T82" fmla="*/ 317 w 467"/>
                  <a:gd name="T83" fmla="*/ 408 h 890"/>
                  <a:gd name="T84" fmla="*/ 345 w 467"/>
                  <a:gd name="T85" fmla="*/ 458 h 890"/>
                  <a:gd name="T86" fmla="*/ 362 w 467"/>
                  <a:gd name="T87" fmla="*/ 478 h 890"/>
                  <a:gd name="T88" fmla="*/ 378 w 467"/>
                  <a:gd name="T89" fmla="*/ 519 h 890"/>
                  <a:gd name="T90" fmla="*/ 435 w 467"/>
                  <a:gd name="T91" fmla="*/ 570 h 890"/>
                  <a:gd name="T92" fmla="*/ 445 w 467"/>
                  <a:gd name="T93" fmla="*/ 546 h 890"/>
                  <a:gd name="T94" fmla="*/ 465 w 467"/>
                  <a:gd name="T95" fmla="*/ 565 h 890"/>
                  <a:gd name="T96" fmla="*/ 435 w 467"/>
                  <a:gd name="T97" fmla="*/ 552 h 890"/>
                  <a:gd name="T98" fmla="*/ 397 w 467"/>
                  <a:gd name="T99" fmla="*/ 550 h 890"/>
                  <a:gd name="T100" fmla="*/ 362 w 467"/>
                  <a:gd name="T101" fmla="*/ 480 h 890"/>
                  <a:gd name="T102" fmla="*/ 356 w 467"/>
                  <a:gd name="T103" fmla="*/ 465 h 890"/>
                  <a:gd name="T104" fmla="*/ 319 w 467"/>
                  <a:gd name="T105" fmla="*/ 410 h 890"/>
                  <a:gd name="T106" fmla="*/ 354 w 467"/>
                  <a:gd name="T107" fmla="*/ 382 h 890"/>
                  <a:gd name="T108" fmla="*/ 345 w 467"/>
                  <a:gd name="T109" fmla="*/ 310 h 890"/>
                  <a:gd name="T110" fmla="*/ 365 w 467"/>
                  <a:gd name="T111" fmla="*/ 330 h 890"/>
                  <a:gd name="T112" fmla="*/ 384 w 467"/>
                  <a:gd name="T113" fmla="*/ 323 h 890"/>
                  <a:gd name="T114" fmla="*/ 398 w 467"/>
                  <a:gd name="T115" fmla="*/ 210 h 890"/>
                  <a:gd name="T116" fmla="*/ 463 w 467"/>
                  <a:gd name="T117" fmla="*/ 199 h 890"/>
                  <a:gd name="T118" fmla="*/ 435 w 467"/>
                  <a:gd name="T119" fmla="*/ 174 h 890"/>
                  <a:gd name="T120" fmla="*/ 432 w 467"/>
                  <a:gd name="T121" fmla="*/ 85 h 890"/>
                  <a:gd name="T122" fmla="*/ 408 w 467"/>
                  <a:gd name="T123" fmla="*/ 59 h 890"/>
                  <a:gd name="T124" fmla="*/ 404 w 467"/>
                  <a:gd name="T125" fmla="*/ 20 h 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67" h="890">
                    <a:moveTo>
                      <a:pt x="181" y="382"/>
                    </a:moveTo>
                    <a:lnTo>
                      <a:pt x="181" y="382"/>
                    </a:lnTo>
                    <a:lnTo>
                      <a:pt x="181" y="384"/>
                    </a:lnTo>
                    <a:lnTo>
                      <a:pt x="181" y="382"/>
                    </a:lnTo>
                    <a:close/>
                    <a:moveTo>
                      <a:pt x="186" y="262"/>
                    </a:moveTo>
                    <a:lnTo>
                      <a:pt x="181" y="264"/>
                    </a:lnTo>
                    <a:lnTo>
                      <a:pt x="173" y="266"/>
                    </a:lnTo>
                    <a:lnTo>
                      <a:pt x="168" y="269"/>
                    </a:lnTo>
                    <a:lnTo>
                      <a:pt x="162" y="271"/>
                    </a:lnTo>
                    <a:lnTo>
                      <a:pt x="160" y="271"/>
                    </a:lnTo>
                    <a:lnTo>
                      <a:pt x="157" y="282"/>
                    </a:lnTo>
                    <a:lnTo>
                      <a:pt x="153" y="293"/>
                    </a:lnTo>
                    <a:lnTo>
                      <a:pt x="149" y="305"/>
                    </a:lnTo>
                    <a:lnTo>
                      <a:pt x="146" y="317"/>
                    </a:lnTo>
                    <a:lnTo>
                      <a:pt x="153" y="317"/>
                    </a:lnTo>
                    <a:lnTo>
                      <a:pt x="159" y="317"/>
                    </a:lnTo>
                    <a:lnTo>
                      <a:pt x="159" y="321"/>
                    </a:lnTo>
                    <a:lnTo>
                      <a:pt x="160" y="325"/>
                    </a:lnTo>
                    <a:lnTo>
                      <a:pt x="160" y="329"/>
                    </a:lnTo>
                    <a:lnTo>
                      <a:pt x="162" y="332"/>
                    </a:lnTo>
                    <a:lnTo>
                      <a:pt x="162" y="332"/>
                    </a:lnTo>
                    <a:lnTo>
                      <a:pt x="164" y="336"/>
                    </a:lnTo>
                    <a:lnTo>
                      <a:pt x="166" y="338"/>
                    </a:lnTo>
                    <a:lnTo>
                      <a:pt x="168" y="340"/>
                    </a:lnTo>
                    <a:lnTo>
                      <a:pt x="168" y="341"/>
                    </a:lnTo>
                    <a:lnTo>
                      <a:pt x="170" y="343"/>
                    </a:lnTo>
                    <a:lnTo>
                      <a:pt x="173" y="345"/>
                    </a:lnTo>
                    <a:lnTo>
                      <a:pt x="173" y="345"/>
                    </a:lnTo>
                    <a:lnTo>
                      <a:pt x="175" y="347"/>
                    </a:lnTo>
                    <a:lnTo>
                      <a:pt x="175" y="347"/>
                    </a:lnTo>
                    <a:lnTo>
                      <a:pt x="179" y="349"/>
                    </a:lnTo>
                    <a:lnTo>
                      <a:pt x="181" y="349"/>
                    </a:lnTo>
                    <a:lnTo>
                      <a:pt x="183" y="349"/>
                    </a:lnTo>
                    <a:lnTo>
                      <a:pt x="186" y="351"/>
                    </a:lnTo>
                    <a:lnTo>
                      <a:pt x="186" y="351"/>
                    </a:lnTo>
                    <a:lnTo>
                      <a:pt x="190" y="351"/>
                    </a:lnTo>
                    <a:lnTo>
                      <a:pt x="190" y="351"/>
                    </a:lnTo>
                    <a:lnTo>
                      <a:pt x="194" y="351"/>
                    </a:lnTo>
                    <a:lnTo>
                      <a:pt x="197" y="351"/>
                    </a:lnTo>
                    <a:lnTo>
                      <a:pt x="197" y="354"/>
                    </a:lnTo>
                    <a:lnTo>
                      <a:pt x="199" y="358"/>
                    </a:lnTo>
                    <a:lnTo>
                      <a:pt x="199" y="362"/>
                    </a:lnTo>
                    <a:lnTo>
                      <a:pt x="199" y="365"/>
                    </a:lnTo>
                    <a:lnTo>
                      <a:pt x="197" y="367"/>
                    </a:lnTo>
                    <a:lnTo>
                      <a:pt x="197" y="367"/>
                    </a:lnTo>
                    <a:lnTo>
                      <a:pt x="194" y="369"/>
                    </a:lnTo>
                    <a:lnTo>
                      <a:pt x="194" y="369"/>
                    </a:lnTo>
                    <a:lnTo>
                      <a:pt x="192" y="367"/>
                    </a:lnTo>
                    <a:lnTo>
                      <a:pt x="192" y="367"/>
                    </a:lnTo>
                    <a:lnTo>
                      <a:pt x="190" y="369"/>
                    </a:lnTo>
                    <a:lnTo>
                      <a:pt x="190" y="369"/>
                    </a:lnTo>
                    <a:lnTo>
                      <a:pt x="188" y="371"/>
                    </a:lnTo>
                    <a:lnTo>
                      <a:pt x="188" y="371"/>
                    </a:lnTo>
                    <a:lnTo>
                      <a:pt x="190" y="373"/>
                    </a:lnTo>
                    <a:lnTo>
                      <a:pt x="190" y="373"/>
                    </a:lnTo>
                    <a:lnTo>
                      <a:pt x="188" y="377"/>
                    </a:lnTo>
                    <a:lnTo>
                      <a:pt x="186" y="380"/>
                    </a:lnTo>
                    <a:lnTo>
                      <a:pt x="184" y="380"/>
                    </a:lnTo>
                    <a:lnTo>
                      <a:pt x="184" y="380"/>
                    </a:lnTo>
                    <a:lnTo>
                      <a:pt x="183" y="378"/>
                    </a:lnTo>
                    <a:lnTo>
                      <a:pt x="181" y="378"/>
                    </a:lnTo>
                    <a:lnTo>
                      <a:pt x="181" y="380"/>
                    </a:lnTo>
                    <a:lnTo>
                      <a:pt x="181" y="380"/>
                    </a:lnTo>
                    <a:lnTo>
                      <a:pt x="179" y="380"/>
                    </a:lnTo>
                    <a:lnTo>
                      <a:pt x="175" y="378"/>
                    </a:lnTo>
                    <a:lnTo>
                      <a:pt x="171" y="377"/>
                    </a:lnTo>
                    <a:lnTo>
                      <a:pt x="166" y="373"/>
                    </a:lnTo>
                    <a:lnTo>
                      <a:pt x="162" y="371"/>
                    </a:lnTo>
                    <a:lnTo>
                      <a:pt x="162" y="365"/>
                    </a:lnTo>
                    <a:lnTo>
                      <a:pt x="162" y="360"/>
                    </a:lnTo>
                    <a:lnTo>
                      <a:pt x="162" y="360"/>
                    </a:lnTo>
                    <a:lnTo>
                      <a:pt x="155" y="360"/>
                    </a:lnTo>
                    <a:lnTo>
                      <a:pt x="151" y="360"/>
                    </a:lnTo>
                    <a:lnTo>
                      <a:pt x="149" y="358"/>
                    </a:lnTo>
                    <a:lnTo>
                      <a:pt x="147" y="356"/>
                    </a:lnTo>
                    <a:lnTo>
                      <a:pt x="147" y="353"/>
                    </a:lnTo>
                    <a:lnTo>
                      <a:pt x="147" y="349"/>
                    </a:lnTo>
                    <a:lnTo>
                      <a:pt x="147" y="343"/>
                    </a:lnTo>
                    <a:lnTo>
                      <a:pt x="147" y="338"/>
                    </a:lnTo>
                    <a:lnTo>
                      <a:pt x="147" y="338"/>
                    </a:lnTo>
                    <a:lnTo>
                      <a:pt x="142" y="336"/>
                    </a:lnTo>
                    <a:lnTo>
                      <a:pt x="136" y="334"/>
                    </a:lnTo>
                    <a:lnTo>
                      <a:pt x="131" y="334"/>
                    </a:lnTo>
                    <a:lnTo>
                      <a:pt x="125" y="332"/>
                    </a:lnTo>
                    <a:lnTo>
                      <a:pt x="125" y="327"/>
                    </a:lnTo>
                    <a:lnTo>
                      <a:pt x="125" y="321"/>
                    </a:lnTo>
                    <a:lnTo>
                      <a:pt x="125" y="321"/>
                    </a:lnTo>
                    <a:lnTo>
                      <a:pt x="116" y="321"/>
                    </a:lnTo>
                    <a:lnTo>
                      <a:pt x="109" y="321"/>
                    </a:lnTo>
                    <a:lnTo>
                      <a:pt x="99" y="321"/>
                    </a:lnTo>
                    <a:lnTo>
                      <a:pt x="92" y="323"/>
                    </a:lnTo>
                    <a:lnTo>
                      <a:pt x="88" y="319"/>
                    </a:lnTo>
                    <a:lnTo>
                      <a:pt x="88" y="317"/>
                    </a:lnTo>
                    <a:lnTo>
                      <a:pt x="88" y="319"/>
                    </a:lnTo>
                    <a:lnTo>
                      <a:pt x="92" y="323"/>
                    </a:lnTo>
                    <a:lnTo>
                      <a:pt x="99" y="321"/>
                    </a:lnTo>
                    <a:lnTo>
                      <a:pt x="109" y="321"/>
                    </a:lnTo>
                    <a:lnTo>
                      <a:pt x="116" y="321"/>
                    </a:lnTo>
                    <a:lnTo>
                      <a:pt x="125" y="321"/>
                    </a:lnTo>
                    <a:lnTo>
                      <a:pt x="125" y="321"/>
                    </a:lnTo>
                    <a:lnTo>
                      <a:pt x="125" y="327"/>
                    </a:lnTo>
                    <a:lnTo>
                      <a:pt x="125" y="332"/>
                    </a:lnTo>
                    <a:lnTo>
                      <a:pt x="131" y="334"/>
                    </a:lnTo>
                    <a:lnTo>
                      <a:pt x="136" y="334"/>
                    </a:lnTo>
                    <a:lnTo>
                      <a:pt x="142" y="336"/>
                    </a:lnTo>
                    <a:lnTo>
                      <a:pt x="147" y="338"/>
                    </a:lnTo>
                    <a:lnTo>
                      <a:pt x="147" y="338"/>
                    </a:lnTo>
                    <a:lnTo>
                      <a:pt x="147" y="343"/>
                    </a:lnTo>
                    <a:lnTo>
                      <a:pt x="147" y="349"/>
                    </a:lnTo>
                    <a:lnTo>
                      <a:pt x="147" y="353"/>
                    </a:lnTo>
                    <a:lnTo>
                      <a:pt x="147" y="358"/>
                    </a:lnTo>
                    <a:lnTo>
                      <a:pt x="147" y="358"/>
                    </a:lnTo>
                    <a:lnTo>
                      <a:pt x="147" y="358"/>
                    </a:lnTo>
                    <a:lnTo>
                      <a:pt x="147" y="360"/>
                    </a:lnTo>
                    <a:lnTo>
                      <a:pt x="149" y="360"/>
                    </a:lnTo>
                    <a:lnTo>
                      <a:pt x="149" y="360"/>
                    </a:lnTo>
                    <a:lnTo>
                      <a:pt x="149" y="360"/>
                    </a:lnTo>
                    <a:lnTo>
                      <a:pt x="155" y="360"/>
                    </a:lnTo>
                    <a:lnTo>
                      <a:pt x="162" y="360"/>
                    </a:lnTo>
                    <a:lnTo>
                      <a:pt x="162" y="360"/>
                    </a:lnTo>
                    <a:lnTo>
                      <a:pt x="162" y="365"/>
                    </a:lnTo>
                    <a:lnTo>
                      <a:pt x="162" y="371"/>
                    </a:lnTo>
                    <a:lnTo>
                      <a:pt x="166" y="373"/>
                    </a:lnTo>
                    <a:lnTo>
                      <a:pt x="171" y="377"/>
                    </a:lnTo>
                    <a:lnTo>
                      <a:pt x="175" y="378"/>
                    </a:lnTo>
                    <a:lnTo>
                      <a:pt x="181" y="382"/>
                    </a:lnTo>
                    <a:lnTo>
                      <a:pt x="181" y="382"/>
                    </a:lnTo>
                    <a:lnTo>
                      <a:pt x="181" y="380"/>
                    </a:lnTo>
                    <a:lnTo>
                      <a:pt x="183" y="380"/>
                    </a:lnTo>
                    <a:lnTo>
                      <a:pt x="183" y="380"/>
                    </a:lnTo>
                    <a:lnTo>
                      <a:pt x="184" y="382"/>
                    </a:lnTo>
                    <a:lnTo>
                      <a:pt x="186" y="382"/>
                    </a:lnTo>
                    <a:lnTo>
                      <a:pt x="186" y="382"/>
                    </a:lnTo>
                    <a:lnTo>
                      <a:pt x="190" y="378"/>
                    </a:lnTo>
                    <a:lnTo>
                      <a:pt x="192" y="375"/>
                    </a:lnTo>
                    <a:lnTo>
                      <a:pt x="192" y="373"/>
                    </a:lnTo>
                    <a:lnTo>
                      <a:pt x="190" y="371"/>
                    </a:lnTo>
                    <a:lnTo>
                      <a:pt x="190" y="371"/>
                    </a:lnTo>
                    <a:lnTo>
                      <a:pt x="190" y="369"/>
                    </a:lnTo>
                    <a:lnTo>
                      <a:pt x="192" y="369"/>
                    </a:lnTo>
                    <a:lnTo>
                      <a:pt x="192" y="369"/>
                    </a:lnTo>
                    <a:lnTo>
                      <a:pt x="194" y="371"/>
                    </a:lnTo>
                    <a:lnTo>
                      <a:pt x="194" y="373"/>
                    </a:lnTo>
                    <a:lnTo>
                      <a:pt x="195" y="371"/>
                    </a:lnTo>
                    <a:lnTo>
                      <a:pt x="197" y="369"/>
                    </a:lnTo>
                    <a:lnTo>
                      <a:pt x="201" y="367"/>
                    </a:lnTo>
                    <a:lnTo>
                      <a:pt x="201" y="367"/>
                    </a:lnTo>
                    <a:lnTo>
                      <a:pt x="201" y="362"/>
                    </a:lnTo>
                    <a:lnTo>
                      <a:pt x="199" y="358"/>
                    </a:lnTo>
                    <a:lnTo>
                      <a:pt x="199" y="354"/>
                    </a:lnTo>
                    <a:lnTo>
                      <a:pt x="199" y="351"/>
                    </a:lnTo>
                    <a:lnTo>
                      <a:pt x="199" y="349"/>
                    </a:lnTo>
                    <a:lnTo>
                      <a:pt x="194" y="349"/>
                    </a:lnTo>
                    <a:lnTo>
                      <a:pt x="190" y="349"/>
                    </a:lnTo>
                    <a:lnTo>
                      <a:pt x="186" y="349"/>
                    </a:lnTo>
                    <a:lnTo>
                      <a:pt x="183" y="349"/>
                    </a:lnTo>
                    <a:lnTo>
                      <a:pt x="179" y="347"/>
                    </a:lnTo>
                    <a:lnTo>
                      <a:pt x="175" y="345"/>
                    </a:lnTo>
                    <a:lnTo>
                      <a:pt x="173" y="343"/>
                    </a:lnTo>
                    <a:lnTo>
                      <a:pt x="171" y="341"/>
                    </a:lnTo>
                    <a:lnTo>
                      <a:pt x="170" y="340"/>
                    </a:lnTo>
                    <a:lnTo>
                      <a:pt x="168" y="338"/>
                    </a:lnTo>
                    <a:lnTo>
                      <a:pt x="166" y="334"/>
                    </a:lnTo>
                    <a:lnTo>
                      <a:pt x="164" y="330"/>
                    </a:lnTo>
                    <a:lnTo>
                      <a:pt x="162" y="329"/>
                    </a:lnTo>
                    <a:lnTo>
                      <a:pt x="160" y="325"/>
                    </a:lnTo>
                    <a:lnTo>
                      <a:pt x="160" y="321"/>
                    </a:lnTo>
                    <a:lnTo>
                      <a:pt x="159" y="317"/>
                    </a:lnTo>
                    <a:lnTo>
                      <a:pt x="159" y="316"/>
                    </a:lnTo>
                    <a:lnTo>
                      <a:pt x="153" y="316"/>
                    </a:lnTo>
                    <a:lnTo>
                      <a:pt x="147" y="316"/>
                    </a:lnTo>
                    <a:lnTo>
                      <a:pt x="151" y="306"/>
                    </a:lnTo>
                    <a:lnTo>
                      <a:pt x="155" y="293"/>
                    </a:lnTo>
                    <a:lnTo>
                      <a:pt x="159" y="282"/>
                    </a:lnTo>
                    <a:lnTo>
                      <a:pt x="162" y="271"/>
                    </a:lnTo>
                    <a:lnTo>
                      <a:pt x="168" y="269"/>
                    </a:lnTo>
                    <a:lnTo>
                      <a:pt x="173" y="268"/>
                    </a:lnTo>
                    <a:lnTo>
                      <a:pt x="181" y="266"/>
                    </a:lnTo>
                    <a:lnTo>
                      <a:pt x="186" y="264"/>
                    </a:lnTo>
                    <a:lnTo>
                      <a:pt x="188" y="268"/>
                    </a:lnTo>
                    <a:lnTo>
                      <a:pt x="190" y="273"/>
                    </a:lnTo>
                    <a:lnTo>
                      <a:pt x="188" y="273"/>
                    </a:lnTo>
                    <a:lnTo>
                      <a:pt x="184" y="273"/>
                    </a:lnTo>
                    <a:lnTo>
                      <a:pt x="184" y="273"/>
                    </a:lnTo>
                    <a:lnTo>
                      <a:pt x="181" y="275"/>
                    </a:lnTo>
                    <a:lnTo>
                      <a:pt x="177" y="277"/>
                    </a:lnTo>
                    <a:lnTo>
                      <a:pt x="177" y="277"/>
                    </a:lnTo>
                    <a:lnTo>
                      <a:pt x="177" y="284"/>
                    </a:lnTo>
                    <a:lnTo>
                      <a:pt x="179" y="292"/>
                    </a:lnTo>
                    <a:lnTo>
                      <a:pt x="179" y="299"/>
                    </a:lnTo>
                    <a:lnTo>
                      <a:pt x="179" y="306"/>
                    </a:lnTo>
                    <a:lnTo>
                      <a:pt x="179" y="306"/>
                    </a:lnTo>
                    <a:lnTo>
                      <a:pt x="186" y="310"/>
                    </a:lnTo>
                    <a:lnTo>
                      <a:pt x="194" y="314"/>
                    </a:lnTo>
                    <a:lnTo>
                      <a:pt x="199" y="316"/>
                    </a:lnTo>
                    <a:lnTo>
                      <a:pt x="205" y="319"/>
                    </a:lnTo>
                    <a:lnTo>
                      <a:pt x="207" y="321"/>
                    </a:lnTo>
                    <a:lnTo>
                      <a:pt x="208" y="323"/>
                    </a:lnTo>
                    <a:lnTo>
                      <a:pt x="210" y="327"/>
                    </a:lnTo>
                    <a:lnTo>
                      <a:pt x="212" y="329"/>
                    </a:lnTo>
                    <a:lnTo>
                      <a:pt x="214" y="330"/>
                    </a:lnTo>
                    <a:lnTo>
                      <a:pt x="216" y="334"/>
                    </a:lnTo>
                    <a:lnTo>
                      <a:pt x="216" y="338"/>
                    </a:lnTo>
                    <a:lnTo>
                      <a:pt x="218" y="341"/>
                    </a:lnTo>
                    <a:lnTo>
                      <a:pt x="218" y="341"/>
                    </a:lnTo>
                    <a:lnTo>
                      <a:pt x="223" y="343"/>
                    </a:lnTo>
                    <a:lnTo>
                      <a:pt x="230" y="345"/>
                    </a:lnTo>
                    <a:lnTo>
                      <a:pt x="236" y="347"/>
                    </a:lnTo>
                    <a:lnTo>
                      <a:pt x="242" y="347"/>
                    </a:lnTo>
                    <a:lnTo>
                      <a:pt x="242" y="353"/>
                    </a:lnTo>
                    <a:lnTo>
                      <a:pt x="242" y="358"/>
                    </a:lnTo>
                    <a:lnTo>
                      <a:pt x="242" y="365"/>
                    </a:lnTo>
                    <a:lnTo>
                      <a:pt x="242" y="365"/>
                    </a:lnTo>
                    <a:lnTo>
                      <a:pt x="243" y="371"/>
                    </a:lnTo>
                    <a:lnTo>
                      <a:pt x="243" y="371"/>
                    </a:lnTo>
                    <a:lnTo>
                      <a:pt x="247" y="373"/>
                    </a:lnTo>
                    <a:lnTo>
                      <a:pt x="253" y="373"/>
                    </a:lnTo>
                    <a:lnTo>
                      <a:pt x="258" y="375"/>
                    </a:lnTo>
                    <a:lnTo>
                      <a:pt x="262" y="377"/>
                    </a:lnTo>
                    <a:lnTo>
                      <a:pt x="262" y="382"/>
                    </a:lnTo>
                    <a:lnTo>
                      <a:pt x="262" y="386"/>
                    </a:lnTo>
                    <a:lnTo>
                      <a:pt x="262" y="393"/>
                    </a:lnTo>
                    <a:lnTo>
                      <a:pt x="262" y="397"/>
                    </a:lnTo>
                    <a:lnTo>
                      <a:pt x="258" y="397"/>
                    </a:lnTo>
                    <a:lnTo>
                      <a:pt x="251" y="397"/>
                    </a:lnTo>
                    <a:lnTo>
                      <a:pt x="251" y="397"/>
                    </a:lnTo>
                    <a:lnTo>
                      <a:pt x="253" y="410"/>
                    </a:lnTo>
                    <a:lnTo>
                      <a:pt x="254" y="423"/>
                    </a:lnTo>
                    <a:lnTo>
                      <a:pt x="256" y="436"/>
                    </a:lnTo>
                    <a:lnTo>
                      <a:pt x="258" y="447"/>
                    </a:lnTo>
                    <a:lnTo>
                      <a:pt x="262" y="472"/>
                    </a:lnTo>
                    <a:lnTo>
                      <a:pt x="267" y="496"/>
                    </a:lnTo>
                    <a:lnTo>
                      <a:pt x="273" y="520"/>
                    </a:lnTo>
                    <a:lnTo>
                      <a:pt x="277" y="544"/>
                    </a:lnTo>
                    <a:lnTo>
                      <a:pt x="282" y="568"/>
                    </a:lnTo>
                    <a:lnTo>
                      <a:pt x="288" y="594"/>
                    </a:lnTo>
                    <a:lnTo>
                      <a:pt x="290" y="600"/>
                    </a:lnTo>
                    <a:lnTo>
                      <a:pt x="293" y="607"/>
                    </a:lnTo>
                    <a:lnTo>
                      <a:pt x="293" y="607"/>
                    </a:lnTo>
                    <a:lnTo>
                      <a:pt x="297" y="615"/>
                    </a:lnTo>
                    <a:lnTo>
                      <a:pt x="297" y="615"/>
                    </a:lnTo>
                    <a:lnTo>
                      <a:pt x="299" y="622"/>
                    </a:lnTo>
                    <a:lnTo>
                      <a:pt x="302" y="631"/>
                    </a:lnTo>
                    <a:lnTo>
                      <a:pt x="304" y="639"/>
                    </a:lnTo>
                    <a:lnTo>
                      <a:pt x="306" y="648"/>
                    </a:lnTo>
                    <a:lnTo>
                      <a:pt x="308" y="655"/>
                    </a:lnTo>
                    <a:lnTo>
                      <a:pt x="308" y="664"/>
                    </a:lnTo>
                    <a:lnTo>
                      <a:pt x="310" y="672"/>
                    </a:lnTo>
                    <a:lnTo>
                      <a:pt x="308" y="675"/>
                    </a:lnTo>
                    <a:lnTo>
                      <a:pt x="308" y="681"/>
                    </a:lnTo>
                    <a:lnTo>
                      <a:pt x="308" y="685"/>
                    </a:lnTo>
                    <a:lnTo>
                      <a:pt x="308" y="687"/>
                    </a:lnTo>
                    <a:lnTo>
                      <a:pt x="306" y="690"/>
                    </a:lnTo>
                    <a:lnTo>
                      <a:pt x="306" y="690"/>
                    </a:lnTo>
                    <a:lnTo>
                      <a:pt x="304" y="694"/>
                    </a:lnTo>
                    <a:lnTo>
                      <a:pt x="304" y="698"/>
                    </a:lnTo>
                    <a:lnTo>
                      <a:pt x="302" y="701"/>
                    </a:lnTo>
                    <a:lnTo>
                      <a:pt x="301" y="703"/>
                    </a:lnTo>
                    <a:lnTo>
                      <a:pt x="297" y="707"/>
                    </a:lnTo>
                    <a:lnTo>
                      <a:pt x="295" y="709"/>
                    </a:lnTo>
                    <a:lnTo>
                      <a:pt x="291" y="711"/>
                    </a:lnTo>
                    <a:lnTo>
                      <a:pt x="291" y="712"/>
                    </a:lnTo>
                    <a:lnTo>
                      <a:pt x="295" y="716"/>
                    </a:lnTo>
                    <a:lnTo>
                      <a:pt x="295" y="720"/>
                    </a:lnTo>
                    <a:lnTo>
                      <a:pt x="297" y="723"/>
                    </a:lnTo>
                    <a:lnTo>
                      <a:pt x="297" y="725"/>
                    </a:lnTo>
                    <a:lnTo>
                      <a:pt x="299" y="727"/>
                    </a:lnTo>
                    <a:lnTo>
                      <a:pt x="299" y="729"/>
                    </a:lnTo>
                    <a:lnTo>
                      <a:pt x="297" y="733"/>
                    </a:lnTo>
                    <a:lnTo>
                      <a:pt x="297" y="733"/>
                    </a:lnTo>
                    <a:lnTo>
                      <a:pt x="297" y="736"/>
                    </a:lnTo>
                    <a:lnTo>
                      <a:pt x="293" y="736"/>
                    </a:lnTo>
                    <a:lnTo>
                      <a:pt x="293" y="736"/>
                    </a:lnTo>
                    <a:lnTo>
                      <a:pt x="290" y="738"/>
                    </a:lnTo>
                    <a:lnTo>
                      <a:pt x="284" y="740"/>
                    </a:lnTo>
                    <a:lnTo>
                      <a:pt x="280" y="740"/>
                    </a:lnTo>
                    <a:lnTo>
                      <a:pt x="280" y="740"/>
                    </a:lnTo>
                    <a:lnTo>
                      <a:pt x="280" y="746"/>
                    </a:lnTo>
                    <a:lnTo>
                      <a:pt x="280" y="751"/>
                    </a:lnTo>
                    <a:lnTo>
                      <a:pt x="280" y="753"/>
                    </a:lnTo>
                    <a:lnTo>
                      <a:pt x="288" y="755"/>
                    </a:lnTo>
                    <a:lnTo>
                      <a:pt x="293" y="758"/>
                    </a:lnTo>
                    <a:lnTo>
                      <a:pt x="299" y="760"/>
                    </a:lnTo>
                    <a:lnTo>
                      <a:pt x="302" y="764"/>
                    </a:lnTo>
                    <a:lnTo>
                      <a:pt x="302" y="764"/>
                    </a:lnTo>
                    <a:lnTo>
                      <a:pt x="306" y="766"/>
                    </a:lnTo>
                    <a:lnTo>
                      <a:pt x="310" y="771"/>
                    </a:lnTo>
                    <a:lnTo>
                      <a:pt x="314" y="773"/>
                    </a:lnTo>
                    <a:lnTo>
                      <a:pt x="315" y="779"/>
                    </a:lnTo>
                    <a:lnTo>
                      <a:pt x="315" y="779"/>
                    </a:lnTo>
                    <a:lnTo>
                      <a:pt x="317" y="782"/>
                    </a:lnTo>
                    <a:lnTo>
                      <a:pt x="319" y="786"/>
                    </a:lnTo>
                    <a:lnTo>
                      <a:pt x="321" y="790"/>
                    </a:lnTo>
                    <a:lnTo>
                      <a:pt x="323" y="795"/>
                    </a:lnTo>
                    <a:lnTo>
                      <a:pt x="325" y="805"/>
                    </a:lnTo>
                    <a:lnTo>
                      <a:pt x="326" y="814"/>
                    </a:lnTo>
                    <a:lnTo>
                      <a:pt x="326" y="823"/>
                    </a:lnTo>
                    <a:lnTo>
                      <a:pt x="328" y="832"/>
                    </a:lnTo>
                    <a:lnTo>
                      <a:pt x="330" y="838"/>
                    </a:lnTo>
                    <a:lnTo>
                      <a:pt x="330" y="843"/>
                    </a:lnTo>
                    <a:lnTo>
                      <a:pt x="330" y="843"/>
                    </a:lnTo>
                    <a:lnTo>
                      <a:pt x="332" y="847"/>
                    </a:lnTo>
                    <a:lnTo>
                      <a:pt x="334" y="853"/>
                    </a:lnTo>
                    <a:lnTo>
                      <a:pt x="336" y="858"/>
                    </a:lnTo>
                    <a:lnTo>
                      <a:pt x="336" y="858"/>
                    </a:lnTo>
                    <a:lnTo>
                      <a:pt x="338" y="862"/>
                    </a:lnTo>
                    <a:lnTo>
                      <a:pt x="341" y="867"/>
                    </a:lnTo>
                    <a:lnTo>
                      <a:pt x="341" y="867"/>
                    </a:lnTo>
                    <a:lnTo>
                      <a:pt x="345" y="871"/>
                    </a:lnTo>
                    <a:lnTo>
                      <a:pt x="349" y="877"/>
                    </a:lnTo>
                    <a:lnTo>
                      <a:pt x="352" y="880"/>
                    </a:lnTo>
                    <a:lnTo>
                      <a:pt x="358" y="884"/>
                    </a:lnTo>
                    <a:lnTo>
                      <a:pt x="362" y="888"/>
                    </a:lnTo>
                    <a:lnTo>
                      <a:pt x="363" y="890"/>
                    </a:lnTo>
                    <a:lnTo>
                      <a:pt x="363" y="890"/>
                    </a:lnTo>
                    <a:lnTo>
                      <a:pt x="363" y="890"/>
                    </a:lnTo>
                    <a:lnTo>
                      <a:pt x="363" y="890"/>
                    </a:lnTo>
                    <a:lnTo>
                      <a:pt x="363" y="890"/>
                    </a:lnTo>
                    <a:lnTo>
                      <a:pt x="363" y="888"/>
                    </a:lnTo>
                    <a:lnTo>
                      <a:pt x="363" y="888"/>
                    </a:lnTo>
                    <a:lnTo>
                      <a:pt x="369" y="886"/>
                    </a:lnTo>
                    <a:lnTo>
                      <a:pt x="374" y="884"/>
                    </a:lnTo>
                    <a:lnTo>
                      <a:pt x="378" y="882"/>
                    </a:lnTo>
                    <a:lnTo>
                      <a:pt x="384" y="878"/>
                    </a:lnTo>
                    <a:lnTo>
                      <a:pt x="387" y="877"/>
                    </a:lnTo>
                    <a:lnTo>
                      <a:pt x="393" y="873"/>
                    </a:lnTo>
                    <a:lnTo>
                      <a:pt x="387" y="877"/>
                    </a:lnTo>
                    <a:lnTo>
                      <a:pt x="384" y="878"/>
                    </a:lnTo>
                    <a:lnTo>
                      <a:pt x="378" y="882"/>
                    </a:lnTo>
                    <a:lnTo>
                      <a:pt x="374" y="884"/>
                    </a:lnTo>
                    <a:lnTo>
                      <a:pt x="369" y="886"/>
                    </a:lnTo>
                    <a:lnTo>
                      <a:pt x="363" y="888"/>
                    </a:lnTo>
                    <a:lnTo>
                      <a:pt x="358" y="884"/>
                    </a:lnTo>
                    <a:lnTo>
                      <a:pt x="354" y="880"/>
                    </a:lnTo>
                    <a:lnTo>
                      <a:pt x="349" y="875"/>
                    </a:lnTo>
                    <a:lnTo>
                      <a:pt x="345" y="871"/>
                    </a:lnTo>
                    <a:lnTo>
                      <a:pt x="343" y="866"/>
                    </a:lnTo>
                    <a:lnTo>
                      <a:pt x="339" y="862"/>
                    </a:lnTo>
                    <a:lnTo>
                      <a:pt x="338" y="856"/>
                    </a:lnTo>
                    <a:lnTo>
                      <a:pt x="336" y="853"/>
                    </a:lnTo>
                    <a:lnTo>
                      <a:pt x="336" y="853"/>
                    </a:lnTo>
                    <a:lnTo>
                      <a:pt x="334" y="847"/>
                    </a:lnTo>
                    <a:lnTo>
                      <a:pt x="332" y="842"/>
                    </a:lnTo>
                    <a:lnTo>
                      <a:pt x="330" y="838"/>
                    </a:lnTo>
                    <a:lnTo>
                      <a:pt x="330" y="832"/>
                    </a:lnTo>
                    <a:lnTo>
                      <a:pt x="328" y="823"/>
                    </a:lnTo>
                    <a:lnTo>
                      <a:pt x="328" y="823"/>
                    </a:lnTo>
                    <a:lnTo>
                      <a:pt x="328" y="823"/>
                    </a:lnTo>
                    <a:lnTo>
                      <a:pt x="326" y="814"/>
                    </a:lnTo>
                    <a:lnTo>
                      <a:pt x="326" y="803"/>
                    </a:lnTo>
                    <a:lnTo>
                      <a:pt x="325" y="794"/>
                    </a:lnTo>
                    <a:lnTo>
                      <a:pt x="323" y="790"/>
                    </a:lnTo>
                    <a:lnTo>
                      <a:pt x="323" y="790"/>
                    </a:lnTo>
                    <a:lnTo>
                      <a:pt x="321" y="786"/>
                    </a:lnTo>
                    <a:lnTo>
                      <a:pt x="321" y="786"/>
                    </a:lnTo>
                    <a:lnTo>
                      <a:pt x="319" y="781"/>
                    </a:lnTo>
                    <a:lnTo>
                      <a:pt x="319" y="781"/>
                    </a:lnTo>
                    <a:lnTo>
                      <a:pt x="317" y="777"/>
                    </a:lnTo>
                    <a:lnTo>
                      <a:pt x="314" y="773"/>
                    </a:lnTo>
                    <a:lnTo>
                      <a:pt x="314" y="773"/>
                    </a:lnTo>
                    <a:lnTo>
                      <a:pt x="312" y="770"/>
                    </a:lnTo>
                    <a:lnTo>
                      <a:pt x="308" y="766"/>
                    </a:lnTo>
                    <a:lnTo>
                      <a:pt x="308" y="766"/>
                    </a:lnTo>
                    <a:lnTo>
                      <a:pt x="302" y="762"/>
                    </a:lnTo>
                    <a:lnTo>
                      <a:pt x="299" y="758"/>
                    </a:lnTo>
                    <a:lnTo>
                      <a:pt x="299" y="758"/>
                    </a:lnTo>
                    <a:lnTo>
                      <a:pt x="293" y="757"/>
                    </a:lnTo>
                    <a:lnTo>
                      <a:pt x="288" y="753"/>
                    </a:lnTo>
                    <a:lnTo>
                      <a:pt x="282" y="751"/>
                    </a:lnTo>
                    <a:lnTo>
                      <a:pt x="282" y="746"/>
                    </a:lnTo>
                    <a:lnTo>
                      <a:pt x="282" y="742"/>
                    </a:lnTo>
                    <a:lnTo>
                      <a:pt x="286" y="740"/>
                    </a:lnTo>
                    <a:lnTo>
                      <a:pt x="290" y="740"/>
                    </a:lnTo>
                    <a:lnTo>
                      <a:pt x="293" y="738"/>
                    </a:lnTo>
                    <a:lnTo>
                      <a:pt x="299" y="738"/>
                    </a:lnTo>
                    <a:lnTo>
                      <a:pt x="299" y="738"/>
                    </a:lnTo>
                    <a:lnTo>
                      <a:pt x="299" y="733"/>
                    </a:lnTo>
                    <a:lnTo>
                      <a:pt x="299" y="733"/>
                    </a:lnTo>
                    <a:lnTo>
                      <a:pt x="299" y="729"/>
                    </a:lnTo>
                    <a:lnTo>
                      <a:pt x="299" y="729"/>
                    </a:lnTo>
                    <a:lnTo>
                      <a:pt x="299" y="727"/>
                    </a:lnTo>
                    <a:lnTo>
                      <a:pt x="299" y="727"/>
                    </a:lnTo>
                    <a:lnTo>
                      <a:pt x="299" y="725"/>
                    </a:lnTo>
                    <a:lnTo>
                      <a:pt x="299" y="725"/>
                    </a:lnTo>
                    <a:lnTo>
                      <a:pt x="299" y="722"/>
                    </a:lnTo>
                    <a:lnTo>
                      <a:pt x="299" y="722"/>
                    </a:lnTo>
                    <a:lnTo>
                      <a:pt x="297" y="720"/>
                    </a:lnTo>
                    <a:lnTo>
                      <a:pt x="295" y="716"/>
                    </a:lnTo>
                    <a:lnTo>
                      <a:pt x="295" y="716"/>
                    </a:lnTo>
                    <a:lnTo>
                      <a:pt x="293" y="712"/>
                    </a:lnTo>
                    <a:lnTo>
                      <a:pt x="297" y="711"/>
                    </a:lnTo>
                    <a:lnTo>
                      <a:pt x="297" y="711"/>
                    </a:lnTo>
                    <a:lnTo>
                      <a:pt x="299" y="707"/>
                    </a:lnTo>
                    <a:lnTo>
                      <a:pt x="301" y="705"/>
                    </a:lnTo>
                    <a:lnTo>
                      <a:pt x="302" y="701"/>
                    </a:lnTo>
                    <a:lnTo>
                      <a:pt x="302" y="701"/>
                    </a:lnTo>
                    <a:lnTo>
                      <a:pt x="304" y="698"/>
                    </a:lnTo>
                    <a:lnTo>
                      <a:pt x="306" y="696"/>
                    </a:lnTo>
                    <a:lnTo>
                      <a:pt x="306" y="696"/>
                    </a:lnTo>
                    <a:lnTo>
                      <a:pt x="308" y="692"/>
                    </a:lnTo>
                    <a:lnTo>
                      <a:pt x="308" y="688"/>
                    </a:lnTo>
                    <a:lnTo>
                      <a:pt x="310" y="685"/>
                    </a:lnTo>
                    <a:lnTo>
                      <a:pt x="310" y="685"/>
                    </a:lnTo>
                    <a:lnTo>
                      <a:pt x="310" y="681"/>
                    </a:lnTo>
                    <a:lnTo>
                      <a:pt x="310" y="675"/>
                    </a:lnTo>
                    <a:lnTo>
                      <a:pt x="310" y="672"/>
                    </a:lnTo>
                    <a:lnTo>
                      <a:pt x="310" y="672"/>
                    </a:lnTo>
                    <a:lnTo>
                      <a:pt x="310" y="664"/>
                    </a:lnTo>
                    <a:lnTo>
                      <a:pt x="310" y="655"/>
                    </a:lnTo>
                    <a:lnTo>
                      <a:pt x="308" y="646"/>
                    </a:lnTo>
                    <a:lnTo>
                      <a:pt x="306" y="639"/>
                    </a:lnTo>
                    <a:lnTo>
                      <a:pt x="302" y="629"/>
                    </a:lnTo>
                    <a:lnTo>
                      <a:pt x="301" y="622"/>
                    </a:lnTo>
                    <a:lnTo>
                      <a:pt x="299" y="615"/>
                    </a:lnTo>
                    <a:lnTo>
                      <a:pt x="295" y="607"/>
                    </a:lnTo>
                    <a:lnTo>
                      <a:pt x="291" y="600"/>
                    </a:lnTo>
                    <a:lnTo>
                      <a:pt x="290" y="594"/>
                    </a:lnTo>
                    <a:lnTo>
                      <a:pt x="284" y="568"/>
                    </a:lnTo>
                    <a:lnTo>
                      <a:pt x="278" y="544"/>
                    </a:lnTo>
                    <a:lnTo>
                      <a:pt x="273" y="520"/>
                    </a:lnTo>
                    <a:lnTo>
                      <a:pt x="269" y="496"/>
                    </a:lnTo>
                    <a:lnTo>
                      <a:pt x="264" y="471"/>
                    </a:lnTo>
                    <a:lnTo>
                      <a:pt x="260" y="447"/>
                    </a:lnTo>
                    <a:lnTo>
                      <a:pt x="256" y="436"/>
                    </a:lnTo>
                    <a:lnTo>
                      <a:pt x="256" y="436"/>
                    </a:lnTo>
                    <a:lnTo>
                      <a:pt x="256" y="423"/>
                    </a:lnTo>
                    <a:lnTo>
                      <a:pt x="254" y="410"/>
                    </a:lnTo>
                    <a:lnTo>
                      <a:pt x="253" y="399"/>
                    </a:lnTo>
                    <a:lnTo>
                      <a:pt x="258" y="399"/>
                    </a:lnTo>
                    <a:lnTo>
                      <a:pt x="262" y="399"/>
                    </a:lnTo>
                    <a:lnTo>
                      <a:pt x="264" y="399"/>
                    </a:lnTo>
                    <a:lnTo>
                      <a:pt x="264" y="393"/>
                    </a:lnTo>
                    <a:lnTo>
                      <a:pt x="264" y="386"/>
                    </a:lnTo>
                    <a:lnTo>
                      <a:pt x="264" y="382"/>
                    </a:lnTo>
                    <a:lnTo>
                      <a:pt x="264" y="377"/>
                    </a:lnTo>
                    <a:lnTo>
                      <a:pt x="264" y="375"/>
                    </a:lnTo>
                    <a:lnTo>
                      <a:pt x="258" y="375"/>
                    </a:lnTo>
                    <a:lnTo>
                      <a:pt x="253" y="373"/>
                    </a:lnTo>
                    <a:lnTo>
                      <a:pt x="249" y="371"/>
                    </a:lnTo>
                    <a:lnTo>
                      <a:pt x="243" y="371"/>
                    </a:lnTo>
                    <a:lnTo>
                      <a:pt x="243" y="364"/>
                    </a:lnTo>
                    <a:lnTo>
                      <a:pt x="243" y="358"/>
                    </a:lnTo>
                    <a:lnTo>
                      <a:pt x="243" y="353"/>
                    </a:lnTo>
                    <a:lnTo>
                      <a:pt x="242" y="347"/>
                    </a:lnTo>
                    <a:lnTo>
                      <a:pt x="242" y="347"/>
                    </a:lnTo>
                    <a:lnTo>
                      <a:pt x="236" y="345"/>
                    </a:lnTo>
                    <a:lnTo>
                      <a:pt x="230" y="343"/>
                    </a:lnTo>
                    <a:lnTo>
                      <a:pt x="225" y="341"/>
                    </a:lnTo>
                    <a:lnTo>
                      <a:pt x="219" y="340"/>
                    </a:lnTo>
                    <a:lnTo>
                      <a:pt x="218" y="338"/>
                    </a:lnTo>
                    <a:lnTo>
                      <a:pt x="218" y="338"/>
                    </a:lnTo>
                    <a:lnTo>
                      <a:pt x="216" y="334"/>
                    </a:lnTo>
                    <a:lnTo>
                      <a:pt x="214" y="330"/>
                    </a:lnTo>
                    <a:lnTo>
                      <a:pt x="214" y="330"/>
                    </a:lnTo>
                    <a:lnTo>
                      <a:pt x="214" y="327"/>
                    </a:lnTo>
                    <a:lnTo>
                      <a:pt x="214" y="327"/>
                    </a:lnTo>
                    <a:lnTo>
                      <a:pt x="210" y="325"/>
                    </a:lnTo>
                    <a:lnTo>
                      <a:pt x="208" y="323"/>
                    </a:lnTo>
                    <a:lnTo>
                      <a:pt x="207" y="321"/>
                    </a:lnTo>
                    <a:lnTo>
                      <a:pt x="207" y="319"/>
                    </a:lnTo>
                    <a:lnTo>
                      <a:pt x="205" y="319"/>
                    </a:lnTo>
                    <a:lnTo>
                      <a:pt x="199" y="316"/>
                    </a:lnTo>
                    <a:lnTo>
                      <a:pt x="194" y="312"/>
                    </a:lnTo>
                    <a:lnTo>
                      <a:pt x="194" y="312"/>
                    </a:lnTo>
                    <a:lnTo>
                      <a:pt x="188" y="308"/>
                    </a:lnTo>
                    <a:lnTo>
                      <a:pt x="181" y="305"/>
                    </a:lnTo>
                    <a:lnTo>
                      <a:pt x="181" y="299"/>
                    </a:lnTo>
                    <a:lnTo>
                      <a:pt x="179" y="292"/>
                    </a:lnTo>
                    <a:lnTo>
                      <a:pt x="179" y="284"/>
                    </a:lnTo>
                    <a:lnTo>
                      <a:pt x="179" y="277"/>
                    </a:lnTo>
                    <a:lnTo>
                      <a:pt x="181" y="277"/>
                    </a:lnTo>
                    <a:lnTo>
                      <a:pt x="184" y="275"/>
                    </a:lnTo>
                    <a:lnTo>
                      <a:pt x="188" y="275"/>
                    </a:lnTo>
                    <a:lnTo>
                      <a:pt x="192" y="273"/>
                    </a:lnTo>
                    <a:lnTo>
                      <a:pt x="192" y="273"/>
                    </a:lnTo>
                    <a:lnTo>
                      <a:pt x="190" y="268"/>
                    </a:lnTo>
                    <a:lnTo>
                      <a:pt x="186" y="262"/>
                    </a:lnTo>
                    <a:lnTo>
                      <a:pt x="186" y="262"/>
                    </a:lnTo>
                    <a:close/>
                    <a:moveTo>
                      <a:pt x="2" y="212"/>
                    </a:moveTo>
                    <a:lnTo>
                      <a:pt x="0" y="214"/>
                    </a:lnTo>
                    <a:lnTo>
                      <a:pt x="0" y="214"/>
                    </a:lnTo>
                    <a:lnTo>
                      <a:pt x="2" y="212"/>
                    </a:lnTo>
                    <a:close/>
                    <a:moveTo>
                      <a:pt x="42" y="142"/>
                    </a:moveTo>
                    <a:lnTo>
                      <a:pt x="42" y="142"/>
                    </a:lnTo>
                    <a:lnTo>
                      <a:pt x="42" y="142"/>
                    </a:lnTo>
                    <a:lnTo>
                      <a:pt x="48" y="144"/>
                    </a:lnTo>
                    <a:lnTo>
                      <a:pt x="53" y="144"/>
                    </a:lnTo>
                    <a:lnTo>
                      <a:pt x="59" y="146"/>
                    </a:lnTo>
                    <a:lnTo>
                      <a:pt x="64" y="148"/>
                    </a:lnTo>
                    <a:lnTo>
                      <a:pt x="59" y="146"/>
                    </a:lnTo>
                    <a:lnTo>
                      <a:pt x="53" y="144"/>
                    </a:lnTo>
                    <a:lnTo>
                      <a:pt x="48" y="144"/>
                    </a:lnTo>
                    <a:lnTo>
                      <a:pt x="42" y="142"/>
                    </a:lnTo>
                    <a:lnTo>
                      <a:pt x="42" y="142"/>
                    </a:lnTo>
                    <a:close/>
                    <a:moveTo>
                      <a:pt x="404" y="0"/>
                    </a:moveTo>
                    <a:lnTo>
                      <a:pt x="404" y="0"/>
                    </a:lnTo>
                    <a:lnTo>
                      <a:pt x="402" y="0"/>
                    </a:lnTo>
                    <a:lnTo>
                      <a:pt x="402" y="0"/>
                    </a:lnTo>
                    <a:lnTo>
                      <a:pt x="404" y="6"/>
                    </a:lnTo>
                    <a:lnTo>
                      <a:pt x="404" y="9"/>
                    </a:lnTo>
                    <a:lnTo>
                      <a:pt x="404" y="11"/>
                    </a:lnTo>
                    <a:lnTo>
                      <a:pt x="404" y="15"/>
                    </a:lnTo>
                    <a:lnTo>
                      <a:pt x="404" y="17"/>
                    </a:lnTo>
                    <a:lnTo>
                      <a:pt x="404" y="18"/>
                    </a:lnTo>
                    <a:lnTo>
                      <a:pt x="404" y="18"/>
                    </a:lnTo>
                    <a:lnTo>
                      <a:pt x="402" y="20"/>
                    </a:lnTo>
                    <a:lnTo>
                      <a:pt x="400" y="22"/>
                    </a:lnTo>
                    <a:lnTo>
                      <a:pt x="400" y="24"/>
                    </a:lnTo>
                    <a:lnTo>
                      <a:pt x="404" y="28"/>
                    </a:lnTo>
                    <a:lnTo>
                      <a:pt x="406" y="31"/>
                    </a:lnTo>
                    <a:lnTo>
                      <a:pt x="410" y="35"/>
                    </a:lnTo>
                    <a:lnTo>
                      <a:pt x="410" y="39"/>
                    </a:lnTo>
                    <a:lnTo>
                      <a:pt x="411" y="41"/>
                    </a:lnTo>
                    <a:lnTo>
                      <a:pt x="411" y="44"/>
                    </a:lnTo>
                    <a:lnTo>
                      <a:pt x="411" y="44"/>
                    </a:lnTo>
                    <a:lnTo>
                      <a:pt x="413" y="48"/>
                    </a:lnTo>
                    <a:lnTo>
                      <a:pt x="413" y="54"/>
                    </a:lnTo>
                    <a:lnTo>
                      <a:pt x="410" y="55"/>
                    </a:lnTo>
                    <a:lnTo>
                      <a:pt x="406" y="59"/>
                    </a:lnTo>
                    <a:lnTo>
                      <a:pt x="406" y="59"/>
                    </a:lnTo>
                    <a:lnTo>
                      <a:pt x="408" y="63"/>
                    </a:lnTo>
                    <a:lnTo>
                      <a:pt x="411" y="65"/>
                    </a:lnTo>
                    <a:lnTo>
                      <a:pt x="411" y="66"/>
                    </a:lnTo>
                    <a:lnTo>
                      <a:pt x="413" y="66"/>
                    </a:lnTo>
                    <a:lnTo>
                      <a:pt x="413" y="68"/>
                    </a:lnTo>
                    <a:lnTo>
                      <a:pt x="415" y="70"/>
                    </a:lnTo>
                    <a:lnTo>
                      <a:pt x="415" y="74"/>
                    </a:lnTo>
                    <a:lnTo>
                      <a:pt x="415" y="78"/>
                    </a:lnTo>
                    <a:lnTo>
                      <a:pt x="415" y="81"/>
                    </a:lnTo>
                    <a:lnTo>
                      <a:pt x="415" y="83"/>
                    </a:lnTo>
                    <a:lnTo>
                      <a:pt x="419" y="83"/>
                    </a:lnTo>
                    <a:lnTo>
                      <a:pt x="424" y="85"/>
                    </a:lnTo>
                    <a:lnTo>
                      <a:pt x="428" y="85"/>
                    </a:lnTo>
                    <a:lnTo>
                      <a:pt x="432" y="87"/>
                    </a:lnTo>
                    <a:lnTo>
                      <a:pt x="432" y="100"/>
                    </a:lnTo>
                    <a:lnTo>
                      <a:pt x="433" y="111"/>
                    </a:lnTo>
                    <a:lnTo>
                      <a:pt x="435" y="120"/>
                    </a:lnTo>
                    <a:lnTo>
                      <a:pt x="435" y="129"/>
                    </a:lnTo>
                    <a:lnTo>
                      <a:pt x="437" y="137"/>
                    </a:lnTo>
                    <a:lnTo>
                      <a:pt x="437" y="137"/>
                    </a:lnTo>
                    <a:lnTo>
                      <a:pt x="439" y="146"/>
                    </a:lnTo>
                    <a:lnTo>
                      <a:pt x="439" y="153"/>
                    </a:lnTo>
                    <a:lnTo>
                      <a:pt x="439" y="162"/>
                    </a:lnTo>
                    <a:lnTo>
                      <a:pt x="435" y="166"/>
                    </a:lnTo>
                    <a:lnTo>
                      <a:pt x="435" y="166"/>
                    </a:lnTo>
                    <a:lnTo>
                      <a:pt x="432" y="168"/>
                    </a:lnTo>
                    <a:lnTo>
                      <a:pt x="432" y="168"/>
                    </a:lnTo>
                    <a:lnTo>
                      <a:pt x="432" y="170"/>
                    </a:lnTo>
                    <a:lnTo>
                      <a:pt x="432" y="170"/>
                    </a:lnTo>
                    <a:lnTo>
                      <a:pt x="432" y="170"/>
                    </a:lnTo>
                    <a:lnTo>
                      <a:pt x="432" y="170"/>
                    </a:lnTo>
                    <a:lnTo>
                      <a:pt x="432" y="172"/>
                    </a:lnTo>
                    <a:lnTo>
                      <a:pt x="432" y="174"/>
                    </a:lnTo>
                    <a:lnTo>
                      <a:pt x="432" y="174"/>
                    </a:lnTo>
                    <a:lnTo>
                      <a:pt x="435" y="174"/>
                    </a:lnTo>
                    <a:lnTo>
                      <a:pt x="439" y="174"/>
                    </a:lnTo>
                    <a:lnTo>
                      <a:pt x="445" y="174"/>
                    </a:lnTo>
                    <a:lnTo>
                      <a:pt x="448" y="174"/>
                    </a:lnTo>
                    <a:lnTo>
                      <a:pt x="448" y="177"/>
                    </a:lnTo>
                    <a:lnTo>
                      <a:pt x="448" y="181"/>
                    </a:lnTo>
                    <a:lnTo>
                      <a:pt x="448" y="185"/>
                    </a:lnTo>
                    <a:lnTo>
                      <a:pt x="448" y="190"/>
                    </a:lnTo>
                    <a:lnTo>
                      <a:pt x="448" y="190"/>
                    </a:lnTo>
                    <a:lnTo>
                      <a:pt x="450" y="192"/>
                    </a:lnTo>
                    <a:lnTo>
                      <a:pt x="454" y="192"/>
                    </a:lnTo>
                    <a:lnTo>
                      <a:pt x="457" y="194"/>
                    </a:lnTo>
                    <a:lnTo>
                      <a:pt x="459" y="194"/>
                    </a:lnTo>
                    <a:lnTo>
                      <a:pt x="461" y="197"/>
                    </a:lnTo>
                    <a:lnTo>
                      <a:pt x="461" y="197"/>
                    </a:lnTo>
                    <a:lnTo>
                      <a:pt x="461" y="201"/>
                    </a:lnTo>
                    <a:lnTo>
                      <a:pt x="463" y="203"/>
                    </a:lnTo>
                    <a:lnTo>
                      <a:pt x="463" y="205"/>
                    </a:lnTo>
                    <a:lnTo>
                      <a:pt x="456" y="205"/>
                    </a:lnTo>
                    <a:lnTo>
                      <a:pt x="448" y="205"/>
                    </a:lnTo>
                    <a:lnTo>
                      <a:pt x="441" y="205"/>
                    </a:lnTo>
                    <a:lnTo>
                      <a:pt x="433" y="205"/>
                    </a:lnTo>
                    <a:lnTo>
                      <a:pt x="426" y="207"/>
                    </a:lnTo>
                    <a:lnTo>
                      <a:pt x="419" y="207"/>
                    </a:lnTo>
                    <a:lnTo>
                      <a:pt x="419" y="207"/>
                    </a:lnTo>
                    <a:lnTo>
                      <a:pt x="410" y="209"/>
                    </a:lnTo>
                    <a:lnTo>
                      <a:pt x="402" y="210"/>
                    </a:lnTo>
                    <a:lnTo>
                      <a:pt x="400" y="210"/>
                    </a:lnTo>
                    <a:lnTo>
                      <a:pt x="400" y="209"/>
                    </a:lnTo>
                    <a:lnTo>
                      <a:pt x="398" y="209"/>
                    </a:lnTo>
                    <a:lnTo>
                      <a:pt x="397" y="210"/>
                    </a:lnTo>
                    <a:lnTo>
                      <a:pt x="397" y="210"/>
                    </a:lnTo>
                    <a:lnTo>
                      <a:pt x="395" y="212"/>
                    </a:lnTo>
                    <a:lnTo>
                      <a:pt x="395" y="212"/>
                    </a:lnTo>
                    <a:lnTo>
                      <a:pt x="397" y="214"/>
                    </a:lnTo>
                    <a:lnTo>
                      <a:pt x="397" y="214"/>
                    </a:lnTo>
                    <a:lnTo>
                      <a:pt x="398" y="214"/>
                    </a:lnTo>
                    <a:lnTo>
                      <a:pt x="397" y="223"/>
                    </a:lnTo>
                    <a:lnTo>
                      <a:pt x="393" y="233"/>
                    </a:lnTo>
                    <a:lnTo>
                      <a:pt x="393" y="233"/>
                    </a:lnTo>
                    <a:lnTo>
                      <a:pt x="391" y="244"/>
                    </a:lnTo>
                    <a:lnTo>
                      <a:pt x="386" y="255"/>
                    </a:lnTo>
                    <a:lnTo>
                      <a:pt x="382" y="266"/>
                    </a:lnTo>
                    <a:lnTo>
                      <a:pt x="376" y="277"/>
                    </a:lnTo>
                    <a:lnTo>
                      <a:pt x="374" y="281"/>
                    </a:lnTo>
                    <a:lnTo>
                      <a:pt x="373" y="284"/>
                    </a:lnTo>
                    <a:lnTo>
                      <a:pt x="369" y="288"/>
                    </a:lnTo>
                    <a:lnTo>
                      <a:pt x="367" y="292"/>
                    </a:lnTo>
                    <a:lnTo>
                      <a:pt x="367" y="292"/>
                    </a:lnTo>
                    <a:lnTo>
                      <a:pt x="378" y="312"/>
                    </a:lnTo>
                    <a:lnTo>
                      <a:pt x="384" y="325"/>
                    </a:lnTo>
                    <a:lnTo>
                      <a:pt x="386" y="329"/>
                    </a:lnTo>
                    <a:lnTo>
                      <a:pt x="386" y="332"/>
                    </a:lnTo>
                    <a:lnTo>
                      <a:pt x="387" y="338"/>
                    </a:lnTo>
                    <a:lnTo>
                      <a:pt x="387" y="341"/>
                    </a:lnTo>
                    <a:lnTo>
                      <a:pt x="386" y="341"/>
                    </a:lnTo>
                    <a:lnTo>
                      <a:pt x="382" y="340"/>
                    </a:lnTo>
                    <a:lnTo>
                      <a:pt x="378" y="340"/>
                    </a:lnTo>
                    <a:lnTo>
                      <a:pt x="376" y="338"/>
                    </a:lnTo>
                    <a:lnTo>
                      <a:pt x="376" y="338"/>
                    </a:lnTo>
                    <a:lnTo>
                      <a:pt x="373" y="336"/>
                    </a:lnTo>
                    <a:lnTo>
                      <a:pt x="369" y="332"/>
                    </a:lnTo>
                    <a:lnTo>
                      <a:pt x="365" y="329"/>
                    </a:lnTo>
                    <a:lnTo>
                      <a:pt x="363" y="327"/>
                    </a:lnTo>
                    <a:lnTo>
                      <a:pt x="363" y="327"/>
                    </a:lnTo>
                    <a:lnTo>
                      <a:pt x="362" y="325"/>
                    </a:lnTo>
                    <a:lnTo>
                      <a:pt x="362" y="325"/>
                    </a:lnTo>
                    <a:lnTo>
                      <a:pt x="358" y="323"/>
                    </a:lnTo>
                    <a:lnTo>
                      <a:pt x="356" y="321"/>
                    </a:lnTo>
                    <a:lnTo>
                      <a:pt x="354" y="319"/>
                    </a:lnTo>
                    <a:lnTo>
                      <a:pt x="352" y="319"/>
                    </a:lnTo>
                    <a:lnTo>
                      <a:pt x="350" y="317"/>
                    </a:lnTo>
                    <a:lnTo>
                      <a:pt x="350" y="314"/>
                    </a:lnTo>
                    <a:lnTo>
                      <a:pt x="350" y="310"/>
                    </a:lnTo>
                    <a:lnTo>
                      <a:pt x="350" y="310"/>
                    </a:lnTo>
                    <a:lnTo>
                      <a:pt x="349" y="310"/>
                    </a:lnTo>
                    <a:lnTo>
                      <a:pt x="349" y="310"/>
                    </a:lnTo>
                    <a:lnTo>
                      <a:pt x="349" y="310"/>
                    </a:lnTo>
                    <a:lnTo>
                      <a:pt x="347" y="310"/>
                    </a:lnTo>
                    <a:lnTo>
                      <a:pt x="345" y="308"/>
                    </a:lnTo>
                    <a:lnTo>
                      <a:pt x="343" y="308"/>
                    </a:lnTo>
                    <a:lnTo>
                      <a:pt x="345" y="316"/>
                    </a:lnTo>
                    <a:lnTo>
                      <a:pt x="347" y="321"/>
                    </a:lnTo>
                    <a:lnTo>
                      <a:pt x="347" y="321"/>
                    </a:lnTo>
                    <a:lnTo>
                      <a:pt x="349" y="323"/>
                    </a:lnTo>
                    <a:lnTo>
                      <a:pt x="349" y="325"/>
                    </a:lnTo>
                    <a:lnTo>
                      <a:pt x="347" y="330"/>
                    </a:lnTo>
                    <a:lnTo>
                      <a:pt x="347" y="336"/>
                    </a:lnTo>
                    <a:lnTo>
                      <a:pt x="347" y="336"/>
                    </a:lnTo>
                    <a:lnTo>
                      <a:pt x="345" y="341"/>
                    </a:lnTo>
                    <a:lnTo>
                      <a:pt x="345" y="345"/>
                    </a:lnTo>
                    <a:lnTo>
                      <a:pt x="345" y="345"/>
                    </a:lnTo>
                    <a:lnTo>
                      <a:pt x="345" y="351"/>
                    </a:lnTo>
                    <a:lnTo>
                      <a:pt x="345" y="354"/>
                    </a:lnTo>
                    <a:lnTo>
                      <a:pt x="345" y="354"/>
                    </a:lnTo>
                    <a:lnTo>
                      <a:pt x="345" y="358"/>
                    </a:lnTo>
                    <a:lnTo>
                      <a:pt x="345" y="360"/>
                    </a:lnTo>
                    <a:lnTo>
                      <a:pt x="345" y="360"/>
                    </a:lnTo>
                    <a:lnTo>
                      <a:pt x="347" y="367"/>
                    </a:lnTo>
                    <a:lnTo>
                      <a:pt x="347" y="367"/>
                    </a:lnTo>
                    <a:lnTo>
                      <a:pt x="349" y="375"/>
                    </a:lnTo>
                    <a:lnTo>
                      <a:pt x="352" y="382"/>
                    </a:lnTo>
                    <a:lnTo>
                      <a:pt x="354" y="391"/>
                    </a:lnTo>
                    <a:lnTo>
                      <a:pt x="349" y="389"/>
                    </a:lnTo>
                    <a:lnTo>
                      <a:pt x="343" y="388"/>
                    </a:lnTo>
                    <a:lnTo>
                      <a:pt x="336" y="388"/>
                    </a:lnTo>
                    <a:lnTo>
                      <a:pt x="328" y="386"/>
                    </a:lnTo>
                    <a:lnTo>
                      <a:pt x="328" y="386"/>
                    </a:lnTo>
                    <a:lnTo>
                      <a:pt x="328" y="393"/>
                    </a:lnTo>
                    <a:lnTo>
                      <a:pt x="328" y="393"/>
                    </a:lnTo>
                    <a:lnTo>
                      <a:pt x="330" y="397"/>
                    </a:lnTo>
                    <a:lnTo>
                      <a:pt x="332" y="402"/>
                    </a:lnTo>
                    <a:lnTo>
                      <a:pt x="332" y="402"/>
                    </a:lnTo>
                    <a:lnTo>
                      <a:pt x="334" y="408"/>
                    </a:lnTo>
                    <a:lnTo>
                      <a:pt x="330" y="408"/>
                    </a:lnTo>
                    <a:lnTo>
                      <a:pt x="326" y="408"/>
                    </a:lnTo>
                    <a:lnTo>
                      <a:pt x="321" y="408"/>
                    </a:lnTo>
                    <a:lnTo>
                      <a:pt x="317" y="408"/>
                    </a:lnTo>
                    <a:lnTo>
                      <a:pt x="317" y="408"/>
                    </a:lnTo>
                    <a:lnTo>
                      <a:pt x="319" y="419"/>
                    </a:lnTo>
                    <a:lnTo>
                      <a:pt x="323" y="426"/>
                    </a:lnTo>
                    <a:lnTo>
                      <a:pt x="325" y="432"/>
                    </a:lnTo>
                    <a:lnTo>
                      <a:pt x="326" y="436"/>
                    </a:lnTo>
                    <a:lnTo>
                      <a:pt x="326" y="436"/>
                    </a:lnTo>
                    <a:lnTo>
                      <a:pt x="328" y="439"/>
                    </a:lnTo>
                    <a:lnTo>
                      <a:pt x="328" y="439"/>
                    </a:lnTo>
                    <a:lnTo>
                      <a:pt x="330" y="441"/>
                    </a:lnTo>
                    <a:lnTo>
                      <a:pt x="332" y="445"/>
                    </a:lnTo>
                    <a:lnTo>
                      <a:pt x="332" y="445"/>
                    </a:lnTo>
                    <a:lnTo>
                      <a:pt x="336" y="448"/>
                    </a:lnTo>
                    <a:lnTo>
                      <a:pt x="338" y="452"/>
                    </a:lnTo>
                    <a:lnTo>
                      <a:pt x="341" y="454"/>
                    </a:lnTo>
                    <a:lnTo>
                      <a:pt x="341" y="454"/>
                    </a:lnTo>
                    <a:lnTo>
                      <a:pt x="345" y="458"/>
                    </a:lnTo>
                    <a:lnTo>
                      <a:pt x="349" y="460"/>
                    </a:lnTo>
                    <a:lnTo>
                      <a:pt x="352" y="463"/>
                    </a:lnTo>
                    <a:lnTo>
                      <a:pt x="356" y="465"/>
                    </a:lnTo>
                    <a:lnTo>
                      <a:pt x="352" y="467"/>
                    </a:lnTo>
                    <a:lnTo>
                      <a:pt x="352" y="467"/>
                    </a:lnTo>
                    <a:lnTo>
                      <a:pt x="350" y="471"/>
                    </a:lnTo>
                    <a:lnTo>
                      <a:pt x="349" y="472"/>
                    </a:lnTo>
                    <a:lnTo>
                      <a:pt x="360" y="472"/>
                    </a:lnTo>
                    <a:lnTo>
                      <a:pt x="365" y="474"/>
                    </a:lnTo>
                    <a:lnTo>
                      <a:pt x="365" y="476"/>
                    </a:lnTo>
                    <a:lnTo>
                      <a:pt x="367" y="476"/>
                    </a:lnTo>
                    <a:lnTo>
                      <a:pt x="367" y="478"/>
                    </a:lnTo>
                    <a:lnTo>
                      <a:pt x="367" y="478"/>
                    </a:lnTo>
                    <a:lnTo>
                      <a:pt x="363" y="478"/>
                    </a:lnTo>
                    <a:lnTo>
                      <a:pt x="363" y="478"/>
                    </a:lnTo>
                    <a:lnTo>
                      <a:pt x="362" y="478"/>
                    </a:lnTo>
                    <a:lnTo>
                      <a:pt x="360" y="478"/>
                    </a:lnTo>
                    <a:lnTo>
                      <a:pt x="360" y="478"/>
                    </a:lnTo>
                    <a:lnTo>
                      <a:pt x="358" y="478"/>
                    </a:lnTo>
                    <a:lnTo>
                      <a:pt x="358" y="478"/>
                    </a:lnTo>
                    <a:lnTo>
                      <a:pt x="356" y="480"/>
                    </a:lnTo>
                    <a:lnTo>
                      <a:pt x="356" y="480"/>
                    </a:lnTo>
                    <a:lnTo>
                      <a:pt x="356" y="482"/>
                    </a:lnTo>
                    <a:lnTo>
                      <a:pt x="356" y="482"/>
                    </a:lnTo>
                    <a:lnTo>
                      <a:pt x="356" y="484"/>
                    </a:lnTo>
                    <a:lnTo>
                      <a:pt x="356" y="484"/>
                    </a:lnTo>
                    <a:lnTo>
                      <a:pt x="356" y="485"/>
                    </a:lnTo>
                    <a:lnTo>
                      <a:pt x="356" y="485"/>
                    </a:lnTo>
                    <a:lnTo>
                      <a:pt x="362" y="485"/>
                    </a:lnTo>
                    <a:lnTo>
                      <a:pt x="367" y="485"/>
                    </a:lnTo>
                    <a:lnTo>
                      <a:pt x="373" y="502"/>
                    </a:lnTo>
                    <a:lnTo>
                      <a:pt x="378" y="519"/>
                    </a:lnTo>
                    <a:lnTo>
                      <a:pt x="380" y="524"/>
                    </a:lnTo>
                    <a:lnTo>
                      <a:pt x="384" y="530"/>
                    </a:lnTo>
                    <a:lnTo>
                      <a:pt x="386" y="537"/>
                    </a:lnTo>
                    <a:lnTo>
                      <a:pt x="387" y="543"/>
                    </a:lnTo>
                    <a:lnTo>
                      <a:pt x="391" y="546"/>
                    </a:lnTo>
                    <a:lnTo>
                      <a:pt x="391" y="546"/>
                    </a:lnTo>
                    <a:lnTo>
                      <a:pt x="395" y="552"/>
                    </a:lnTo>
                    <a:lnTo>
                      <a:pt x="395" y="552"/>
                    </a:lnTo>
                    <a:lnTo>
                      <a:pt x="400" y="556"/>
                    </a:lnTo>
                    <a:lnTo>
                      <a:pt x="400" y="556"/>
                    </a:lnTo>
                    <a:lnTo>
                      <a:pt x="404" y="559"/>
                    </a:lnTo>
                    <a:lnTo>
                      <a:pt x="404" y="559"/>
                    </a:lnTo>
                    <a:lnTo>
                      <a:pt x="411" y="563"/>
                    </a:lnTo>
                    <a:lnTo>
                      <a:pt x="417" y="565"/>
                    </a:lnTo>
                    <a:lnTo>
                      <a:pt x="426" y="568"/>
                    </a:lnTo>
                    <a:lnTo>
                      <a:pt x="435" y="570"/>
                    </a:lnTo>
                    <a:lnTo>
                      <a:pt x="437" y="565"/>
                    </a:lnTo>
                    <a:lnTo>
                      <a:pt x="439" y="561"/>
                    </a:lnTo>
                    <a:lnTo>
                      <a:pt x="441" y="561"/>
                    </a:lnTo>
                    <a:lnTo>
                      <a:pt x="435" y="559"/>
                    </a:lnTo>
                    <a:lnTo>
                      <a:pt x="432" y="557"/>
                    </a:lnTo>
                    <a:lnTo>
                      <a:pt x="432" y="557"/>
                    </a:lnTo>
                    <a:lnTo>
                      <a:pt x="428" y="556"/>
                    </a:lnTo>
                    <a:lnTo>
                      <a:pt x="428" y="556"/>
                    </a:lnTo>
                    <a:lnTo>
                      <a:pt x="432" y="554"/>
                    </a:lnTo>
                    <a:lnTo>
                      <a:pt x="435" y="552"/>
                    </a:lnTo>
                    <a:lnTo>
                      <a:pt x="439" y="552"/>
                    </a:lnTo>
                    <a:lnTo>
                      <a:pt x="439" y="552"/>
                    </a:lnTo>
                    <a:lnTo>
                      <a:pt x="443" y="548"/>
                    </a:lnTo>
                    <a:lnTo>
                      <a:pt x="443" y="548"/>
                    </a:lnTo>
                    <a:lnTo>
                      <a:pt x="445" y="546"/>
                    </a:lnTo>
                    <a:lnTo>
                      <a:pt x="445" y="546"/>
                    </a:lnTo>
                    <a:lnTo>
                      <a:pt x="448" y="543"/>
                    </a:lnTo>
                    <a:lnTo>
                      <a:pt x="450" y="539"/>
                    </a:lnTo>
                    <a:lnTo>
                      <a:pt x="450" y="539"/>
                    </a:lnTo>
                    <a:lnTo>
                      <a:pt x="452" y="535"/>
                    </a:lnTo>
                    <a:lnTo>
                      <a:pt x="456" y="539"/>
                    </a:lnTo>
                    <a:lnTo>
                      <a:pt x="457" y="544"/>
                    </a:lnTo>
                    <a:lnTo>
                      <a:pt x="461" y="550"/>
                    </a:lnTo>
                    <a:lnTo>
                      <a:pt x="461" y="554"/>
                    </a:lnTo>
                    <a:lnTo>
                      <a:pt x="463" y="559"/>
                    </a:lnTo>
                    <a:lnTo>
                      <a:pt x="465" y="565"/>
                    </a:lnTo>
                    <a:lnTo>
                      <a:pt x="465" y="570"/>
                    </a:lnTo>
                    <a:lnTo>
                      <a:pt x="465" y="576"/>
                    </a:lnTo>
                    <a:lnTo>
                      <a:pt x="467" y="576"/>
                    </a:lnTo>
                    <a:lnTo>
                      <a:pt x="467" y="576"/>
                    </a:lnTo>
                    <a:lnTo>
                      <a:pt x="467" y="570"/>
                    </a:lnTo>
                    <a:lnTo>
                      <a:pt x="465" y="565"/>
                    </a:lnTo>
                    <a:lnTo>
                      <a:pt x="465" y="559"/>
                    </a:lnTo>
                    <a:lnTo>
                      <a:pt x="463" y="554"/>
                    </a:lnTo>
                    <a:lnTo>
                      <a:pt x="461" y="548"/>
                    </a:lnTo>
                    <a:lnTo>
                      <a:pt x="461" y="548"/>
                    </a:lnTo>
                    <a:lnTo>
                      <a:pt x="459" y="544"/>
                    </a:lnTo>
                    <a:lnTo>
                      <a:pt x="459" y="544"/>
                    </a:lnTo>
                    <a:lnTo>
                      <a:pt x="457" y="539"/>
                    </a:lnTo>
                    <a:lnTo>
                      <a:pt x="457" y="539"/>
                    </a:lnTo>
                    <a:lnTo>
                      <a:pt x="454" y="533"/>
                    </a:lnTo>
                    <a:lnTo>
                      <a:pt x="452" y="532"/>
                    </a:lnTo>
                    <a:lnTo>
                      <a:pt x="448" y="539"/>
                    </a:lnTo>
                    <a:lnTo>
                      <a:pt x="446" y="543"/>
                    </a:lnTo>
                    <a:lnTo>
                      <a:pt x="445" y="544"/>
                    </a:lnTo>
                    <a:lnTo>
                      <a:pt x="443" y="548"/>
                    </a:lnTo>
                    <a:lnTo>
                      <a:pt x="439" y="550"/>
                    </a:lnTo>
                    <a:lnTo>
                      <a:pt x="435" y="552"/>
                    </a:lnTo>
                    <a:lnTo>
                      <a:pt x="430" y="552"/>
                    </a:lnTo>
                    <a:lnTo>
                      <a:pt x="424" y="554"/>
                    </a:lnTo>
                    <a:lnTo>
                      <a:pt x="422" y="556"/>
                    </a:lnTo>
                    <a:lnTo>
                      <a:pt x="428" y="557"/>
                    </a:lnTo>
                    <a:lnTo>
                      <a:pt x="432" y="559"/>
                    </a:lnTo>
                    <a:lnTo>
                      <a:pt x="435" y="559"/>
                    </a:lnTo>
                    <a:lnTo>
                      <a:pt x="437" y="561"/>
                    </a:lnTo>
                    <a:lnTo>
                      <a:pt x="435" y="565"/>
                    </a:lnTo>
                    <a:lnTo>
                      <a:pt x="435" y="565"/>
                    </a:lnTo>
                    <a:lnTo>
                      <a:pt x="433" y="568"/>
                    </a:lnTo>
                    <a:lnTo>
                      <a:pt x="426" y="567"/>
                    </a:lnTo>
                    <a:lnTo>
                      <a:pt x="419" y="565"/>
                    </a:lnTo>
                    <a:lnTo>
                      <a:pt x="411" y="561"/>
                    </a:lnTo>
                    <a:lnTo>
                      <a:pt x="406" y="557"/>
                    </a:lnTo>
                    <a:lnTo>
                      <a:pt x="400" y="554"/>
                    </a:lnTo>
                    <a:lnTo>
                      <a:pt x="397" y="550"/>
                    </a:lnTo>
                    <a:lnTo>
                      <a:pt x="393" y="546"/>
                    </a:lnTo>
                    <a:lnTo>
                      <a:pt x="389" y="541"/>
                    </a:lnTo>
                    <a:lnTo>
                      <a:pt x="386" y="535"/>
                    </a:lnTo>
                    <a:lnTo>
                      <a:pt x="384" y="530"/>
                    </a:lnTo>
                    <a:lnTo>
                      <a:pt x="382" y="524"/>
                    </a:lnTo>
                    <a:lnTo>
                      <a:pt x="380" y="517"/>
                    </a:lnTo>
                    <a:lnTo>
                      <a:pt x="374" y="502"/>
                    </a:lnTo>
                    <a:lnTo>
                      <a:pt x="367" y="484"/>
                    </a:lnTo>
                    <a:lnTo>
                      <a:pt x="362" y="484"/>
                    </a:lnTo>
                    <a:lnTo>
                      <a:pt x="358" y="484"/>
                    </a:lnTo>
                    <a:lnTo>
                      <a:pt x="358" y="484"/>
                    </a:lnTo>
                    <a:lnTo>
                      <a:pt x="358" y="482"/>
                    </a:lnTo>
                    <a:lnTo>
                      <a:pt x="358" y="480"/>
                    </a:lnTo>
                    <a:lnTo>
                      <a:pt x="358" y="480"/>
                    </a:lnTo>
                    <a:lnTo>
                      <a:pt x="360" y="480"/>
                    </a:lnTo>
                    <a:lnTo>
                      <a:pt x="362" y="480"/>
                    </a:lnTo>
                    <a:lnTo>
                      <a:pt x="363" y="480"/>
                    </a:lnTo>
                    <a:lnTo>
                      <a:pt x="367" y="480"/>
                    </a:lnTo>
                    <a:lnTo>
                      <a:pt x="369" y="480"/>
                    </a:lnTo>
                    <a:lnTo>
                      <a:pt x="369" y="478"/>
                    </a:lnTo>
                    <a:lnTo>
                      <a:pt x="369" y="478"/>
                    </a:lnTo>
                    <a:lnTo>
                      <a:pt x="367" y="476"/>
                    </a:lnTo>
                    <a:lnTo>
                      <a:pt x="367" y="476"/>
                    </a:lnTo>
                    <a:lnTo>
                      <a:pt x="367" y="474"/>
                    </a:lnTo>
                    <a:lnTo>
                      <a:pt x="367" y="474"/>
                    </a:lnTo>
                    <a:lnTo>
                      <a:pt x="365" y="474"/>
                    </a:lnTo>
                    <a:lnTo>
                      <a:pt x="365" y="474"/>
                    </a:lnTo>
                    <a:lnTo>
                      <a:pt x="362" y="472"/>
                    </a:lnTo>
                    <a:lnTo>
                      <a:pt x="362" y="472"/>
                    </a:lnTo>
                    <a:lnTo>
                      <a:pt x="352" y="471"/>
                    </a:lnTo>
                    <a:lnTo>
                      <a:pt x="354" y="469"/>
                    </a:lnTo>
                    <a:lnTo>
                      <a:pt x="356" y="465"/>
                    </a:lnTo>
                    <a:lnTo>
                      <a:pt x="358" y="465"/>
                    </a:lnTo>
                    <a:lnTo>
                      <a:pt x="352" y="461"/>
                    </a:lnTo>
                    <a:lnTo>
                      <a:pt x="349" y="460"/>
                    </a:lnTo>
                    <a:lnTo>
                      <a:pt x="345" y="456"/>
                    </a:lnTo>
                    <a:lnTo>
                      <a:pt x="341" y="454"/>
                    </a:lnTo>
                    <a:lnTo>
                      <a:pt x="339" y="450"/>
                    </a:lnTo>
                    <a:lnTo>
                      <a:pt x="338" y="447"/>
                    </a:lnTo>
                    <a:lnTo>
                      <a:pt x="334" y="445"/>
                    </a:lnTo>
                    <a:lnTo>
                      <a:pt x="332" y="441"/>
                    </a:lnTo>
                    <a:lnTo>
                      <a:pt x="330" y="437"/>
                    </a:lnTo>
                    <a:lnTo>
                      <a:pt x="328" y="434"/>
                    </a:lnTo>
                    <a:lnTo>
                      <a:pt x="326" y="430"/>
                    </a:lnTo>
                    <a:lnTo>
                      <a:pt x="326" y="430"/>
                    </a:lnTo>
                    <a:lnTo>
                      <a:pt x="325" y="426"/>
                    </a:lnTo>
                    <a:lnTo>
                      <a:pt x="321" y="417"/>
                    </a:lnTo>
                    <a:lnTo>
                      <a:pt x="319" y="410"/>
                    </a:lnTo>
                    <a:lnTo>
                      <a:pt x="321" y="410"/>
                    </a:lnTo>
                    <a:lnTo>
                      <a:pt x="326" y="410"/>
                    </a:lnTo>
                    <a:lnTo>
                      <a:pt x="330" y="410"/>
                    </a:lnTo>
                    <a:lnTo>
                      <a:pt x="334" y="410"/>
                    </a:lnTo>
                    <a:lnTo>
                      <a:pt x="336" y="410"/>
                    </a:lnTo>
                    <a:lnTo>
                      <a:pt x="334" y="402"/>
                    </a:lnTo>
                    <a:lnTo>
                      <a:pt x="334" y="402"/>
                    </a:lnTo>
                    <a:lnTo>
                      <a:pt x="332" y="397"/>
                    </a:lnTo>
                    <a:lnTo>
                      <a:pt x="330" y="391"/>
                    </a:lnTo>
                    <a:lnTo>
                      <a:pt x="330" y="388"/>
                    </a:lnTo>
                    <a:lnTo>
                      <a:pt x="336" y="389"/>
                    </a:lnTo>
                    <a:lnTo>
                      <a:pt x="341" y="389"/>
                    </a:lnTo>
                    <a:lnTo>
                      <a:pt x="349" y="391"/>
                    </a:lnTo>
                    <a:lnTo>
                      <a:pt x="356" y="393"/>
                    </a:lnTo>
                    <a:lnTo>
                      <a:pt x="358" y="393"/>
                    </a:lnTo>
                    <a:lnTo>
                      <a:pt x="354" y="382"/>
                    </a:lnTo>
                    <a:lnTo>
                      <a:pt x="350" y="375"/>
                    </a:lnTo>
                    <a:lnTo>
                      <a:pt x="349" y="367"/>
                    </a:lnTo>
                    <a:lnTo>
                      <a:pt x="347" y="360"/>
                    </a:lnTo>
                    <a:lnTo>
                      <a:pt x="347" y="358"/>
                    </a:lnTo>
                    <a:lnTo>
                      <a:pt x="345" y="354"/>
                    </a:lnTo>
                    <a:lnTo>
                      <a:pt x="345" y="351"/>
                    </a:lnTo>
                    <a:lnTo>
                      <a:pt x="347" y="345"/>
                    </a:lnTo>
                    <a:lnTo>
                      <a:pt x="347" y="341"/>
                    </a:lnTo>
                    <a:lnTo>
                      <a:pt x="347" y="336"/>
                    </a:lnTo>
                    <a:lnTo>
                      <a:pt x="349" y="330"/>
                    </a:lnTo>
                    <a:lnTo>
                      <a:pt x="350" y="325"/>
                    </a:lnTo>
                    <a:lnTo>
                      <a:pt x="350" y="323"/>
                    </a:lnTo>
                    <a:lnTo>
                      <a:pt x="349" y="321"/>
                    </a:lnTo>
                    <a:lnTo>
                      <a:pt x="349" y="321"/>
                    </a:lnTo>
                    <a:lnTo>
                      <a:pt x="347" y="316"/>
                    </a:lnTo>
                    <a:lnTo>
                      <a:pt x="345" y="310"/>
                    </a:lnTo>
                    <a:lnTo>
                      <a:pt x="347" y="310"/>
                    </a:lnTo>
                    <a:lnTo>
                      <a:pt x="347" y="310"/>
                    </a:lnTo>
                    <a:lnTo>
                      <a:pt x="347" y="310"/>
                    </a:lnTo>
                    <a:lnTo>
                      <a:pt x="349" y="312"/>
                    </a:lnTo>
                    <a:lnTo>
                      <a:pt x="349" y="312"/>
                    </a:lnTo>
                    <a:lnTo>
                      <a:pt x="349" y="314"/>
                    </a:lnTo>
                    <a:lnTo>
                      <a:pt x="349" y="317"/>
                    </a:lnTo>
                    <a:lnTo>
                      <a:pt x="349" y="319"/>
                    </a:lnTo>
                    <a:lnTo>
                      <a:pt x="350" y="319"/>
                    </a:lnTo>
                    <a:lnTo>
                      <a:pt x="352" y="321"/>
                    </a:lnTo>
                    <a:lnTo>
                      <a:pt x="352" y="321"/>
                    </a:lnTo>
                    <a:lnTo>
                      <a:pt x="356" y="323"/>
                    </a:lnTo>
                    <a:lnTo>
                      <a:pt x="358" y="325"/>
                    </a:lnTo>
                    <a:lnTo>
                      <a:pt x="360" y="327"/>
                    </a:lnTo>
                    <a:lnTo>
                      <a:pt x="362" y="327"/>
                    </a:lnTo>
                    <a:lnTo>
                      <a:pt x="365" y="330"/>
                    </a:lnTo>
                    <a:lnTo>
                      <a:pt x="369" y="334"/>
                    </a:lnTo>
                    <a:lnTo>
                      <a:pt x="371" y="336"/>
                    </a:lnTo>
                    <a:lnTo>
                      <a:pt x="371" y="336"/>
                    </a:lnTo>
                    <a:lnTo>
                      <a:pt x="376" y="340"/>
                    </a:lnTo>
                    <a:lnTo>
                      <a:pt x="378" y="340"/>
                    </a:lnTo>
                    <a:lnTo>
                      <a:pt x="378" y="341"/>
                    </a:lnTo>
                    <a:lnTo>
                      <a:pt x="380" y="341"/>
                    </a:lnTo>
                    <a:lnTo>
                      <a:pt x="380" y="341"/>
                    </a:lnTo>
                    <a:lnTo>
                      <a:pt x="384" y="343"/>
                    </a:lnTo>
                    <a:lnTo>
                      <a:pt x="387" y="343"/>
                    </a:lnTo>
                    <a:lnTo>
                      <a:pt x="389" y="343"/>
                    </a:lnTo>
                    <a:lnTo>
                      <a:pt x="389" y="338"/>
                    </a:lnTo>
                    <a:lnTo>
                      <a:pt x="387" y="332"/>
                    </a:lnTo>
                    <a:lnTo>
                      <a:pt x="387" y="332"/>
                    </a:lnTo>
                    <a:lnTo>
                      <a:pt x="386" y="329"/>
                    </a:lnTo>
                    <a:lnTo>
                      <a:pt x="384" y="323"/>
                    </a:lnTo>
                    <a:lnTo>
                      <a:pt x="378" y="312"/>
                    </a:lnTo>
                    <a:lnTo>
                      <a:pt x="369" y="292"/>
                    </a:lnTo>
                    <a:lnTo>
                      <a:pt x="371" y="290"/>
                    </a:lnTo>
                    <a:lnTo>
                      <a:pt x="373" y="286"/>
                    </a:lnTo>
                    <a:lnTo>
                      <a:pt x="376" y="281"/>
                    </a:lnTo>
                    <a:lnTo>
                      <a:pt x="378" y="277"/>
                    </a:lnTo>
                    <a:lnTo>
                      <a:pt x="378" y="277"/>
                    </a:lnTo>
                    <a:lnTo>
                      <a:pt x="384" y="266"/>
                    </a:lnTo>
                    <a:lnTo>
                      <a:pt x="387" y="255"/>
                    </a:lnTo>
                    <a:lnTo>
                      <a:pt x="391" y="244"/>
                    </a:lnTo>
                    <a:lnTo>
                      <a:pt x="395" y="233"/>
                    </a:lnTo>
                    <a:lnTo>
                      <a:pt x="398" y="223"/>
                    </a:lnTo>
                    <a:lnTo>
                      <a:pt x="400" y="214"/>
                    </a:lnTo>
                    <a:lnTo>
                      <a:pt x="398" y="212"/>
                    </a:lnTo>
                    <a:lnTo>
                      <a:pt x="397" y="212"/>
                    </a:lnTo>
                    <a:lnTo>
                      <a:pt x="398" y="210"/>
                    </a:lnTo>
                    <a:lnTo>
                      <a:pt x="398" y="210"/>
                    </a:lnTo>
                    <a:lnTo>
                      <a:pt x="400" y="210"/>
                    </a:lnTo>
                    <a:lnTo>
                      <a:pt x="400" y="212"/>
                    </a:lnTo>
                    <a:lnTo>
                      <a:pt x="402" y="212"/>
                    </a:lnTo>
                    <a:lnTo>
                      <a:pt x="410" y="210"/>
                    </a:lnTo>
                    <a:lnTo>
                      <a:pt x="419" y="209"/>
                    </a:lnTo>
                    <a:lnTo>
                      <a:pt x="426" y="207"/>
                    </a:lnTo>
                    <a:lnTo>
                      <a:pt x="433" y="207"/>
                    </a:lnTo>
                    <a:lnTo>
                      <a:pt x="441" y="207"/>
                    </a:lnTo>
                    <a:lnTo>
                      <a:pt x="448" y="207"/>
                    </a:lnTo>
                    <a:lnTo>
                      <a:pt x="456" y="207"/>
                    </a:lnTo>
                    <a:lnTo>
                      <a:pt x="465" y="207"/>
                    </a:lnTo>
                    <a:lnTo>
                      <a:pt x="467" y="207"/>
                    </a:lnTo>
                    <a:lnTo>
                      <a:pt x="465" y="203"/>
                    </a:lnTo>
                    <a:lnTo>
                      <a:pt x="463" y="199"/>
                    </a:lnTo>
                    <a:lnTo>
                      <a:pt x="463" y="199"/>
                    </a:lnTo>
                    <a:lnTo>
                      <a:pt x="463" y="199"/>
                    </a:lnTo>
                    <a:lnTo>
                      <a:pt x="461" y="196"/>
                    </a:lnTo>
                    <a:lnTo>
                      <a:pt x="461" y="194"/>
                    </a:lnTo>
                    <a:lnTo>
                      <a:pt x="461" y="194"/>
                    </a:lnTo>
                    <a:lnTo>
                      <a:pt x="457" y="192"/>
                    </a:lnTo>
                    <a:lnTo>
                      <a:pt x="454" y="190"/>
                    </a:lnTo>
                    <a:lnTo>
                      <a:pt x="452" y="190"/>
                    </a:lnTo>
                    <a:lnTo>
                      <a:pt x="450" y="188"/>
                    </a:lnTo>
                    <a:lnTo>
                      <a:pt x="448" y="185"/>
                    </a:lnTo>
                    <a:lnTo>
                      <a:pt x="448" y="181"/>
                    </a:lnTo>
                    <a:lnTo>
                      <a:pt x="448" y="177"/>
                    </a:lnTo>
                    <a:lnTo>
                      <a:pt x="448" y="174"/>
                    </a:lnTo>
                    <a:lnTo>
                      <a:pt x="448" y="174"/>
                    </a:lnTo>
                    <a:lnTo>
                      <a:pt x="445" y="174"/>
                    </a:lnTo>
                    <a:lnTo>
                      <a:pt x="439" y="174"/>
                    </a:lnTo>
                    <a:lnTo>
                      <a:pt x="435" y="174"/>
                    </a:lnTo>
                    <a:lnTo>
                      <a:pt x="433" y="174"/>
                    </a:lnTo>
                    <a:lnTo>
                      <a:pt x="433" y="172"/>
                    </a:lnTo>
                    <a:lnTo>
                      <a:pt x="432" y="170"/>
                    </a:lnTo>
                    <a:lnTo>
                      <a:pt x="433" y="170"/>
                    </a:lnTo>
                    <a:lnTo>
                      <a:pt x="433" y="168"/>
                    </a:lnTo>
                    <a:lnTo>
                      <a:pt x="435" y="166"/>
                    </a:lnTo>
                    <a:lnTo>
                      <a:pt x="441" y="164"/>
                    </a:lnTo>
                    <a:lnTo>
                      <a:pt x="441" y="164"/>
                    </a:lnTo>
                    <a:lnTo>
                      <a:pt x="441" y="153"/>
                    </a:lnTo>
                    <a:lnTo>
                      <a:pt x="441" y="144"/>
                    </a:lnTo>
                    <a:lnTo>
                      <a:pt x="439" y="137"/>
                    </a:lnTo>
                    <a:lnTo>
                      <a:pt x="437" y="129"/>
                    </a:lnTo>
                    <a:lnTo>
                      <a:pt x="435" y="120"/>
                    </a:lnTo>
                    <a:lnTo>
                      <a:pt x="435" y="111"/>
                    </a:lnTo>
                    <a:lnTo>
                      <a:pt x="433" y="100"/>
                    </a:lnTo>
                    <a:lnTo>
                      <a:pt x="432" y="85"/>
                    </a:lnTo>
                    <a:lnTo>
                      <a:pt x="428" y="85"/>
                    </a:lnTo>
                    <a:lnTo>
                      <a:pt x="424" y="83"/>
                    </a:lnTo>
                    <a:lnTo>
                      <a:pt x="424" y="83"/>
                    </a:lnTo>
                    <a:lnTo>
                      <a:pt x="419" y="83"/>
                    </a:lnTo>
                    <a:lnTo>
                      <a:pt x="417" y="81"/>
                    </a:lnTo>
                    <a:lnTo>
                      <a:pt x="417" y="78"/>
                    </a:lnTo>
                    <a:lnTo>
                      <a:pt x="415" y="74"/>
                    </a:lnTo>
                    <a:lnTo>
                      <a:pt x="415" y="70"/>
                    </a:lnTo>
                    <a:lnTo>
                      <a:pt x="415" y="70"/>
                    </a:lnTo>
                    <a:lnTo>
                      <a:pt x="415" y="66"/>
                    </a:lnTo>
                    <a:lnTo>
                      <a:pt x="415" y="66"/>
                    </a:lnTo>
                    <a:lnTo>
                      <a:pt x="413" y="65"/>
                    </a:lnTo>
                    <a:lnTo>
                      <a:pt x="413" y="65"/>
                    </a:lnTo>
                    <a:lnTo>
                      <a:pt x="413" y="65"/>
                    </a:lnTo>
                    <a:lnTo>
                      <a:pt x="410" y="61"/>
                    </a:lnTo>
                    <a:lnTo>
                      <a:pt x="408" y="59"/>
                    </a:lnTo>
                    <a:lnTo>
                      <a:pt x="411" y="57"/>
                    </a:lnTo>
                    <a:lnTo>
                      <a:pt x="415" y="54"/>
                    </a:lnTo>
                    <a:lnTo>
                      <a:pt x="415" y="54"/>
                    </a:lnTo>
                    <a:lnTo>
                      <a:pt x="415" y="48"/>
                    </a:lnTo>
                    <a:lnTo>
                      <a:pt x="413" y="44"/>
                    </a:lnTo>
                    <a:lnTo>
                      <a:pt x="413" y="41"/>
                    </a:lnTo>
                    <a:lnTo>
                      <a:pt x="413" y="41"/>
                    </a:lnTo>
                    <a:lnTo>
                      <a:pt x="411" y="37"/>
                    </a:lnTo>
                    <a:lnTo>
                      <a:pt x="411" y="37"/>
                    </a:lnTo>
                    <a:lnTo>
                      <a:pt x="410" y="35"/>
                    </a:lnTo>
                    <a:lnTo>
                      <a:pt x="410" y="35"/>
                    </a:lnTo>
                    <a:lnTo>
                      <a:pt x="408" y="31"/>
                    </a:lnTo>
                    <a:lnTo>
                      <a:pt x="404" y="28"/>
                    </a:lnTo>
                    <a:lnTo>
                      <a:pt x="402" y="24"/>
                    </a:lnTo>
                    <a:lnTo>
                      <a:pt x="404" y="20"/>
                    </a:lnTo>
                    <a:lnTo>
                      <a:pt x="404" y="20"/>
                    </a:lnTo>
                    <a:lnTo>
                      <a:pt x="404" y="18"/>
                    </a:lnTo>
                    <a:lnTo>
                      <a:pt x="406" y="17"/>
                    </a:lnTo>
                    <a:lnTo>
                      <a:pt x="406" y="17"/>
                    </a:lnTo>
                    <a:lnTo>
                      <a:pt x="406" y="15"/>
                    </a:lnTo>
                    <a:lnTo>
                      <a:pt x="406" y="15"/>
                    </a:lnTo>
                    <a:lnTo>
                      <a:pt x="406" y="11"/>
                    </a:lnTo>
                    <a:lnTo>
                      <a:pt x="406" y="9"/>
                    </a:lnTo>
                    <a:lnTo>
                      <a:pt x="406" y="9"/>
                    </a:lnTo>
                    <a:lnTo>
                      <a:pt x="406" y="4"/>
                    </a:lnTo>
                    <a:lnTo>
                      <a:pt x="40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1" name="Freeform 3342"/>
              <p:cNvSpPr>
                <a:spLocks/>
              </p:cNvSpPr>
              <p:nvPr/>
            </p:nvSpPr>
            <p:spPr bwMode="auto">
              <a:xfrm>
                <a:off x="8016430" y="2459583"/>
                <a:ext cx="1479" cy="3024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2" name="Freeform 3343"/>
              <p:cNvSpPr>
                <a:spLocks/>
              </p:cNvSpPr>
              <p:nvPr/>
            </p:nvSpPr>
            <p:spPr bwMode="auto">
              <a:xfrm>
                <a:off x="7878886" y="2278117"/>
                <a:ext cx="451086" cy="949671"/>
              </a:xfrm>
              <a:custGeom>
                <a:avLst/>
                <a:gdLst>
                  <a:gd name="T0" fmla="*/ 65 w 305"/>
                  <a:gd name="T1" fmla="*/ 31 h 628"/>
                  <a:gd name="T2" fmla="*/ 74 w 305"/>
                  <a:gd name="T3" fmla="*/ 70 h 628"/>
                  <a:gd name="T4" fmla="*/ 85 w 305"/>
                  <a:gd name="T5" fmla="*/ 83 h 628"/>
                  <a:gd name="T6" fmla="*/ 102 w 305"/>
                  <a:gd name="T7" fmla="*/ 89 h 628"/>
                  <a:gd name="T8" fmla="*/ 109 w 305"/>
                  <a:gd name="T9" fmla="*/ 105 h 628"/>
                  <a:gd name="T10" fmla="*/ 100 w 305"/>
                  <a:gd name="T11" fmla="*/ 109 h 628"/>
                  <a:gd name="T12" fmla="*/ 95 w 305"/>
                  <a:gd name="T13" fmla="*/ 116 h 628"/>
                  <a:gd name="T14" fmla="*/ 74 w 305"/>
                  <a:gd name="T15" fmla="*/ 109 h 628"/>
                  <a:gd name="T16" fmla="*/ 59 w 305"/>
                  <a:gd name="T17" fmla="*/ 91 h 628"/>
                  <a:gd name="T18" fmla="*/ 37 w 305"/>
                  <a:gd name="T19" fmla="*/ 70 h 628"/>
                  <a:gd name="T20" fmla="*/ 0 w 305"/>
                  <a:gd name="T21" fmla="*/ 57 h 628"/>
                  <a:gd name="T22" fmla="*/ 37 w 305"/>
                  <a:gd name="T23" fmla="*/ 59 h 628"/>
                  <a:gd name="T24" fmla="*/ 59 w 305"/>
                  <a:gd name="T25" fmla="*/ 81 h 628"/>
                  <a:gd name="T26" fmla="*/ 61 w 305"/>
                  <a:gd name="T27" fmla="*/ 98 h 628"/>
                  <a:gd name="T28" fmla="*/ 83 w 305"/>
                  <a:gd name="T29" fmla="*/ 115 h 628"/>
                  <a:gd name="T30" fmla="*/ 98 w 305"/>
                  <a:gd name="T31" fmla="*/ 120 h 628"/>
                  <a:gd name="T32" fmla="*/ 104 w 305"/>
                  <a:gd name="T33" fmla="*/ 107 h 628"/>
                  <a:gd name="T34" fmla="*/ 113 w 305"/>
                  <a:gd name="T35" fmla="*/ 100 h 628"/>
                  <a:gd name="T36" fmla="*/ 95 w 305"/>
                  <a:gd name="T37" fmla="*/ 87 h 628"/>
                  <a:gd name="T38" fmla="*/ 76 w 305"/>
                  <a:gd name="T39" fmla="*/ 68 h 628"/>
                  <a:gd name="T40" fmla="*/ 63 w 305"/>
                  <a:gd name="T41" fmla="*/ 44 h 628"/>
                  <a:gd name="T42" fmla="*/ 100 w 305"/>
                  <a:gd name="T43" fmla="*/ 6 h 628"/>
                  <a:gd name="T44" fmla="*/ 89 w 305"/>
                  <a:gd name="T45" fmla="*/ 22 h 628"/>
                  <a:gd name="T46" fmla="*/ 117 w 305"/>
                  <a:gd name="T47" fmla="*/ 57 h 628"/>
                  <a:gd name="T48" fmla="*/ 130 w 305"/>
                  <a:gd name="T49" fmla="*/ 79 h 628"/>
                  <a:gd name="T50" fmla="*/ 154 w 305"/>
                  <a:gd name="T51" fmla="*/ 103 h 628"/>
                  <a:gd name="T52" fmla="*/ 174 w 305"/>
                  <a:gd name="T53" fmla="*/ 120 h 628"/>
                  <a:gd name="T54" fmla="*/ 166 w 305"/>
                  <a:gd name="T55" fmla="*/ 161 h 628"/>
                  <a:gd name="T56" fmla="*/ 200 w 305"/>
                  <a:gd name="T57" fmla="*/ 332 h 628"/>
                  <a:gd name="T58" fmla="*/ 216 w 305"/>
                  <a:gd name="T59" fmla="*/ 377 h 628"/>
                  <a:gd name="T60" fmla="*/ 220 w 305"/>
                  <a:gd name="T61" fmla="*/ 425 h 628"/>
                  <a:gd name="T62" fmla="*/ 207 w 305"/>
                  <a:gd name="T63" fmla="*/ 447 h 628"/>
                  <a:gd name="T64" fmla="*/ 211 w 305"/>
                  <a:gd name="T65" fmla="*/ 467 h 628"/>
                  <a:gd name="T66" fmla="*/ 192 w 305"/>
                  <a:gd name="T67" fmla="*/ 478 h 628"/>
                  <a:gd name="T68" fmla="*/ 214 w 305"/>
                  <a:gd name="T69" fmla="*/ 502 h 628"/>
                  <a:gd name="T70" fmla="*/ 231 w 305"/>
                  <a:gd name="T71" fmla="*/ 524 h 628"/>
                  <a:gd name="T72" fmla="*/ 242 w 305"/>
                  <a:gd name="T73" fmla="*/ 581 h 628"/>
                  <a:gd name="T74" fmla="*/ 253 w 305"/>
                  <a:gd name="T75" fmla="*/ 605 h 628"/>
                  <a:gd name="T76" fmla="*/ 275 w 305"/>
                  <a:gd name="T77" fmla="*/ 628 h 628"/>
                  <a:gd name="T78" fmla="*/ 296 w 305"/>
                  <a:gd name="T79" fmla="*/ 616 h 628"/>
                  <a:gd name="T80" fmla="*/ 275 w 305"/>
                  <a:gd name="T81" fmla="*/ 626 h 628"/>
                  <a:gd name="T82" fmla="*/ 248 w 305"/>
                  <a:gd name="T83" fmla="*/ 591 h 628"/>
                  <a:gd name="T84" fmla="*/ 240 w 305"/>
                  <a:gd name="T85" fmla="*/ 561 h 628"/>
                  <a:gd name="T86" fmla="*/ 231 w 305"/>
                  <a:gd name="T87" fmla="*/ 519 h 628"/>
                  <a:gd name="T88" fmla="*/ 214 w 305"/>
                  <a:gd name="T89" fmla="*/ 500 h 628"/>
                  <a:gd name="T90" fmla="*/ 198 w 305"/>
                  <a:gd name="T91" fmla="*/ 478 h 628"/>
                  <a:gd name="T92" fmla="*/ 211 w 305"/>
                  <a:gd name="T93" fmla="*/ 467 h 628"/>
                  <a:gd name="T94" fmla="*/ 207 w 305"/>
                  <a:gd name="T95" fmla="*/ 454 h 628"/>
                  <a:gd name="T96" fmla="*/ 214 w 305"/>
                  <a:gd name="T97" fmla="*/ 439 h 628"/>
                  <a:gd name="T98" fmla="*/ 222 w 305"/>
                  <a:gd name="T99" fmla="*/ 419 h 628"/>
                  <a:gd name="T100" fmla="*/ 214 w 305"/>
                  <a:gd name="T101" fmla="*/ 367 h 628"/>
                  <a:gd name="T102" fmla="*/ 185 w 305"/>
                  <a:gd name="T103" fmla="*/ 258 h 628"/>
                  <a:gd name="T104" fmla="*/ 165 w 305"/>
                  <a:gd name="T105" fmla="*/ 137 h 628"/>
                  <a:gd name="T106" fmla="*/ 176 w 305"/>
                  <a:gd name="T107" fmla="*/ 113 h 628"/>
                  <a:gd name="T108" fmla="*/ 154 w 305"/>
                  <a:gd name="T109" fmla="*/ 85 h 628"/>
                  <a:gd name="T110" fmla="*/ 128 w 305"/>
                  <a:gd name="T111" fmla="*/ 72 h 628"/>
                  <a:gd name="T112" fmla="*/ 119 w 305"/>
                  <a:gd name="T113" fmla="*/ 57 h 628"/>
                  <a:gd name="T114" fmla="*/ 91 w 305"/>
                  <a:gd name="T115" fmla="*/ 30 h 628"/>
                  <a:gd name="T116" fmla="*/ 102 w 305"/>
                  <a:gd name="T117" fmla="*/ 6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5" h="628">
                    <a:moveTo>
                      <a:pt x="98" y="0"/>
                    </a:moveTo>
                    <a:lnTo>
                      <a:pt x="93" y="2"/>
                    </a:lnTo>
                    <a:lnTo>
                      <a:pt x="85" y="4"/>
                    </a:lnTo>
                    <a:lnTo>
                      <a:pt x="80" y="7"/>
                    </a:lnTo>
                    <a:lnTo>
                      <a:pt x="74" y="9"/>
                    </a:lnTo>
                    <a:lnTo>
                      <a:pt x="72" y="9"/>
                    </a:lnTo>
                    <a:lnTo>
                      <a:pt x="69" y="20"/>
                    </a:lnTo>
                    <a:lnTo>
                      <a:pt x="65" y="31"/>
                    </a:lnTo>
                    <a:lnTo>
                      <a:pt x="61" y="43"/>
                    </a:lnTo>
                    <a:lnTo>
                      <a:pt x="58" y="55"/>
                    </a:lnTo>
                    <a:lnTo>
                      <a:pt x="65" y="55"/>
                    </a:lnTo>
                    <a:lnTo>
                      <a:pt x="71" y="55"/>
                    </a:lnTo>
                    <a:lnTo>
                      <a:pt x="71" y="59"/>
                    </a:lnTo>
                    <a:lnTo>
                      <a:pt x="72" y="63"/>
                    </a:lnTo>
                    <a:lnTo>
                      <a:pt x="72" y="67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6" y="74"/>
                    </a:lnTo>
                    <a:lnTo>
                      <a:pt x="78" y="76"/>
                    </a:lnTo>
                    <a:lnTo>
                      <a:pt x="80" y="78"/>
                    </a:lnTo>
                    <a:lnTo>
                      <a:pt x="80" y="79"/>
                    </a:lnTo>
                    <a:lnTo>
                      <a:pt x="82" y="81"/>
                    </a:lnTo>
                    <a:lnTo>
                      <a:pt x="85" y="83"/>
                    </a:lnTo>
                    <a:lnTo>
                      <a:pt x="85" y="83"/>
                    </a:lnTo>
                    <a:lnTo>
                      <a:pt x="87" y="85"/>
                    </a:lnTo>
                    <a:lnTo>
                      <a:pt x="87" y="85"/>
                    </a:lnTo>
                    <a:lnTo>
                      <a:pt x="91" y="87"/>
                    </a:lnTo>
                    <a:lnTo>
                      <a:pt x="93" y="87"/>
                    </a:lnTo>
                    <a:lnTo>
                      <a:pt x="95" y="87"/>
                    </a:lnTo>
                    <a:lnTo>
                      <a:pt x="98" y="89"/>
                    </a:lnTo>
                    <a:lnTo>
                      <a:pt x="98" y="89"/>
                    </a:lnTo>
                    <a:lnTo>
                      <a:pt x="102" y="89"/>
                    </a:lnTo>
                    <a:lnTo>
                      <a:pt x="102" y="89"/>
                    </a:lnTo>
                    <a:lnTo>
                      <a:pt x="106" y="89"/>
                    </a:lnTo>
                    <a:lnTo>
                      <a:pt x="109" y="89"/>
                    </a:lnTo>
                    <a:lnTo>
                      <a:pt x="109" y="92"/>
                    </a:lnTo>
                    <a:lnTo>
                      <a:pt x="111" y="96"/>
                    </a:lnTo>
                    <a:lnTo>
                      <a:pt x="111" y="100"/>
                    </a:lnTo>
                    <a:lnTo>
                      <a:pt x="111" y="103"/>
                    </a:lnTo>
                    <a:lnTo>
                      <a:pt x="109" y="105"/>
                    </a:lnTo>
                    <a:lnTo>
                      <a:pt x="109" y="105"/>
                    </a:lnTo>
                    <a:lnTo>
                      <a:pt x="106" y="107"/>
                    </a:lnTo>
                    <a:lnTo>
                      <a:pt x="106" y="107"/>
                    </a:lnTo>
                    <a:lnTo>
                      <a:pt x="104" y="105"/>
                    </a:lnTo>
                    <a:lnTo>
                      <a:pt x="104" y="105"/>
                    </a:lnTo>
                    <a:lnTo>
                      <a:pt x="102" y="107"/>
                    </a:lnTo>
                    <a:lnTo>
                      <a:pt x="102" y="107"/>
                    </a:lnTo>
                    <a:lnTo>
                      <a:pt x="100" y="109"/>
                    </a:lnTo>
                    <a:lnTo>
                      <a:pt x="100" y="109"/>
                    </a:lnTo>
                    <a:lnTo>
                      <a:pt x="102" y="111"/>
                    </a:lnTo>
                    <a:lnTo>
                      <a:pt x="102" y="111"/>
                    </a:lnTo>
                    <a:lnTo>
                      <a:pt x="100" y="115"/>
                    </a:lnTo>
                    <a:lnTo>
                      <a:pt x="98" y="118"/>
                    </a:lnTo>
                    <a:lnTo>
                      <a:pt x="96" y="118"/>
                    </a:lnTo>
                    <a:lnTo>
                      <a:pt x="96" y="118"/>
                    </a:lnTo>
                    <a:lnTo>
                      <a:pt x="95" y="116"/>
                    </a:lnTo>
                    <a:lnTo>
                      <a:pt x="93" y="116"/>
                    </a:lnTo>
                    <a:lnTo>
                      <a:pt x="93" y="118"/>
                    </a:lnTo>
                    <a:lnTo>
                      <a:pt x="93" y="118"/>
                    </a:lnTo>
                    <a:lnTo>
                      <a:pt x="91" y="118"/>
                    </a:lnTo>
                    <a:lnTo>
                      <a:pt x="87" y="116"/>
                    </a:lnTo>
                    <a:lnTo>
                      <a:pt x="83" y="115"/>
                    </a:lnTo>
                    <a:lnTo>
                      <a:pt x="78" y="111"/>
                    </a:lnTo>
                    <a:lnTo>
                      <a:pt x="74" y="109"/>
                    </a:lnTo>
                    <a:lnTo>
                      <a:pt x="74" y="103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67" y="98"/>
                    </a:lnTo>
                    <a:lnTo>
                      <a:pt x="63" y="98"/>
                    </a:lnTo>
                    <a:lnTo>
                      <a:pt x="61" y="96"/>
                    </a:lnTo>
                    <a:lnTo>
                      <a:pt x="59" y="94"/>
                    </a:lnTo>
                    <a:lnTo>
                      <a:pt x="59" y="91"/>
                    </a:lnTo>
                    <a:lnTo>
                      <a:pt x="59" y="87"/>
                    </a:lnTo>
                    <a:lnTo>
                      <a:pt x="59" y="81"/>
                    </a:lnTo>
                    <a:lnTo>
                      <a:pt x="59" y="76"/>
                    </a:lnTo>
                    <a:lnTo>
                      <a:pt x="59" y="76"/>
                    </a:lnTo>
                    <a:lnTo>
                      <a:pt x="54" y="74"/>
                    </a:lnTo>
                    <a:lnTo>
                      <a:pt x="48" y="72"/>
                    </a:lnTo>
                    <a:lnTo>
                      <a:pt x="43" y="72"/>
                    </a:lnTo>
                    <a:lnTo>
                      <a:pt x="37" y="70"/>
                    </a:lnTo>
                    <a:lnTo>
                      <a:pt x="37" y="65"/>
                    </a:lnTo>
                    <a:lnTo>
                      <a:pt x="37" y="59"/>
                    </a:lnTo>
                    <a:lnTo>
                      <a:pt x="37" y="59"/>
                    </a:lnTo>
                    <a:lnTo>
                      <a:pt x="28" y="59"/>
                    </a:lnTo>
                    <a:lnTo>
                      <a:pt x="21" y="59"/>
                    </a:lnTo>
                    <a:lnTo>
                      <a:pt x="11" y="59"/>
                    </a:lnTo>
                    <a:lnTo>
                      <a:pt x="4" y="61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7"/>
                    </a:lnTo>
                    <a:lnTo>
                      <a:pt x="4" y="61"/>
                    </a:lnTo>
                    <a:lnTo>
                      <a:pt x="11" y="59"/>
                    </a:lnTo>
                    <a:lnTo>
                      <a:pt x="21" y="59"/>
                    </a:lnTo>
                    <a:lnTo>
                      <a:pt x="28" y="59"/>
                    </a:lnTo>
                    <a:lnTo>
                      <a:pt x="37" y="59"/>
                    </a:lnTo>
                    <a:lnTo>
                      <a:pt x="37" y="59"/>
                    </a:lnTo>
                    <a:lnTo>
                      <a:pt x="37" y="65"/>
                    </a:lnTo>
                    <a:lnTo>
                      <a:pt x="37" y="70"/>
                    </a:lnTo>
                    <a:lnTo>
                      <a:pt x="43" y="72"/>
                    </a:lnTo>
                    <a:lnTo>
                      <a:pt x="48" y="72"/>
                    </a:lnTo>
                    <a:lnTo>
                      <a:pt x="54" y="74"/>
                    </a:lnTo>
                    <a:lnTo>
                      <a:pt x="59" y="76"/>
                    </a:lnTo>
                    <a:lnTo>
                      <a:pt x="59" y="76"/>
                    </a:lnTo>
                    <a:lnTo>
                      <a:pt x="59" y="81"/>
                    </a:lnTo>
                    <a:lnTo>
                      <a:pt x="59" y="87"/>
                    </a:lnTo>
                    <a:lnTo>
                      <a:pt x="59" y="91"/>
                    </a:lnTo>
                    <a:lnTo>
                      <a:pt x="59" y="96"/>
                    </a:lnTo>
                    <a:lnTo>
                      <a:pt x="59" y="96"/>
                    </a:lnTo>
                    <a:lnTo>
                      <a:pt x="59" y="96"/>
                    </a:lnTo>
                    <a:lnTo>
                      <a:pt x="59" y="98"/>
                    </a:lnTo>
                    <a:lnTo>
                      <a:pt x="61" y="98"/>
                    </a:lnTo>
                    <a:lnTo>
                      <a:pt x="61" y="98"/>
                    </a:lnTo>
                    <a:lnTo>
                      <a:pt x="61" y="98"/>
                    </a:lnTo>
                    <a:lnTo>
                      <a:pt x="67" y="98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103"/>
                    </a:lnTo>
                    <a:lnTo>
                      <a:pt x="74" y="109"/>
                    </a:lnTo>
                    <a:lnTo>
                      <a:pt x="78" y="111"/>
                    </a:lnTo>
                    <a:lnTo>
                      <a:pt x="83" y="115"/>
                    </a:lnTo>
                    <a:lnTo>
                      <a:pt x="87" y="116"/>
                    </a:lnTo>
                    <a:lnTo>
                      <a:pt x="93" y="120"/>
                    </a:lnTo>
                    <a:lnTo>
                      <a:pt x="93" y="120"/>
                    </a:lnTo>
                    <a:lnTo>
                      <a:pt x="93" y="118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96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2" y="116"/>
                    </a:lnTo>
                    <a:lnTo>
                      <a:pt x="104" y="113"/>
                    </a:lnTo>
                    <a:lnTo>
                      <a:pt x="104" y="111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2" y="107"/>
                    </a:lnTo>
                    <a:lnTo>
                      <a:pt x="104" y="107"/>
                    </a:lnTo>
                    <a:lnTo>
                      <a:pt x="104" y="107"/>
                    </a:lnTo>
                    <a:lnTo>
                      <a:pt x="106" y="109"/>
                    </a:lnTo>
                    <a:lnTo>
                      <a:pt x="106" y="111"/>
                    </a:lnTo>
                    <a:lnTo>
                      <a:pt x="107" y="109"/>
                    </a:lnTo>
                    <a:lnTo>
                      <a:pt x="109" y="107"/>
                    </a:lnTo>
                    <a:lnTo>
                      <a:pt x="113" y="105"/>
                    </a:lnTo>
                    <a:lnTo>
                      <a:pt x="113" y="105"/>
                    </a:lnTo>
                    <a:lnTo>
                      <a:pt x="113" y="100"/>
                    </a:lnTo>
                    <a:lnTo>
                      <a:pt x="111" y="96"/>
                    </a:lnTo>
                    <a:lnTo>
                      <a:pt x="111" y="92"/>
                    </a:lnTo>
                    <a:lnTo>
                      <a:pt x="111" y="89"/>
                    </a:lnTo>
                    <a:lnTo>
                      <a:pt x="111" y="87"/>
                    </a:lnTo>
                    <a:lnTo>
                      <a:pt x="106" y="87"/>
                    </a:lnTo>
                    <a:lnTo>
                      <a:pt x="102" y="87"/>
                    </a:lnTo>
                    <a:lnTo>
                      <a:pt x="98" y="87"/>
                    </a:lnTo>
                    <a:lnTo>
                      <a:pt x="95" y="87"/>
                    </a:lnTo>
                    <a:lnTo>
                      <a:pt x="91" y="85"/>
                    </a:lnTo>
                    <a:lnTo>
                      <a:pt x="87" y="83"/>
                    </a:lnTo>
                    <a:lnTo>
                      <a:pt x="85" y="81"/>
                    </a:lnTo>
                    <a:lnTo>
                      <a:pt x="83" y="79"/>
                    </a:lnTo>
                    <a:lnTo>
                      <a:pt x="82" y="78"/>
                    </a:lnTo>
                    <a:lnTo>
                      <a:pt x="80" y="76"/>
                    </a:lnTo>
                    <a:lnTo>
                      <a:pt x="78" y="72"/>
                    </a:lnTo>
                    <a:lnTo>
                      <a:pt x="76" y="68"/>
                    </a:lnTo>
                    <a:lnTo>
                      <a:pt x="74" y="67"/>
                    </a:lnTo>
                    <a:lnTo>
                      <a:pt x="72" y="63"/>
                    </a:lnTo>
                    <a:lnTo>
                      <a:pt x="72" y="59"/>
                    </a:lnTo>
                    <a:lnTo>
                      <a:pt x="71" y="55"/>
                    </a:lnTo>
                    <a:lnTo>
                      <a:pt x="71" y="54"/>
                    </a:lnTo>
                    <a:lnTo>
                      <a:pt x="65" y="54"/>
                    </a:lnTo>
                    <a:lnTo>
                      <a:pt x="59" y="54"/>
                    </a:lnTo>
                    <a:lnTo>
                      <a:pt x="63" y="44"/>
                    </a:lnTo>
                    <a:lnTo>
                      <a:pt x="67" y="31"/>
                    </a:lnTo>
                    <a:lnTo>
                      <a:pt x="71" y="20"/>
                    </a:lnTo>
                    <a:lnTo>
                      <a:pt x="74" y="9"/>
                    </a:lnTo>
                    <a:lnTo>
                      <a:pt x="80" y="7"/>
                    </a:lnTo>
                    <a:lnTo>
                      <a:pt x="85" y="6"/>
                    </a:lnTo>
                    <a:lnTo>
                      <a:pt x="93" y="4"/>
                    </a:lnTo>
                    <a:lnTo>
                      <a:pt x="98" y="2"/>
                    </a:lnTo>
                    <a:lnTo>
                      <a:pt x="100" y="6"/>
                    </a:lnTo>
                    <a:lnTo>
                      <a:pt x="102" y="11"/>
                    </a:lnTo>
                    <a:lnTo>
                      <a:pt x="100" y="11"/>
                    </a:lnTo>
                    <a:lnTo>
                      <a:pt x="96" y="11"/>
                    </a:lnTo>
                    <a:lnTo>
                      <a:pt x="96" y="11"/>
                    </a:lnTo>
                    <a:lnTo>
                      <a:pt x="93" y="13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22"/>
                    </a:lnTo>
                    <a:lnTo>
                      <a:pt x="91" y="30"/>
                    </a:lnTo>
                    <a:lnTo>
                      <a:pt x="91" y="37"/>
                    </a:lnTo>
                    <a:lnTo>
                      <a:pt x="91" y="44"/>
                    </a:lnTo>
                    <a:lnTo>
                      <a:pt x="91" y="44"/>
                    </a:lnTo>
                    <a:lnTo>
                      <a:pt x="98" y="48"/>
                    </a:lnTo>
                    <a:lnTo>
                      <a:pt x="106" y="52"/>
                    </a:lnTo>
                    <a:lnTo>
                      <a:pt x="111" y="54"/>
                    </a:lnTo>
                    <a:lnTo>
                      <a:pt x="117" y="57"/>
                    </a:lnTo>
                    <a:lnTo>
                      <a:pt x="119" y="59"/>
                    </a:lnTo>
                    <a:lnTo>
                      <a:pt x="120" y="61"/>
                    </a:lnTo>
                    <a:lnTo>
                      <a:pt x="122" y="65"/>
                    </a:lnTo>
                    <a:lnTo>
                      <a:pt x="124" y="67"/>
                    </a:lnTo>
                    <a:lnTo>
                      <a:pt x="126" y="68"/>
                    </a:lnTo>
                    <a:lnTo>
                      <a:pt x="128" y="72"/>
                    </a:lnTo>
                    <a:lnTo>
                      <a:pt x="128" y="76"/>
                    </a:lnTo>
                    <a:lnTo>
                      <a:pt x="130" y="79"/>
                    </a:lnTo>
                    <a:lnTo>
                      <a:pt x="130" y="79"/>
                    </a:lnTo>
                    <a:lnTo>
                      <a:pt x="135" y="81"/>
                    </a:lnTo>
                    <a:lnTo>
                      <a:pt x="142" y="83"/>
                    </a:lnTo>
                    <a:lnTo>
                      <a:pt x="148" y="85"/>
                    </a:lnTo>
                    <a:lnTo>
                      <a:pt x="154" y="85"/>
                    </a:lnTo>
                    <a:lnTo>
                      <a:pt x="154" y="91"/>
                    </a:lnTo>
                    <a:lnTo>
                      <a:pt x="154" y="96"/>
                    </a:lnTo>
                    <a:lnTo>
                      <a:pt x="154" y="103"/>
                    </a:lnTo>
                    <a:lnTo>
                      <a:pt x="154" y="103"/>
                    </a:lnTo>
                    <a:lnTo>
                      <a:pt x="155" y="109"/>
                    </a:lnTo>
                    <a:lnTo>
                      <a:pt x="155" y="109"/>
                    </a:lnTo>
                    <a:lnTo>
                      <a:pt x="159" y="111"/>
                    </a:lnTo>
                    <a:lnTo>
                      <a:pt x="165" y="111"/>
                    </a:lnTo>
                    <a:lnTo>
                      <a:pt x="170" y="113"/>
                    </a:lnTo>
                    <a:lnTo>
                      <a:pt x="174" y="115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4" y="131"/>
                    </a:lnTo>
                    <a:lnTo>
                      <a:pt x="174" y="135"/>
                    </a:lnTo>
                    <a:lnTo>
                      <a:pt x="170" y="135"/>
                    </a:lnTo>
                    <a:lnTo>
                      <a:pt x="163" y="135"/>
                    </a:lnTo>
                    <a:lnTo>
                      <a:pt x="163" y="135"/>
                    </a:lnTo>
                    <a:lnTo>
                      <a:pt x="165" y="148"/>
                    </a:lnTo>
                    <a:lnTo>
                      <a:pt x="166" y="161"/>
                    </a:lnTo>
                    <a:lnTo>
                      <a:pt x="168" y="174"/>
                    </a:lnTo>
                    <a:lnTo>
                      <a:pt x="170" y="185"/>
                    </a:lnTo>
                    <a:lnTo>
                      <a:pt x="174" y="210"/>
                    </a:lnTo>
                    <a:lnTo>
                      <a:pt x="179" y="234"/>
                    </a:lnTo>
                    <a:lnTo>
                      <a:pt x="185" y="258"/>
                    </a:lnTo>
                    <a:lnTo>
                      <a:pt x="189" y="282"/>
                    </a:lnTo>
                    <a:lnTo>
                      <a:pt x="194" y="306"/>
                    </a:lnTo>
                    <a:lnTo>
                      <a:pt x="200" y="332"/>
                    </a:lnTo>
                    <a:lnTo>
                      <a:pt x="202" y="338"/>
                    </a:lnTo>
                    <a:lnTo>
                      <a:pt x="205" y="345"/>
                    </a:lnTo>
                    <a:lnTo>
                      <a:pt x="205" y="345"/>
                    </a:lnTo>
                    <a:lnTo>
                      <a:pt x="209" y="353"/>
                    </a:lnTo>
                    <a:lnTo>
                      <a:pt x="209" y="353"/>
                    </a:lnTo>
                    <a:lnTo>
                      <a:pt x="211" y="360"/>
                    </a:lnTo>
                    <a:lnTo>
                      <a:pt x="214" y="369"/>
                    </a:lnTo>
                    <a:lnTo>
                      <a:pt x="216" y="377"/>
                    </a:lnTo>
                    <a:lnTo>
                      <a:pt x="218" y="386"/>
                    </a:lnTo>
                    <a:lnTo>
                      <a:pt x="220" y="393"/>
                    </a:lnTo>
                    <a:lnTo>
                      <a:pt x="220" y="402"/>
                    </a:lnTo>
                    <a:lnTo>
                      <a:pt x="222" y="410"/>
                    </a:lnTo>
                    <a:lnTo>
                      <a:pt x="220" y="413"/>
                    </a:lnTo>
                    <a:lnTo>
                      <a:pt x="220" y="419"/>
                    </a:lnTo>
                    <a:lnTo>
                      <a:pt x="220" y="423"/>
                    </a:lnTo>
                    <a:lnTo>
                      <a:pt x="220" y="425"/>
                    </a:lnTo>
                    <a:lnTo>
                      <a:pt x="218" y="428"/>
                    </a:lnTo>
                    <a:lnTo>
                      <a:pt x="218" y="428"/>
                    </a:lnTo>
                    <a:lnTo>
                      <a:pt x="216" y="432"/>
                    </a:lnTo>
                    <a:lnTo>
                      <a:pt x="216" y="436"/>
                    </a:lnTo>
                    <a:lnTo>
                      <a:pt x="214" y="439"/>
                    </a:lnTo>
                    <a:lnTo>
                      <a:pt x="213" y="441"/>
                    </a:lnTo>
                    <a:lnTo>
                      <a:pt x="209" y="445"/>
                    </a:lnTo>
                    <a:lnTo>
                      <a:pt x="207" y="447"/>
                    </a:lnTo>
                    <a:lnTo>
                      <a:pt x="203" y="449"/>
                    </a:lnTo>
                    <a:lnTo>
                      <a:pt x="203" y="450"/>
                    </a:lnTo>
                    <a:lnTo>
                      <a:pt x="207" y="454"/>
                    </a:lnTo>
                    <a:lnTo>
                      <a:pt x="207" y="458"/>
                    </a:lnTo>
                    <a:lnTo>
                      <a:pt x="209" y="461"/>
                    </a:lnTo>
                    <a:lnTo>
                      <a:pt x="209" y="463"/>
                    </a:lnTo>
                    <a:lnTo>
                      <a:pt x="211" y="465"/>
                    </a:lnTo>
                    <a:lnTo>
                      <a:pt x="211" y="467"/>
                    </a:lnTo>
                    <a:lnTo>
                      <a:pt x="209" y="471"/>
                    </a:lnTo>
                    <a:lnTo>
                      <a:pt x="209" y="471"/>
                    </a:lnTo>
                    <a:lnTo>
                      <a:pt x="209" y="474"/>
                    </a:lnTo>
                    <a:lnTo>
                      <a:pt x="205" y="474"/>
                    </a:lnTo>
                    <a:lnTo>
                      <a:pt x="205" y="474"/>
                    </a:lnTo>
                    <a:lnTo>
                      <a:pt x="202" y="476"/>
                    </a:lnTo>
                    <a:lnTo>
                      <a:pt x="196" y="478"/>
                    </a:lnTo>
                    <a:lnTo>
                      <a:pt x="192" y="478"/>
                    </a:lnTo>
                    <a:lnTo>
                      <a:pt x="192" y="478"/>
                    </a:lnTo>
                    <a:lnTo>
                      <a:pt x="192" y="484"/>
                    </a:lnTo>
                    <a:lnTo>
                      <a:pt x="192" y="489"/>
                    </a:lnTo>
                    <a:lnTo>
                      <a:pt x="192" y="491"/>
                    </a:lnTo>
                    <a:lnTo>
                      <a:pt x="200" y="493"/>
                    </a:lnTo>
                    <a:lnTo>
                      <a:pt x="205" y="496"/>
                    </a:lnTo>
                    <a:lnTo>
                      <a:pt x="211" y="498"/>
                    </a:lnTo>
                    <a:lnTo>
                      <a:pt x="214" y="502"/>
                    </a:lnTo>
                    <a:lnTo>
                      <a:pt x="214" y="502"/>
                    </a:lnTo>
                    <a:lnTo>
                      <a:pt x="218" y="504"/>
                    </a:lnTo>
                    <a:lnTo>
                      <a:pt x="222" y="509"/>
                    </a:lnTo>
                    <a:lnTo>
                      <a:pt x="226" y="511"/>
                    </a:lnTo>
                    <a:lnTo>
                      <a:pt x="227" y="517"/>
                    </a:lnTo>
                    <a:lnTo>
                      <a:pt x="227" y="517"/>
                    </a:lnTo>
                    <a:lnTo>
                      <a:pt x="229" y="520"/>
                    </a:lnTo>
                    <a:lnTo>
                      <a:pt x="231" y="524"/>
                    </a:lnTo>
                    <a:lnTo>
                      <a:pt x="233" y="528"/>
                    </a:lnTo>
                    <a:lnTo>
                      <a:pt x="235" y="533"/>
                    </a:lnTo>
                    <a:lnTo>
                      <a:pt x="237" y="543"/>
                    </a:lnTo>
                    <a:lnTo>
                      <a:pt x="238" y="552"/>
                    </a:lnTo>
                    <a:lnTo>
                      <a:pt x="238" y="561"/>
                    </a:lnTo>
                    <a:lnTo>
                      <a:pt x="240" y="570"/>
                    </a:lnTo>
                    <a:lnTo>
                      <a:pt x="242" y="576"/>
                    </a:lnTo>
                    <a:lnTo>
                      <a:pt x="242" y="581"/>
                    </a:lnTo>
                    <a:lnTo>
                      <a:pt x="242" y="581"/>
                    </a:lnTo>
                    <a:lnTo>
                      <a:pt x="244" y="585"/>
                    </a:lnTo>
                    <a:lnTo>
                      <a:pt x="246" y="591"/>
                    </a:lnTo>
                    <a:lnTo>
                      <a:pt x="248" y="596"/>
                    </a:lnTo>
                    <a:lnTo>
                      <a:pt x="248" y="596"/>
                    </a:lnTo>
                    <a:lnTo>
                      <a:pt x="250" y="600"/>
                    </a:lnTo>
                    <a:lnTo>
                      <a:pt x="253" y="605"/>
                    </a:lnTo>
                    <a:lnTo>
                      <a:pt x="253" y="605"/>
                    </a:lnTo>
                    <a:lnTo>
                      <a:pt x="257" y="609"/>
                    </a:lnTo>
                    <a:lnTo>
                      <a:pt x="261" y="615"/>
                    </a:lnTo>
                    <a:lnTo>
                      <a:pt x="264" y="618"/>
                    </a:lnTo>
                    <a:lnTo>
                      <a:pt x="270" y="622"/>
                    </a:lnTo>
                    <a:lnTo>
                      <a:pt x="274" y="626"/>
                    </a:lnTo>
                    <a:lnTo>
                      <a:pt x="275" y="628"/>
                    </a:lnTo>
                    <a:lnTo>
                      <a:pt x="275" y="628"/>
                    </a:lnTo>
                    <a:lnTo>
                      <a:pt x="275" y="628"/>
                    </a:lnTo>
                    <a:lnTo>
                      <a:pt x="275" y="628"/>
                    </a:lnTo>
                    <a:lnTo>
                      <a:pt x="275" y="628"/>
                    </a:lnTo>
                    <a:lnTo>
                      <a:pt x="275" y="626"/>
                    </a:lnTo>
                    <a:lnTo>
                      <a:pt x="275" y="626"/>
                    </a:lnTo>
                    <a:lnTo>
                      <a:pt x="281" y="624"/>
                    </a:lnTo>
                    <a:lnTo>
                      <a:pt x="286" y="622"/>
                    </a:lnTo>
                    <a:lnTo>
                      <a:pt x="290" y="620"/>
                    </a:lnTo>
                    <a:lnTo>
                      <a:pt x="296" y="616"/>
                    </a:lnTo>
                    <a:lnTo>
                      <a:pt x="299" y="615"/>
                    </a:lnTo>
                    <a:lnTo>
                      <a:pt x="305" y="611"/>
                    </a:lnTo>
                    <a:lnTo>
                      <a:pt x="299" y="615"/>
                    </a:lnTo>
                    <a:lnTo>
                      <a:pt x="296" y="616"/>
                    </a:lnTo>
                    <a:lnTo>
                      <a:pt x="290" y="620"/>
                    </a:lnTo>
                    <a:lnTo>
                      <a:pt x="286" y="622"/>
                    </a:lnTo>
                    <a:lnTo>
                      <a:pt x="281" y="624"/>
                    </a:lnTo>
                    <a:lnTo>
                      <a:pt x="275" y="626"/>
                    </a:lnTo>
                    <a:lnTo>
                      <a:pt x="270" y="622"/>
                    </a:lnTo>
                    <a:lnTo>
                      <a:pt x="266" y="618"/>
                    </a:lnTo>
                    <a:lnTo>
                      <a:pt x="261" y="613"/>
                    </a:lnTo>
                    <a:lnTo>
                      <a:pt x="257" y="609"/>
                    </a:lnTo>
                    <a:lnTo>
                      <a:pt x="255" y="604"/>
                    </a:lnTo>
                    <a:lnTo>
                      <a:pt x="251" y="600"/>
                    </a:lnTo>
                    <a:lnTo>
                      <a:pt x="250" y="594"/>
                    </a:lnTo>
                    <a:lnTo>
                      <a:pt x="248" y="591"/>
                    </a:lnTo>
                    <a:lnTo>
                      <a:pt x="248" y="591"/>
                    </a:lnTo>
                    <a:lnTo>
                      <a:pt x="246" y="585"/>
                    </a:lnTo>
                    <a:lnTo>
                      <a:pt x="244" y="580"/>
                    </a:lnTo>
                    <a:lnTo>
                      <a:pt x="242" y="576"/>
                    </a:lnTo>
                    <a:lnTo>
                      <a:pt x="242" y="570"/>
                    </a:lnTo>
                    <a:lnTo>
                      <a:pt x="240" y="561"/>
                    </a:lnTo>
                    <a:lnTo>
                      <a:pt x="240" y="561"/>
                    </a:lnTo>
                    <a:lnTo>
                      <a:pt x="240" y="561"/>
                    </a:lnTo>
                    <a:lnTo>
                      <a:pt x="238" y="552"/>
                    </a:lnTo>
                    <a:lnTo>
                      <a:pt x="238" y="541"/>
                    </a:lnTo>
                    <a:lnTo>
                      <a:pt x="237" y="532"/>
                    </a:lnTo>
                    <a:lnTo>
                      <a:pt x="235" y="528"/>
                    </a:lnTo>
                    <a:lnTo>
                      <a:pt x="235" y="528"/>
                    </a:lnTo>
                    <a:lnTo>
                      <a:pt x="233" y="524"/>
                    </a:lnTo>
                    <a:lnTo>
                      <a:pt x="233" y="524"/>
                    </a:lnTo>
                    <a:lnTo>
                      <a:pt x="231" y="519"/>
                    </a:lnTo>
                    <a:lnTo>
                      <a:pt x="231" y="519"/>
                    </a:lnTo>
                    <a:lnTo>
                      <a:pt x="229" y="515"/>
                    </a:lnTo>
                    <a:lnTo>
                      <a:pt x="226" y="511"/>
                    </a:lnTo>
                    <a:lnTo>
                      <a:pt x="226" y="511"/>
                    </a:lnTo>
                    <a:lnTo>
                      <a:pt x="224" y="508"/>
                    </a:lnTo>
                    <a:lnTo>
                      <a:pt x="220" y="504"/>
                    </a:lnTo>
                    <a:lnTo>
                      <a:pt x="220" y="504"/>
                    </a:lnTo>
                    <a:lnTo>
                      <a:pt x="214" y="500"/>
                    </a:lnTo>
                    <a:lnTo>
                      <a:pt x="211" y="496"/>
                    </a:lnTo>
                    <a:lnTo>
                      <a:pt x="211" y="496"/>
                    </a:lnTo>
                    <a:lnTo>
                      <a:pt x="205" y="495"/>
                    </a:lnTo>
                    <a:lnTo>
                      <a:pt x="200" y="491"/>
                    </a:lnTo>
                    <a:lnTo>
                      <a:pt x="194" y="489"/>
                    </a:lnTo>
                    <a:lnTo>
                      <a:pt x="194" y="484"/>
                    </a:lnTo>
                    <a:lnTo>
                      <a:pt x="194" y="480"/>
                    </a:lnTo>
                    <a:lnTo>
                      <a:pt x="198" y="478"/>
                    </a:lnTo>
                    <a:lnTo>
                      <a:pt x="202" y="478"/>
                    </a:lnTo>
                    <a:lnTo>
                      <a:pt x="205" y="476"/>
                    </a:lnTo>
                    <a:lnTo>
                      <a:pt x="211" y="476"/>
                    </a:lnTo>
                    <a:lnTo>
                      <a:pt x="211" y="476"/>
                    </a:lnTo>
                    <a:lnTo>
                      <a:pt x="211" y="471"/>
                    </a:lnTo>
                    <a:lnTo>
                      <a:pt x="211" y="471"/>
                    </a:lnTo>
                    <a:lnTo>
                      <a:pt x="211" y="467"/>
                    </a:lnTo>
                    <a:lnTo>
                      <a:pt x="211" y="467"/>
                    </a:lnTo>
                    <a:lnTo>
                      <a:pt x="211" y="465"/>
                    </a:lnTo>
                    <a:lnTo>
                      <a:pt x="211" y="465"/>
                    </a:lnTo>
                    <a:lnTo>
                      <a:pt x="211" y="463"/>
                    </a:lnTo>
                    <a:lnTo>
                      <a:pt x="211" y="463"/>
                    </a:lnTo>
                    <a:lnTo>
                      <a:pt x="211" y="460"/>
                    </a:lnTo>
                    <a:lnTo>
                      <a:pt x="211" y="460"/>
                    </a:lnTo>
                    <a:lnTo>
                      <a:pt x="209" y="458"/>
                    </a:lnTo>
                    <a:lnTo>
                      <a:pt x="207" y="454"/>
                    </a:lnTo>
                    <a:lnTo>
                      <a:pt x="207" y="454"/>
                    </a:lnTo>
                    <a:lnTo>
                      <a:pt x="205" y="450"/>
                    </a:lnTo>
                    <a:lnTo>
                      <a:pt x="209" y="449"/>
                    </a:lnTo>
                    <a:lnTo>
                      <a:pt x="209" y="449"/>
                    </a:lnTo>
                    <a:lnTo>
                      <a:pt x="211" y="445"/>
                    </a:lnTo>
                    <a:lnTo>
                      <a:pt x="213" y="443"/>
                    </a:lnTo>
                    <a:lnTo>
                      <a:pt x="214" y="439"/>
                    </a:lnTo>
                    <a:lnTo>
                      <a:pt x="214" y="439"/>
                    </a:lnTo>
                    <a:lnTo>
                      <a:pt x="216" y="436"/>
                    </a:lnTo>
                    <a:lnTo>
                      <a:pt x="218" y="434"/>
                    </a:lnTo>
                    <a:lnTo>
                      <a:pt x="218" y="434"/>
                    </a:lnTo>
                    <a:lnTo>
                      <a:pt x="220" y="430"/>
                    </a:lnTo>
                    <a:lnTo>
                      <a:pt x="220" y="426"/>
                    </a:lnTo>
                    <a:lnTo>
                      <a:pt x="222" y="423"/>
                    </a:lnTo>
                    <a:lnTo>
                      <a:pt x="222" y="423"/>
                    </a:lnTo>
                    <a:lnTo>
                      <a:pt x="222" y="419"/>
                    </a:lnTo>
                    <a:lnTo>
                      <a:pt x="222" y="413"/>
                    </a:lnTo>
                    <a:lnTo>
                      <a:pt x="222" y="410"/>
                    </a:lnTo>
                    <a:lnTo>
                      <a:pt x="222" y="410"/>
                    </a:lnTo>
                    <a:lnTo>
                      <a:pt x="222" y="402"/>
                    </a:lnTo>
                    <a:lnTo>
                      <a:pt x="222" y="393"/>
                    </a:lnTo>
                    <a:lnTo>
                      <a:pt x="220" y="384"/>
                    </a:lnTo>
                    <a:lnTo>
                      <a:pt x="218" y="377"/>
                    </a:lnTo>
                    <a:lnTo>
                      <a:pt x="214" y="367"/>
                    </a:lnTo>
                    <a:lnTo>
                      <a:pt x="213" y="360"/>
                    </a:lnTo>
                    <a:lnTo>
                      <a:pt x="211" y="353"/>
                    </a:lnTo>
                    <a:lnTo>
                      <a:pt x="207" y="345"/>
                    </a:lnTo>
                    <a:lnTo>
                      <a:pt x="203" y="338"/>
                    </a:lnTo>
                    <a:lnTo>
                      <a:pt x="202" y="332"/>
                    </a:lnTo>
                    <a:lnTo>
                      <a:pt x="196" y="306"/>
                    </a:lnTo>
                    <a:lnTo>
                      <a:pt x="190" y="282"/>
                    </a:lnTo>
                    <a:lnTo>
                      <a:pt x="185" y="258"/>
                    </a:lnTo>
                    <a:lnTo>
                      <a:pt x="181" y="234"/>
                    </a:lnTo>
                    <a:lnTo>
                      <a:pt x="176" y="209"/>
                    </a:lnTo>
                    <a:lnTo>
                      <a:pt x="172" y="185"/>
                    </a:lnTo>
                    <a:lnTo>
                      <a:pt x="168" y="174"/>
                    </a:lnTo>
                    <a:lnTo>
                      <a:pt x="168" y="174"/>
                    </a:lnTo>
                    <a:lnTo>
                      <a:pt x="168" y="161"/>
                    </a:lnTo>
                    <a:lnTo>
                      <a:pt x="166" y="148"/>
                    </a:lnTo>
                    <a:lnTo>
                      <a:pt x="165" y="137"/>
                    </a:lnTo>
                    <a:lnTo>
                      <a:pt x="170" y="137"/>
                    </a:lnTo>
                    <a:lnTo>
                      <a:pt x="174" y="137"/>
                    </a:lnTo>
                    <a:lnTo>
                      <a:pt x="176" y="137"/>
                    </a:lnTo>
                    <a:lnTo>
                      <a:pt x="176" y="131"/>
                    </a:lnTo>
                    <a:lnTo>
                      <a:pt x="176" y="124"/>
                    </a:lnTo>
                    <a:lnTo>
                      <a:pt x="176" y="120"/>
                    </a:lnTo>
                    <a:lnTo>
                      <a:pt x="176" y="115"/>
                    </a:lnTo>
                    <a:lnTo>
                      <a:pt x="176" y="113"/>
                    </a:lnTo>
                    <a:lnTo>
                      <a:pt x="170" y="113"/>
                    </a:lnTo>
                    <a:lnTo>
                      <a:pt x="165" y="111"/>
                    </a:lnTo>
                    <a:lnTo>
                      <a:pt x="161" y="109"/>
                    </a:lnTo>
                    <a:lnTo>
                      <a:pt x="155" y="109"/>
                    </a:lnTo>
                    <a:lnTo>
                      <a:pt x="155" y="102"/>
                    </a:lnTo>
                    <a:lnTo>
                      <a:pt x="155" y="96"/>
                    </a:lnTo>
                    <a:lnTo>
                      <a:pt x="155" y="91"/>
                    </a:lnTo>
                    <a:lnTo>
                      <a:pt x="154" y="85"/>
                    </a:lnTo>
                    <a:lnTo>
                      <a:pt x="154" y="85"/>
                    </a:lnTo>
                    <a:lnTo>
                      <a:pt x="148" y="83"/>
                    </a:lnTo>
                    <a:lnTo>
                      <a:pt x="142" y="81"/>
                    </a:lnTo>
                    <a:lnTo>
                      <a:pt x="137" y="79"/>
                    </a:lnTo>
                    <a:lnTo>
                      <a:pt x="131" y="78"/>
                    </a:lnTo>
                    <a:lnTo>
                      <a:pt x="130" y="76"/>
                    </a:lnTo>
                    <a:lnTo>
                      <a:pt x="130" y="76"/>
                    </a:lnTo>
                    <a:lnTo>
                      <a:pt x="128" y="72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5"/>
                    </a:lnTo>
                    <a:lnTo>
                      <a:pt x="126" y="65"/>
                    </a:lnTo>
                    <a:lnTo>
                      <a:pt x="122" y="63"/>
                    </a:lnTo>
                    <a:lnTo>
                      <a:pt x="120" y="61"/>
                    </a:lnTo>
                    <a:lnTo>
                      <a:pt x="119" y="59"/>
                    </a:lnTo>
                    <a:lnTo>
                      <a:pt x="119" y="57"/>
                    </a:lnTo>
                    <a:lnTo>
                      <a:pt x="117" y="57"/>
                    </a:lnTo>
                    <a:lnTo>
                      <a:pt x="111" y="54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0" y="46"/>
                    </a:lnTo>
                    <a:lnTo>
                      <a:pt x="93" y="43"/>
                    </a:lnTo>
                    <a:lnTo>
                      <a:pt x="93" y="37"/>
                    </a:lnTo>
                    <a:lnTo>
                      <a:pt x="91" y="30"/>
                    </a:lnTo>
                    <a:lnTo>
                      <a:pt x="91" y="22"/>
                    </a:lnTo>
                    <a:lnTo>
                      <a:pt x="91" y="15"/>
                    </a:lnTo>
                    <a:lnTo>
                      <a:pt x="93" y="15"/>
                    </a:lnTo>
                    <a:lnTo>
                      <a:pt x="96" y="13"/>
                    </a:lnTo>
                    <a:lnTo>
                      <a:pt x="100" y="13"/>
                    </a:lnTo>
                    <a:lnTo>
                      <a:pt x="104" y="11"/>
                    </a:lnTo>
                    <a:lnTo>
                      <a:pt x="104" y="11"/>
                    </a:lnTo>
                    <a:lnTo>
                      <a:pt x="102" y="6"/>
                    </a:lnTo>
                    <a:lnTo>
                      <a:pt x="98" y="0"/>
                    </a:lnTo>
                    <a:lnTo>
                      <a:pt x="9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3" name="Freeform 3344"/>
              <p:cNvSpPr>
                <a:spLocks/>
              </p:cNvSpPr>
              <p:nvPr/>
            </p:nvSpPr>
            <p:spPr bwMode="auto">
              <a:xfrm>
                <a:off x="7748736" y="2202507"/>
                <a:ext cx="2958" cy="3024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4" name="Freeform 3345"/>
              <p:cNvSpPr>
                <a:spLocks/>
              </p:cNvSpPr>
              <p:nvPr/>
            </p:nvSpPr>
            <p:spPr bwMode="auto">
              <a:xfrm>
                <a:off x="7810853" y="2096651"/>
                <a:ext cx="32537" cy="9073"/>
              </a:xfrm>
              <a:custGeom>
                <a:avLst/>
                <a:gdLst>
                  <a:gd name="T0" fmla="*/ 0 w 22"/>
                  <a:gd name="T1" fmla="*/ 0 h 6"/>
                  <a:gd name="T2" fmla="*/ 0 w 22"/>
                  <a:gd name="T3" fmla="*/ 0 h 6"/>
                  <a:gd name="T4" fmla="*/ 0 w 22"/>
                  <a:gd name="T5" fmla="*/ 0 h 6"/>
                  <a:gd name="T6" fmla="*/ 6 w 22"/>
                  <a:gd name="T7" fmla="*/ 2 h 6"/>
                  <a:gd name="T8" fmla="*/ 11 w 22"/>
                  <a:gd name="T9" fmla="*/ 2 h 6"/>
                  <a:gd name="T10" fmla="*/ 17 w 22"/>
                  <a:gd name="T11" fmla="*/ 4 h 6"/>
                  <a:gd name="T12" fmla="*/ 22 w 22"/>
                  <a:gd name="T13" fmla="*/ 6 h 6"/>
                  <a:gd name="T14" fmla="*/ 17 w 22"/>
                  <a:gd name="T15" fmla="*/ 4 h 6"/>
                  <a:gd name="T16" fmla="*/ 11 w 22"/>
                  <a:gd name="T17" fmla="*/ 2 h 6"/>
                  <a:gd name="T18" fmla="*/ 6 w 22"/>
                  <a:gd name="T19" fmla="*/ 2 h 6"/>
                  <a:gd name="T20" fmla="*/ 0 w 22"/>
                  <a:gd name="T21" fmla="*/ 0 h 6"/>
                  <a:gd name="T22" fmla="*/ 0 w 22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1" y="2"/>
                    </a:lnTo>
                    <a:lnTo>
                      <a:pt x="17" y="4"/>
                    </a:lnTo>
                    <a:lnTo>
                      <a:pt x="22" y="6"/>
                    </a:lnTo>
                    <a:lnTo>
                      <a:pt x="17" y="4"/>
                    </a:lnTo>
                    <a:lnTo>
                      <a:pt x="11" y="2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5" name="Freeform 3346"/>
              <p:cNvSpPr>
                <a:spLocks/>
              </p:cNvSpPr>
              <p:nvPr/>
            </p:nvSpPr>
            <p:spPr bwMode="auto">
              <a:xfrm>
                <a:off x="8217570" y="1881917"/>
                <a:ext cx="221846" cy="871036"/>
              </a:xfrm>
              <a:custGeom>
                <a:avLst/>
                <a:gdLst>
                  <a:gd name="T0" fmla="*/ 87 w 150"/>
                  <a:gd name="T1" fmla="*/ 17 h 576"/>
                  <a:gd name="T2" fmla="*/ 93 w 150"/>
                  <a:gd name="T3" fmla="*/ 39 h 576"/>
                  <a:gd name="T4" fmla="*/ 91 w 150"/>
                  <a:gd name="T5" fmla="*/ 63 h 576"/>
                  <a:gd name="T6" fmla="*/ 98 w 150"/>
                  <a:gd name="T7" fmla="*/ 83 h 576"/>
                  <a:gd name="T8" fmla="*/ 120 w 150"/>
                  <a:gd name="T9" fmla="*/ 137 h 576"/>
                  <a:gd name="T10" fmla="*/ 115 w 150"/>
                  <a:gd name="T11" fmla="*/ 170 h 576"/>
                  <a:gd name="T12" fmla="*/ 128 w 150"/>
                  <a:gd name="T13" fmla="*/ 174 h 576"/>
                  <a:gd name="T14" fmla="*/ 140 w 150"/>
                  <a:gd name="T15" fmla="*/ 194 h 576"/>
                  <a:gd name="T16" fmla="*/ 124 w 150"/>
                  <a:gd name="T17" fmla="*/ 205 h 576"/>
                  <a:gd name="T18" fmla="*/ 81 w 150"/>
                  <a:gd name="T19" fmla="*/ 209 h 576"/>
                  <a:gd name="T20" fmla="*/ 76 w 150"/>
                  <a:gd name="T21" fmla="*/ 233 h 576"/>
                  <a:gd name="T22" fmla="*/ 50 w 150"/>
                  <a:gd name="T23" fmla="*/ 292 h 576"/>
                  <a:gd name="T24" fmla="*/ 65 w 150"/>
                  <a:gd name="T25" fmla="*/ 340 h 576"/>
                  <a:gd name="T26" fmla="*/ 45 w 150"/>
                  <a:gd name="T27" fmla="*/ 325 h 576"/>
                  <a:gd name="T28" fmla="*/ 33 w 150"/>
                  <a:gd name="T29" fmla="*/ 310 h 576"/>
                  <a:gd name="T30" fmla="*/ 30 w 150"/>
                  <a:gd name="T31" fmla="*/ 321 h 576"/>
                  <a:gd name="T32" fmla="*/ 28 w 150"/>
                  <a:gd name="T33" fmla="*/ 351 h 576"/>
                  <a:gd name="T34" fmla="*/ 35 w 150"/>
                  <a:gd name="T35" fmla="*/ 382 h 576"/>
                  <a:gd name="T36" fmla="*/ 13 w 150"/>
                  <a:gd name="T37" fmla="*/ 397 h 576"/>
                  <a:gd name="T38" fmla="*/ 2 w 150"/>
                  <a:gd name="T39" fmla="*/ 419 h 576"/>
                  <a:gd name="T40" fmla="*/ 15 w 150"/>
                  <a:gd name="T41" fmla="*/ 445 h 576"/>
                  <a:gd name="T42" fmla="*/ 35 w 150"/>
                  <a:gd name="T43" fmla="*/ 467 h 576"/>
                  <a:gd name="T44" fmla="*/ 50 w 150"/>
                  <a:gd name="T45" fmla="*/ 478 h 576"/>
                  <a:gd name="T46" fmla="*/ 39 w 150"/>
                  <a:gd name="T47" fmla="*/ 480 h 576"/>
                  <a:gd name="T48" fmla="*/ 56 w 150"/>
                  <a:gd name="T49" fmla="*/ 502 h 576"/>
                  <a:gd name="T50" fmla="*/ 78 w 150"/>
                  <a:gd name="T51" fmla="*/ 552 h 576"/>
                  <a:gd name="T52" fmla="*/ 120 w 150"/>
                  <a:gd name="T53" fmla="*/ 565 h 576"/>
                  <a:gd name="T54" fmla="*/ 118 w 150"/>
                  <a:gd name="T55" fmla="*/ 552 h 576"/>
                  <a:gd name="T56" fmla="*/ 133 w 150"/>
                  <a:gd name="T57" fmla="*/ 539 h 576"/>
                  <a:gd name="T58" fmla="*/ 148 w 150"/>
                  <a:gd name="T59" fmla="*/ 576 h 576"/>
                  <a:gd name="T60" fmla="*/ 142 w 150"/>
                  <a:gd name="T61" fmla="*/ 544 h 576"/>
                  <a:gd name="T62" fmla="*/ 126 w 150"/>
                  <a:gd name="T63" fmla="*/ 548 h 576"/>
                  <a:gd name="T64" fmla="*/ 120 w 150"/>
                  <a:gd name="T65" fmla="*/ 561 h 576"/>
                  <a:gd name="T66" fmla="*/ 80 w 150"/>
                  <a:gd name="T67" fmla="*/ 550 h 576"/>
                  <a:gd name="T68" fmla="*/ 45 w 150"/>
                  <a:gd name="T69" fmla="*/ 484 h 576"/>
                  <a:gd name="T70" fmla="*/ 50 w 150"/>
                  <a:gd name="T71" fmla="*/ 480 h 576"/>
                  <a:gd name="T72" fmla="*/ 48 w 150"/>
                  <a:gd name="T73" fmla="*/ 474 h 576"/>
                  <a:gd name="T74" fmla="*/ 28 w 150"/>
                  <a:gd name="T75" fmla="*/ 456 h 576"/>
                  <a:gd name="T76" fmla="*/ 9 w 150"/>
                  <a:gd name="T77" fmla="*/ 430 h 576"/>
                  <a:gd name="T78" fmla="*/ 17 w 150"/>
                  <a:gd name="T79" fmla="*/ 402 h 576"/>
                  <a:gd name="T80" fmla="*/ 41 w 150"/>
                  <a:gd name="T81" fmla="*/ 393 h 576"/>
                  <a:gd name="T82" fmla="*/ 30 w 150"/>
                  <a:gd name="T83" fmla="*/ 341 h 576"/>
                  <a:gd name="T84" fmla="*/ 30 w 150"/>
                  <a:gd name="T85" fmla="*/ 310 h 576"/>
                  <a:gd name="T86" fmla="*/ 35 w 150"/>
                  <a:gd name="T87" fmla="*/ 321 h 576"/>
                  <a:gd name="T88" fmla="*/ 54 w 150"/>
                  <a:gd name="T89" fmla="*/ 336 h 576"/>
                  <a:gd name="T90" fmla="*/ 72 w 150"/>
                  <a:gd name="T91" fmla="*/ 338 h 576"/>
                  <a:gd name="T92" fmla="*/ 59 w 150"/>
                  <a:gd name="T93" fmla="*/ 281 h 576"/>
                  <a:gd name="T94" fmla="*/ 81 w 150"/>
                  <a:gd name="T95" fmla="*/ 212 h 576"/>
                  <a:gd name="T96" fmla="*/ 109 w 150"/>
                  <a:gd name="T97" fmla="*/ 207 h 576"/>
                  <a:gd name="T98" fmla="*/ 146 w 150"/>
                  <a:gd name="T99" fmla="*/ 199 h 576"/>
                  <a:gd name="T100" fmla="*/ 131 w 150"/>
                  <a:gd name="T101" fmla="*/ 185 h 576"/>
                  <a:gd name="T102" fmla="*/ 116 w 150"/>
                  <a:gd name="T103" fmla="*/ 172 h 576"/>
                  <a:gd name="T104" fmla="*/ 122 w 150"/>
                  <a:gd name="T105" fmla="*/ 137 h 576"/>
                  <a:gd name="T106" fmla="*/ 102 w 150"/>
                  <a:gd name="T107" fmla="*/ 83 h 576"/>
                  <a:gd name="T108" fmla="*/ 96 w 150"/>
                  <a:gd name="T109" fmla="*/ 65 h 576"/>
                  <a:gd name="T110" fmla="*/ 96 w 150"/>
                  <a:gd name="T111" fmla="*/ 41 h 576"/>
                  <a:gd name="T112" fmla="*/ 87 w 150"/>
                  <a:gd name="T113" fmla="*/ 20 h 576"/>
                  <a:gd name="T114" fmla="*/ 89 w 150"/>
                  <a:gd name="T115" fmla="*/ 9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576">
                    <a:moveTo>
                      <a:pt x="87" y="0"/>
                    </a:moveTo>
                    <a:lnTo>
                      <a:pt x="87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7" y="6"/>
                    </a:lnTo>
                    <a:lnTo>
                      <a:pt x="87" y="9"/>
                    </a:lnTo>
                    <a:lnTo>
                      <a:pt x="87" y="11"/>
                    </a:lnTo>
                    <a:lnTo>
                      <a:pt x="87" y="15"/>
                    </a:lnTo>
                    <a:lnTo>
                      <a:pt x="87" y="17"/>
                    </a:lnTo>
                    <a:lnTo>
                      <a:pt x="87" y="18"/>
                    </a:lnTo>
                    <a:lnTo>
                      <a:pt x="87" y="18"/>
                    </a:lnTo>
                    <a:lnTo>
                      <a:pt x="85" y="20"/>
                    </a:lnTo>
                    <a:lnTo>
                      <a:pt x="83" y="22"/>
                    </a:lnTo>
                    <a:lnTo>
                      <a:pt x="83" y="24"/>
                    </a:lnTo>
                    <a:lnTo>
                      <a:pt x="87" y="28"/>
                    </a:lnTo>
                    <a:lnTo>
                      <a:pt x="89" y="31"/>
                    </a:lnTo>
                    <a:lnTo>
                      <a:pt x="93" y="35"/>
                    </a:lnTo>
                    <a:lnTo>
                      <a:pt x="93" y="39"/>
                    </a:lnTo>
                    <a:lnTo>
                      <a:pt x="94" y="41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6" y="48"/>
                    </a:lnTo>
                    <a:lnTo>
                      <a:pt x="96" y="54"/>
                    </a:lnTo>
                    <a:lnTo>
                      <a:pt x="93" y="55"/>
                    </a:lnTo>
                    <a:lnTo>
                      <a:pt x="89" y="59"/>
                    </a:lnTo>
                    <a:lnTo>
                      <a:pt x="89" y="59"/>
                    </a:lnTo>
                    <a:lnTo>
                      <a:pt x="91" y="63"/>
                    </a:lnTo>
                    <a:lnTo>
                      <a:pt x="94" y="65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98" y="70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8" y="81"/>
                    </a:lnTo>
                    <a:lnTo>
                      <a:pt x="98" y="83"/>
                    </a:lnTo>
                    <a:lnTo>
                      <a:pt x="102" y="83"/>
                    </a:lnTo>
                    <a:lnTo>
                      <a:pt x="107" y="85"/>
                    </a:lnTo>
                    <a:lnTo>
                      <a:pt x="111" y="85"/>
                    </a:lnTo>
                    <a:lnTo>
                      <a:pt x="115" y="87"/>
                    </a:lnTo>
                    <a:lnTo>
                      <a:pt x="115" y="100"/>
                    </a:lnTo>
                    <a:lnTo>
                      <a:pt x="116" y="111"/>
                    </a:lnTo>
                    <a:lnTo>
                      <a:pt x="118" y="120"/>
                    </a:lnTo>
                    <a:lnTo>
                      <a:pt x="118" y="129"/>
                    </a:lnTo>
                    <a:lnTo>
                      <a:pt x="120" y="137"/>
                    </a:lnTo>
                    <a:lnTo>
                      <a:pt x="120" y="137"/>
                    </a:lnTo>
                    <a:lnTo>
                      <a:pt x="122" y="146"/>
                    </a:lnTo>
                    <a:lnTo>
                      <a:pt x="122" y="153"/>
                    </a:lnTo>
                    <a:lnTo>
                      <a:pt x="122" y="162"/>
                    </a:lnTo>
                    <a:lnTo>
                      <a:pt x="118" y="166"/>
                    </a:lnTo>
                    <a:lnTo>
                      <a:pt x="118" y="166"/>
                    </a:lnTo>
                    <a:lnTo>
                      <a:pt x="115" y="168"/>
                    </a:lnTo>
                    <a:lnTo>
                      <a:pt x="115" y="168"/>
                    </a:lnTo>
                    <a:lnTo>
                      <a:pt x="115" y="170"/>
                    </a:lnTo>
                    <a:lnTo>
                      <a:pt x="115" y="170"/>
                    </a:lnTo>
                    <a:lnTo>
                      <a:pt x="115" y="170"/>
                    </a:lnTo>
                    <a:lnTo>
                      <a:pt x="115" y="170"/>
                    </a:lnTo>
                    <a:lnTo>
                      <a:pt x="115" y="172"/>
                    </a:lnTo>
                    <a:lnTo>
                      <a:pt x="115" y="174"/>
                    </a:lnTo>
                    <a:lnTo>
                      <a:pt x="115" y="174"/>
                    </a:lnTo>
                    <a:lnTo>
                      <a:pt x="118" y="174"/>
                    </a:lnTo>
                    <a:lnTo>
                      <a:pt x="122" y="174"/>
                    </a:lnTo>
                    <a:lnTo>
                      <a:pt x="128" y="174"/>
                    </a:lnTo>
                    <a:lnTo>
                      <a:pt x="131" y="174"/>
                    </a:lnTo>
                    <a:lnTo>
                      <a:pt x="131" y="177"/>
                    </a:lnTo>
                    <a:lnTo>
                      <a:pt x="131" y="181"/>
                    </a:lnTo>
                    <a:lnTo>
                      <a:pt x="131" y="185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33" y="192"/>
                    </a:lnTo>
                    <a:lnTo>
                      <a:pt x="137" y="192"/>
                    </a:lnTo>
                    <a:lnTo>
                      <a:pt x="140" y="194"/>
                    </a:lnTo>
                    <a:lnTo>
                      <a:pt x="142" y="194"/>
                    </a:lnTo>
                    <a:lnTo>
                      <a:pt x="144" y="197"/>
                    </a:lnTo>
                    <a:lnTo>
                      <a:pt x="144" y="197"/>
                    </a:lnTo>
                    <a:lnTo>
                      <a:pt x="144" y="201"/>
                    </a:lnTo>
                    <a:lnTo>
                      <a:pt x="146" y="203"/>
                    </a:lnTo>
                    <a:lnTo>
                      <a:pt x="146" y="205"/>
                    </a:lnTo>
                    <a:lnTo>
                      <a:pt x="139" y="205"/>
                    </a:lnTo>
                    <a:lnTo>
                      <a:pt x="131" y="205"/>
                    </a:lnTo>
                    <a:lnTo>
                      <a:pt x="124" y="205"/>
                    </a:lnTo>
                    <a:lnTo>
                      <a:pt x="116" y="205"/>
                    </a:lnTo>
                    <a:lnTo>
                      <a:pt x="109" y="207"/>
                    </a:lnTo>
                    <a:lnTo>
                      <a:pt x="102" y="207"/>
                    </a:lnTo>
                    <a:lnTo>
                      <a:pt x="102" y="207"/>
                    </a:lnTo>
                    <a:lnTo>
                      <a:pt x="93" y="209"/>
                    </a:lnTo>
                    <a:lnTo>
                      <a:pt x="85" y="210"/>
                    </a:lnTo>
                    <a:lnTo>
                      <a:pt x="83" y="210"/>
                    </a:lnTo>
                    <a:lnTo>
                      <a:pt x="83" y="209"/>
                    </a:lnTo>
                    <a:lnTo>
                      <a:pt x="81" y="209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80" y="214"/>
                    </a:lnTo>
                    <a:lnTo>
                      <a:pt x="80" y="214"/>
                    </a:lnTo>
                    <a:lnTo>
                      <a:pt x="81" y="214"/>
                    </a:lnTo>
                    <a:lnTo>
                      <a:pt x="80" y="223"/>
                    </a:lnTo>
                    <a:lnTo>
                      <a:pt x="76" y="233"/>
                    </a:lnTo>
                    <a:lnTo>
                      <a:pt x="76" y="233"/>
                    </a:lnTo>
                    <a:lnTo>
                      <a:pt x="74" y="244"/>
                    </a:lnTo>
                    <a:lnTo>
                      <a:pt x="69" y="255"/>
                    </a:lnTo>
                    <a:lnTo>
                      <a:pt x="65" y="266"/>
                    </a:lnTo>
                    <a:lnTo>
                      <a:pt x="59" y="277"/>
                    </a:lnTo>
                    <a:lnTo>
                      <a:pt x="57" y="281"/>
                    </a:lnTo>
                    <a:lnTo>
                      <a:pt x="56" y="284"/>
                    </a:lnTo>
                    <a:lnTo>
                      <a:pt x="52" y="288"/>
                    </a:lnTo>
                    <a:lnTo>
                      <a:pt x="50" y="292"/>
                    </a:lnTo>
                    <a:lnTo>
                      <a:pt x="50" y="292"/>
                    </a:lnTo>
                    <a:lnTo>
                      <a:pt x="61" y="312"/>
                    </a:lnTo>
                    <a:lnTo>
                      <a:pt x="67" y="325"/>
                    </a:lnTo>
                    <a:lnTo>
                      <a:pt x="69" y="329"/>
                    </a:lnTo>
                    <a:lnTo>
                      <a:pt x="69" y="332"/>
                    </a:lnTo>
                    <a:lnTo>
                      <a:pt x="70" y="338"/>
                    </a:lnTo>
                    <a:lnTo>
                      <a:pt x="70" y="341"/>
                    </a:lnTo>
                    <a:lnTo>
                      <a:pt x="69" y="341"/>
                    </a:lnTo>
                    <a:lnTo>
                      <a:pt x="65" y="340"/>
                    </a:lnTo>
                    <a:lnTo>
                      <a:pt x="61" y="340"/>
                    </a:lnTo>
                    <a:lnTo>
                      <a:pt x="59" y="338"/>
                    </a:lnTo>
                    <a:lnTo>
                      <a:pt x="59" y="338"/>
                    </a:lnTo>
                    <a:lnTo>
                      <a:pt x="56" y="336"/>
                    </a:lnTo>
                    <a:lnTo>
                      <a:pt x="52" y="332"/>
                    </a:lnTo>
                    <a:lnTo>
                      <a:pt x="48" y="329"/>
                    </a:lnTo>
                    <a:lnTo>
                      <a:pt x="46" y="327"/>
                    </a:lnTo>
                    <a:lnTo>
                      <a:pt x="46" y="327"/>
                    </a:lnTo>
                    <a:lnTo>
                      <a:pt x="45" y="325"/>
                    </a:lnTo>
                    <a:lnTo>
                      <a:pt x="45" y="325"/>
                    </a:lnTo>
                    <a:lnTo>
                      <a:pt x="41" y="323"/>
                    </a:lnTo>
                    <a:lnTo>
                      <a:pt x="39" y="321"/>
                    </a:lnTo>
                    <a:lnTo>
                      <a:pt x="37" y="319"/>
                    </a:lnTo>
                    <a:lnTo>
                      <a:pt x="35" y="319"/>
                    </a:lnTo>
                    <a:lnTo>
                      <a:pt x="33" y="317"/>
                    </a:lnTo>
                    <a:lnTo>
                      <a:pt x="33" y="314"/>
                    </a:lnTo>
                    <a:lnTo>
                      <a:pt x="33" y="310"/>
                    </a:lnTo>
                    <a:lnTo>
                      <a:pt x="33" y="310"/>
                    </a:lnTo>
                    <a:lnTo>
                      <a:pt x="32" y="310"/>
                    </a:lnTo>
                    <a:lnTo>
                      <a:pt x="32" y="310"/>
                    </a:lnTo>
                    <a:lnTo>
                      <a:pt x="32" y="310"/>
                    </a:lnTo>
                    <a:lnTo>
                      <a:pt x="30" y="310"/>
                    </a:lnTo>
                    <a:lnTo>
                      <a:pt x="28" y="308"/>
                    </a:lnTo>
                    <a:lnTo>
                      <a:pt x="26" y="308"/>
                    </a:lnTo>
                    <a:lnTo>
                      <a:pt x="28" y="316"/>
                    </a:lnTo>
                    <a:lnTo>
                      <a:pt x="30" y="321"/>
                    </a:lnTo>
                    <a:lnTo>
                      <a:pt x="30" y="321"/>
                    </a:lnTo>
                    <a:lnTo>
                      <a:pt x="32" y="323"/>
                    </a:lnTo>
                    <a:lnTo>
                      <a:pt x="32" y="325"/>
                    </a:lnTo>
                    <a:lnTo>
                      <a:pt x="30" y="330"/>
                    </a:lnTo>
                    <a:lnTo>
                      <a:pt x="30" y="336"/>
                    </a:lnTo>
                    <a:lnTo>
                      <a:pt x="30" y="336"/>
                    </a:lnTo>
                    <a:lnTo>
                      <a:pt x="28" y="341"/>
                    </a:lnTo>
                    <a:lnTo>
                      <a:pt x="28" y="345"/>
                    </a:lnTo>
                    <a:lnTo>
                      <a:pt x="28" y="345"/>
                    </a:lnTo>
                    <a:lnTo>
                      <a:pt x="28" y="35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58"/>
                    </a:lnTo>
                    <a:lnTo>
                      <a:pt x="28" y="360"/>
                    </a:lnTo>
                    <a:lnTo>
                      <a:pt x="28" y="360"/>
                    </a:lnTo>
                    <a:lnTo>
                      <a:pt x="30" y="367"/>
                    </a:lnTo>
                    <a:lnTo>
                      <a:pt x="30" y="367"/>
                    </a:lnTo>
                    <a:lnTo>
                      <a:pt x="32" y="375"/>
                    </a:lnTo>
                    <a:lnTo>
                      <a:pt x="35" y="382"/>
                    </a:lnTo>
                    <a:lnTo>
                      <a:pt x="37" y="391"/>
                    </a:lnTo>
                    <a:lnTo>
                      <a:pt x="32" y="389"/>
                    </a:lnTo>
                    <a:lnTo>
                      <a:pt x="26" y="388"/>
                    </a:lnTo>
                    <a:lnTo>
                      <a:pt x="19" y="388"/>
                    </a:lnTo>
                    <a:lnTo>
                      <a:pt x="11" y="386"/>
                    </a:lnTo>
                    <a:lnTo>
                      <a:pt x="11" y="386"/>
                    </a:lnTo>
                    <a:lnTo>
                      <a:pt x="11" y="393"/>
                    </a:lnTo>
                    <a:lnTo>
                      <a:pt x="11" y="393"/>
                    </a:lnTo>
                    <a:lnTo>
                      <a:pt x="13" y="397"/>
                    </a:lnTo>
                    <a:lnTo>
                      <a:pt x="15" y="402"/>
                    </a:lnTo>
                    <a:lnTo>
                      <a:pt x="15" y="402"/>
                    </a:lnTo>
                    <a:lnTo>
                      <a:pt x="17" y="408"/>
                    </a:lnTo>
                    <a:lnTo>
                      <a:pt x="13" y="408"/>
                    </a:lnTo>
                    <a:lnTo>
                      <a:pt x="9" y="408"/>
                    </a:lnTo>
                    <a:lnTo>
                      <a:pt x="4" y="408"/>
                    </a:lnTo>
                    <a:lnTo>
                      <a:pt x="0" y="408"/>
                    </a:lnTo>
                    <a:lnTo>
                      <a:pt x="0" y="408"/>
                    </a:lnTo>
                    <a:lnTo>
                      <a:pt x="2" y="419"/>
                    </a:lnTo>
                    <a:lnTo>
                      <a:pt x="6" y="426"/>
                    </a:lnTo>
                    <a:lnTo>
                      <a:pt x="8" y="432"/>
                    </a:lnTo>
                    <a:lnTo>
                      <a:pt x="9" y="436"/>
                    </a:lnTo>
                    <a:lnTo>
                      <a:pt x="9" y="436"/>
                    </a:lnTo>
                    <a:lnTo>
                      <a:pt x="11" y="439"/>
                    </a:lnTo>
                    <a:lnTo>
                      <a:pt x="11" y="439"/>
                    </a:lnTo>
                    <a:lnTo>
                      <a:pt x="13" y="441"/>
                    </a:lnTo>
                    <a:lnTo>
                      <a:pt x="15" y="445"/>
                    </a:lnTo>
                    <a:lnTo>
                      <a:pt x="15" y="445"/>
                    </a:lnTo>
                    <a:lnTo>
                      <a:pt x="19" y="448"/>
                    </a:lnTo>
                    <a:lnTo>
                      <a:pt x="21" y="452"/>
                    </a:lnTo>
                    <a:lnTo>
                      <a:pt x="24" y="454"/>
                    </a:lnTo>
                    <a:lnTo>
                      <a:pt x="24" y="454"/>
                    </a:lnTo>
                    <a:lnTo>
                      <a:pt x="28" y="458"/>
                    </a:lnTo>
                    <a:lnTo>
                      <a:pt x="32" y="460"/>
                    </a:lnTo>
                    <a:lnTo>
                      <a:pt x="35" y="463"/>
                    </a:lnTo>
                    <a:lnTo>
                      <a:pt x="39" y="465"/>
                    </a:lnTo>
                    <a:lnTo>
                      <a:pt x="35" y="467"/>
                    </a:lnTo>
                    <a:lnTo>
                      <a:pt x="35" y="467"/>
                    </a:lnTo>
                    <a:lnTo>
                      <a:pt x="33" y="471"/>
                    </a:lnTo>
                    <a:lnTo>
                      <a:pt x="32" y="472"/>
                    </a:lnTo>
                    <a:lnTo>
                      <a:pt x="43" y="472"/>
                    </a:lnTo>
                    <a:lnTo>
                      <a:pt x="48" y="474"/>
                    </a:lnTo>
                    <a:lnTo>
                      <a:pt x="48" y="476"/>
                    </a:lnTo>
                    <a:lnTo>
                      <a:pt x="50" y="476"/>
                    </a:lnTo>
                    <a:lnTo>
                      <a:pt x="50" y="478"/>
                    </a:lnTo>
                    <a:lnTo>
                      <a:pt x="50" y="478"/>
                    </a:lnTo>
                    <a:lnTo>
                      <a:pt x="46" y="478"/>
                    </a:lnTo>
                    <a:lnTo>
                      <a:pt x="46" y="478"/>
                    </a:lnTo>
                    <a:lnTo>
                      <a:pt x="45" y="478"/>
                    </a:lnTo>
                    <a:lnTo>
                      <a:pt x="43" y="478"/>
                    </a:lnTo>
                    <a:lnTo>
                      <a:pt x="43" y="478"/>
                    </a:lnTo>
                    <a:lnTo>
                      <a:pt x="41" y="478"/>
                    </a:lnTo>
                    <a:lnTo>
                      <a:pt x="41" y="478"/>
                    </a:lnTo>
                    <a:lnTo>
                      <a:pt x="39" y="480"/>
                    </a:lnTo>
                    <a:lnTo>
                      <a:pt x="39" y="480"/>
                    </a:lnTo>
                    <a:lnTo>
                      <a:pt x="39" y="482"/>
                    </a:lnTo>
                    <a:lnTo>
                      <a:pt x="39" y="482"/>
                    </a:lnTo>
                    <a:lnTo>
                      <a:pt x="39" y="484"/>
                    </a:lnTo>
                    <a:lnTo>
                      <a:pt x="39" y="484"/>
                    </a:lnTo>
                    <a:lnTo>
                      <a:pt x="39" y="485"/>
                    </a:lnTo>
                    <a:lnTo>
                      <a:pt x="39" y="485"/>
                    </a:lnTo>
                    <a:lnTo>
                      <a:pt x="45" y="485"/>
                    </a:lnTo>
                    <a:lnTo>
                      <a:pt x="50" y="485"/>
                    </a:lnTo>
                    <a:lnTo>
                      <a:pt x="56" y="502"/>
                    </a:lnTo>
                    <a:lnTo>
                      <a:pt x="61" y="519"/>
                    </a:lnTo>
                    <a:lnTo>
                      <a:pt x="63" y="524"/>
                    </a:lnTo>
                    <a:lnTo>
                      <a:pt x="67" y="530"/>
                    </a:lnTo>
                    <a:lnTo>
                      <a:pt x="69" y="537"/>
                    </a:lnTo>
                    <a:lnTo>
                      <a:pt x="70" y="543"/>
                    </a:lnTo>
                    <a:lnTo>
                      <a:pt x="74" y="546"/>
                    </a:lnTo>
                    <a:lnTo>
                      <a:pt x="74" y="546"/>
                    </a:lnTo>
                    <a:lnTo>
                      <a:pt x="78" y="552"/>
                    </a:lnTo>
                    <a:lnTo>
                      <a:pt x="78" y="552"/>
                    </a:lnTo>
                    <a:lnTo>
                      <a:pt x="83" y="556"/>
                    </a:lnTo>
                    <a:lnTo>
                      <a:pt x="83" y="556"/>
                    </a:lnTo>
                    <a:lnTo>
                      <a:pt x="87" y="559"/>
                    </a:lnTo>
                    <a:lnTo>
                      <a:pt x="87" y="559"/>
                    </a:lnTo>
                    <a:lnTo>
                      <a:pt x="94" y="563"/>
                    </a:lnTo>
                    <a:lnTo>
                      <a:pt x="100" y="565"/>
                    </a:lnTo>
                    <a:lnTo>
                      <a:pt x="109" y="568"/>
                    </a:lnTo>
                    <a:lnTo>
                      <a:pt x="118" y="570"/>
                    </a:lnTo>
                    <a:lnTo>
                      <a:pt x="120" y="565"/>
                    </a:lnTo>
                    <a:lnTo>
                      <a:pt x="122" y="561"/>
                    </a:lnTo>
                    <a:lnTo>
                      <a:pt x="124" y="561"/>
                    </a:lnTo>
                    <a:lnTo>
                      <a:pt x="118" y="559"/>
                    </a:lnTo>
                    <a:lnTo>
                      <a:pt x="115" y="557"/>
                    </a:lnTo>
                    <a:lnTo>
                      <a:pt x="115" y="557"/>
                    </a:lnTo>
                    <a:lnTo>
                      <a:pt x="111" y="556"/>
                    </a:lnTo>
                    <a:lnTo>
                      <a:pt x="111" y="556"/>
                    </a:lnTo>
                    <a:lnTo>
                      <a:pt x="115" y="554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52"/>
                    </a:lnTo>
                    <a:lnTo>
                      <a:pt x="126" y="548"/>
                    </a:lnTo>
                    <a:lnTo>
                      <a:pt x="126" y="548"/>
                    </a:lnTo>
                    <a:lnTo>
                      <a:pt x="128" y="546"/>
                    </a:lnTo>
                    <a:lnTo>
                      <a:pt x="128" y="546"/>
                    </a:lnTo>
                    <a:lnTo>
                      <a:pt x="131" y="543"/>
                    </a:lnTo>
                    <a:lnTo>
                      <a:pt x="133" y="539"/>
                    </a:lnTo>
                    <a:lnTo>
                      <a:pt x="133" y="539"/>
                    </a:lnTo>
                    <a:lnTo>
                      <a:pt x="135" y="535"/>
                    </a:lnTo>
                    <a:lnTo>
                      <a:pt x="139" y="539"/>
                    </a:lnTo>
                    <a:lnTo>
                      <a:pt x="140" y="544"/>
                    </a:lnTo>
                    <a:lnTo>
                      <a:pt x="144" y="550"/>
                    </a:lnTo>
                    <a:lnTo>
                      <a:pt x="144" y="554"/>
                    </a:lnTo>
                    <a:lnTo>
                      <a:pt x="146" y="559"/>
                    </a:lnTo>
                    <a:lnTo>
                      <a:pt x="148" y="565"/>
                    </a:lnTo>
                    <a:lnTo>
                      <a:pt x="148" y="570"/>
                    </a:lnTo>
                    <a:lnTo>
                      <a:pt x="148" y="576"/>
                    </a:lnTo>
                    <a:lnTo>
                      <a:pt x="150" y="576"/>
                    </a:lnTo>
                    <a:lnTo>
                      <a:pt x="150" y="576"/>
                    </a:lnTo>
                    <a:lnTo>
                      <a:pt x="150" y="570"/>
                    </a:lnTo>
                    <a:lnTo>
                      <a:pt x="148" y="565"/>
                    </a:lnTo>
                    <a:lnTo>
                      <a:pt x="148" y="559"/>
                    </a:lnTo>
                    <a:lnTo>
                      <a:pt x="146" y="554"/>
                    </a:lnTo>
                    <a:lnTo>
                      <a:pt x="144" y="548"/>
                    </a:lnTo>
                    <a:lnTo>
                      <a:pt x="144" y="548"/>
                    </a:lnTo>
                    <a:lnTo>
                      <a:pt x="142" y="544"/>
                    </a:lnTo>
                    <a:lnTo>
                      <a:pt x="142" y="544"/>
                    </a:lnTo>
                    <a:lnTo>
                      <a:pt x="140" y="539"/>
                    </a:lnTo>
                    <a:lnTo>
                      <a:pt x="140" y="539"/>
                    </a:lnTo>
                    <a:lnTo>
                      <a:pt x="137" y="533"/>
                    </a:lnTo>
                    <a:lnTo>
                      <a:pt x="135" y="532"/>
                    </a:lnTo>
                    <a:lnTo>
                      <a:pt x="131" y="539"/>
                    </a:lnTo>
                    <a:lnTo>
                      <a:pt x="129" y="543"/>
                    </a:lnTo>
                    <a:lnTo>
                      <a:pt x="128" y="544"/>
                    </a:lnTo>
                    <a:lnTo>
                      <a:pt x="126" y="548"/>
                    </a:lnTo>
                    <a:lnTo>
                      <a:pt x="122" y="550"/>
                    </a:lnTo>
                    <a:lnTo>
                      <a:pt x="118" y="552"/>
                    </a:lnTo>
                    <a:lnTo>
                      <a:pt x="113" y="552"/>
                    </a:lnTo>
                    <a:lnTo>
                      <a:pt x="107" y="554"/>
                    </a:lnTo>
                    <a:lnTo>
                      <a:pt x="105" y="556"/>
                    </a:lnTo>
                    <a:lnTo>
                      <a:pt x="111" y="557"/>
                    </a:lnTo>
                    <a:lnTo>
                      <a:pt x="115" y="559"/>
                    </a:lnTo>
                    <a:lnTo>
                      <a:pt x="118" y="559"/>
                    </a:lnTo>
                    <a:lnTo>
                      <a:pt x="120" y="561"/>
                    </a:lnTo>
                    <a:lnTo>
                      <a:pt x="118" y="565"/>
                    </a:lnTo>
                    <a:lnTo>
                      <a:pt x="118" y="565"/>
                    </a:lnTo>
                    <a:lnTo>
                      <a:pt x="116" y="568"/>
                    </a:lnTo>
                    <a:lnTo>
                      <a:pt x="109" y="567"/>
                    </a:lnTo>
                    <a:lnTo>
                      <a:pt x="102" y="565"/>
                    </a:lnTo>
                    <a:lnTo>
                      <a:pt x="94" y="561"/>
                    </a:lnTo>
                    <a:lnTo>
                      <a:pt x="89" y="557"/>
                    </a:lnTo>
                    <a:lnTo>
                      <a:pt x="83" y="554"/>
                    </a:lnTo>
                    <a:lnTo>
                      <a:pt x="80" y="550"/>
                    </a:lnTo>
                    <a:lnTo>
                      <a:pt x="76" y="546"/>
                    </a:lnTo>
                    <a:lnTo>
                      <a:pt x="72" y="541"/>
                    </a:lnTo>
                    <a:lnTo>
                      <a:pt x="69" y="535"/>
                    </a:lnTo>
                    <a:lnTo>
                      <a:pt x="67" y="530"/>
                    </a:lnTo>
                    <a:lnTo>
                      <a:pt x="65" y="524"/>
                    </a:lnTo>
                    <a:lnTo>
                      <a:pt x="63" y="517"/>
                    </a:lnTo>
                    <a:lnTo>
                      <a:pt x="57" y="502"/>
                    </a:lnTo>
                    <a:lnTo>
                      <a:pt x="50" y="484"/>
                    </a:lnTo>
                    <a:lnTo>
                      <a:pt x="45" y="484"/>
                    </a:lnTo>
                    <a:lnTo>
                      <a:pt x="41" y="484"/>
                    </a:lnTo>
                    <a:lnTo>
                      <a:pt x="41" y="484"/>
                    </a:lnTo>
                    <a:lnTo>
                      <a:pt x="41" y="482"/>
                    </a:lnTo>
                    <a:lnTo>
                      <a:pt x="41" y="480"/>
                    </a:lnTo>
                    <a:lnTo>
                      <a:pt x="41" y="480"/>
                    </a:lnTo>
                    <a:lnTo>
                      <a:pt x="43" y="480"/>
                    </a:lnTo>
                    <a:lnTo>
                      <a:pt x="45" y="480"/>
                    </a:lnTo>
                    <a:lnTo>
                      <a:pt x="46" y="480"/>
                    </a:lnTo>
                    <a:lnTo>
                      <a:pt x="50" y="480"/>
                    </a:lnTo>
                    <a:lnTo>
                      <a:pt x="52" y="480"/>
                    </a:lnTo>
                    <a:lnTo>
                      <a:pt x="52" y="478"/>
                    </a:lnTo>
                    <a:lnTo>
                      <a:pt x="52" y="478"/>
                    </a:lnTo>
                    <a:lnTo>
                      <a:pt x="50" y="476"/>
                    </a:lnTo>
                    <a:lnTo>
                      <a:pt x="50" y="476"/>
                    </a:lnTo>
                    <a:lnTo>
                      <a:pt x="50" y="474"/>
                    </a:lnTo>
                    <a:lnTo>
                      <a:pt x="50" y="474"/>
                    </a:lnTo>
                    <a:lnTo>
                      <a:pt x="48" y="474"/>
                    </a:lnTo>
                    <a:lnTo>
                      <a:pt x="48" y="474"/>
                    </a:lnTo>
                    <a:lnTo>
                      <a:pt x="45" y="472"/>
                    </a:lnTo>
                    <a:lnTo>
                      <a:pt x="45" y="472"/>
                    </a:lnTo>
                    <a:lnTo>
                      <a:pt x="35" y="471"/>
                    </a:lnTo>
                    <a:lnTo>
                      <a:pt x="37" y="469"/>
                    </a:lnTo>
                    <a:lnTo>
                      <a:pt x="39" y="465"/>
                    </a:lnTo>
                    <a:lnTo>
                      <a:pt x="41" y="465"/>
                    </a:lnTo>
                    <a:lnTo>
                      <a:pt x="35" y="461"/>
                    </a:lnTo>
                    <a:lnTo>
                      <a:pt x="32" y="460"/>
                    </a:lnTo>
                    <a:lnTo>
                      <a:pt x="28" y="456"/>
                    </a:lnTo>
                    <a:lnTo>
                      <a:pt x="24" y="454"/>
                    </a:lnTo>
                    <a:lnTo>
                      <a:pt x="22" y="450"/>
                    </a:lnTo>
                    <a:lnTo>
                      <a:pt x="21" y="447"/>
                    </a:lnTo>
                    <a:lnTo>
                      <a:pt x="17" y="445"/>
                    </a:lnTo>
                    <a:lnTo>
                      <a:pt x="15" y="441"/>
                    </a:lnTo>
                    <a:lnTo>
                      <a:pt x="13" y="437"/>
                    </a:lnTo>
                    <a:lnTo>
                      <a:pt x="11" y="434"/>
                    </a:lnTo>
                    <a:lnTo>
                      <a:pt x="9" y="430"/>
                    </a:lnTo>
                    <a:lnTo>
                      <a:pt x="9" y="430"/>
                    </a:lnTo>
                    <a:lnTo>
                      <a:pt x="8" y="426"/>
                    </a:lnTo>
                    <a:lnTo>
                      <a:pt x="4" y="417"/>
                    </a:lnTo>
                    <a:lnTo>
                      <a:pt x="2" y="410"/>
                    </a:lnTo>
                    <a:lnTo>
                      <a:pt x="4" y="410"/>
                    </a:lnTo>
                    <a:lnTo>
                      <a:pt x="9" y="410"/>
                    </a:lnTo>
                    <a:lnTo>
                      <a:pt x="13" y="410"/>
                    </a:lnTo>
                    <a:lnTo>
                      <a:pt x="17" y="410"/>
                    </a:lnTo>
                    <a:lnTo>
                      <a:pt x="19" y="410"/>
                    </a:lnTo>
                    <a:lnTo>
                      <a:pt x="17" y="402"/>
                    </a:lnTo>
                    <a:lnTo>
                      <a:pt x="17" y="402"/>
                    </a:lnTo>
                    <a:lnTo>
                      <a:pt x="15" y="397"/>
                    </a:lnTo>
                    <a:lnTo>
                      <a:pt x="13" y="391"/>
                    </a:lnTo>
                    <a:lnTo>
                      <a:pt x="13" y="388"/>
                    </a:lnTo>
                    <a:lnTo>
                      <a:pt x="19" y="389"/>
                    </a:lnTo>
                    <a:lnTo>
                      <a:pt x="24" y="389"/>
                    </a:lnTo>
                    <a:lnTo>
                      <a:pt x="32" y="391"/>
                    </a:lnTo>
                    <a:lnTo>
                      <a:pt x="39" y="393"/>
                    </a:lnTo>
                    <a:lnTo>
                      <a:pt x="41" y="393"/>
                    </a:lnTo>
                    <a:lnTo>
                      <a:pt x="37" y="382"/>
                    </a:lnTo>
                    <a:lnTo>
                      <a:pt x="33" y="375"/>
                    </a:lnTo>
                    <a:lnTo>
                      <a:pt x="32" y="367"/>
                    </a:lnTo>
                    <a:lnTo>
                      <a:pt x="30" y="360"/>
                    </a:lnTo>
                    <a:lnTo>
                      <a:pt x="30" y="358"/>
                    </a:lnTo>
                    <a:lnTo>
                      <a:pt x="28" y="354"/>
                    </a:lnTo>
                    <a:lnTo>
                      <a:pt x="28" y="351"/>
                    </a:lnTo>
                    <a:lnTo>
                      <a:pt x="30" y="345"/>
                    </a:lnTo>
                    <a:lnTo>
                      <a:pt x="30" y="341"/>
                    </a:lnTo>
                    <a:lnTo>
                      <a:pt x="30" y="336"/>
                    </a:lnTo>
                    <a:lnTo>
                      <a:pt x="32" y="330"/>
                    </a:lnTo>
                    <a:lnTo>
                      <a:pt x="33" y="325"/>
                    </a:lnTo>
                    <a:lnTo>
                      <a:pt x="33" y="323"/>
                    </a:lnTo>
                    <a:lnTo>
                      <a:pt x="32" y="321"/>
                    </a:lnTo>
                    <a:lnTo>
                      <a:pt x="32" y="321"/>
                    </a:lnTo>
                    <a:lnTo>
                      <a:pt x="30" y="316"/>
                    </a:lnTo>
                    <a:lnTo>
                      <a:pt x="28" y="310"/>
                    </a:lnTo>
                    <a:lnTo>
                      <a:pt x="30" y="310"/>
                    </a:lnTo>
                    <a:lnTo>
                      <a:pt x="30" y="310"/>
                    </a:lnTo>
                    <a:lnTo>
                      <a:pt x="30" y="310"/>
                    </a:lnTo>
                    <a:lnTo>
                      <a:pt x="32" y="312"/>
                    </a:lnTo>
                    <a:lnTo>
                      <a:pt x="32" y="312"/>
                    </a:lnTo>
                    <a:lnTo>
                      <a:pt x="32" y="314"/>
                    </a:lnTo>
                    <a:lnTo>
                      <a:pt x="32" y="317"/>
                    </a:lnTo>
                    <a:lnTo>
                      <a:pt x="32" y="319"/>
                    </a:lnTo>
                    <a:lnTo>
                      <a:pt x="33" y="319"/>
                    </a:lnTo>
                    <a:lnTo>
                      <a:pt x="35" y="321"/>
                    </a:lnTo>
                    <a:lnTo>
                      <a:pt x="35" y="321"/>
                    </a:lnTo>
                    <a:lnTo>
                      <a:pt x="39" y="323"/>
                    </a:lnTo>
                    <a:lnTo>
                      <a:pt x="41" y="325"/>
                    </a:lnTo>
                    <a:lnTo>
                      <a:pt x="43" y="327"/>
                    </a:lnTo>
                    <a:lnTo>
                      <a:pt x="45" y="327"/>
                    </a:lnTo>
                    <a:lnTo>
                      <a:pt x="48" y="330"/>
                    </a:lnTo>
                    <a:lnTo>
                      <a:pt x="52" y="334"/>
                    </a:lnTo>
                    <a:lnTo>
                      <a:pt x="54" y="336"/>
                    </a:lnTo>
                    <a:lnTo>
                      <a:pt x="54" y="336"/>
                    </a:lnTo>
                    <a:lnTo>
                      <a:pt x="59" y="340"/>
                    </a:lnTo>
                    <a:lnTo>
                      <a:pt x="61" y="340"/>
                    </a:lnTo>
                    <a:lnTo>
                      <a:pt x="61" y="341"/>
                    </a:lnTo>
                    <a:lnTo>
                      <a:pt x="63" y="341"/>
                    </a:lnTo>
                    <a:lnTo>
                      <a:pt x="63" y="341"/>
                    </a:lnTo>
                    <a:lnTo>
                      <a:pt x="67" y="343"/>
                    </a:lnTo>
                    <a:lnTo>
                      <a:pt x="70" y="343"/>
                    </a:lnTo>
                    <a:lnTo>
                      <a:pt x="72" y="343"/>
                    </a:lnTo>
                    <a:lnTo>
                      <a:pt x="72" y="338"/>
                    </a:lnTo>
                    <a:lnTo>
                      <a:pt x="70" y="332"/>
                    </a:lnTo>
                    <a:lnTo>
                      <a:pt x="70" y="332"/>
                    </a:lnTo>
                    <a:lnTo>
                      <a:pt x="69" y="329"/>
                    </a:lnTo>
                    <a:lnTo>
                      <a:pt x="67" y="323"/>
                    </a:lnTo>
                    <a:lnTo>
                      <a:pt x="61" y="312"/>
                    </a:lnTo>
                    <a:lnTo>
                      <a:pt x="52" y="292"/>
                    </a:lnTo>
                    <a:lnTo>
                      <a:pt x="54" y="290"/>
                    </a:lnTo>
                    <a:lnTo>
                      <a:pt x="56" y="286"/>
                    </a:lnTo>
                    <a:lnTo>
                      <a:pt x="59" y="281"/>
                    </a:lnTo>
                    <a:lnTo>
                      <a:pt x="61" y="277"/>
                    </a:lnTo>
                    <a:lnTo>
                      <a:pt x="61" y="277"/>
                    </a:lnTo>
                    <a:lnTo>
                      <a:pt x="67" y="266"/>
                    </a:lnTo>
                    <a:lnTo>
                      <a:pt x="70" y="255"/>
                    </a:lnTo>
                    <a:lnTo>
                      <a:pt x="74" y="244"/>
                    </a:lnTo>
                    <a:lnTo>
                      <a:pt x="78" y="233"/>
                    </a:lnTo>
                    <a:lnTo>
                      <a:pt x="81" y="223"/>
                    </a:lnTo>
                    <a:lnTo>
                      <a:pt x="83" y="214"/>
                    </a:lnTo>
                    <a:lnTo>
                      <a:pt x="81" y="212"/>
                    </a:lnTo>
                    <a:lnTo>
                      <a:pt x="80" y="212"/>
                    </a:lnTo>
                    <a:lnTo>
                      <a:pt x="81" y="210"/>
                    </a:lnTo>
                    <a:lnTo>
                      <a:pt x="81" y="210"/>
                    </a:lnTo>
                    <a:lnTo>
                      <a:pt x="83" y="210"/>
                    </a:lnTo>
                    <a:lnTo>
                      <a:pt x="83" y="212"/>
                    </a:lnTo>
                    <a:lnTo>
                      <a:pt x="85" y="212"/>
                    </a:lnTo>
                    <a:lnTo>
                      <a:pt x="93" y="210"/>
                    </a:lnTo>
                    <a:lnTo>
                      <a:pt x="102" y="209"/>
                    </a:lnTo>
                    <a:lnTo>
                      <a:pt x="109" y="207"/>
                    </a:lnTo>
                    <a:lnTo>
                      <a:pt x="116" y="207"/>
                    </a:lnTo>
                    <a:lnTo>
                      <a:pt x="124" y="207"/>
                    </a:lnTo>
                    <a:lnTo>
                      <a:pt x="131" y="207"/>
                    </a:lnTo>
                    <a:lnTo>
                      <a:pt x="139" y="207"/>
                    </a:lnTo>
                    <a:lnTo>
                      <a:pt x="148" y="207"/>
                    </a:lnTo>
                    <a:lnTo>
                      <a:pt x="150" y="207"/>
                    </a:lnTo>
                    <a:lnTo>
                      <a:pt x="148" y="203"/>
                    </a:lnTo>
                    <a:lnTo>
                      <a:pt x="146" y="199"/>
                    </a:lnTo>
                    <a:lnTo>
                      <a:pt x="146" y="199"/>
                    </a:lnTo>
                    <a:lnTo>
                      <a:pt x="146" y="199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4" y="194"/>
                    </a:lnTo>
                    <a:lnTo>
                      <a:pt x="140" y="192"/>
                    </a:lnTo>
                    <a:lnTo>
                      <a:pt x="137" y="190"/>
                    </a:lnTo>
                    <a:lnTo>
                      <a:pt x="135" y="190"/>
                    </a:lnTo>
                    <a:lnTo>
                      <a:pt x="133" y="188"/>
                    </a:lnTo>
                    <a:lnTo>
                      <a:pt x="131" y="185"/>
                    </a:lnTo>
                    <a:lnTo>
                      <a:pt x="131" y="181"/>
                    </a:lnTo>
                    <a:lnTo>
                      <a:pt x="131" y="177"/>
                    </a:lnTo>
                    <a:lnTo>
                      <a:pt x="131" y="174"/>
                    </a:lnTo>
                    <a:lnTo>
                      <a:pt x="131" y="174"/>
                    </a:lnTo>
                    <a:lnTo>
                      <a:pt x="128" y="174"/>
                    </a:lnTo>
                    <a:lnTo>
                      <a:pt x="122" y="174"/>
                    </a:lnTo>
                    <a:lnTo>
                      <a:pt x="118" y="174"/>
                    </a:lnTo>
                    <a:lnTo>
                      <a:pt x="116" y="174"/>
                    </a:lnTo>
                    <a:lnTo>
                      <a:pt x="116" y="172"/>
                    </a:lnTo>
                    <a:lnTo>
                      <a:pt x="115" y="170"/>
                    </a:lnTo>
                    <a:lnTo>
                      <a:pt x="116" y="170"/>
                    </a:lnTo>
                    <a:lnTo>
                      <a:pt x="116" y="168"/>
                    </a:lnTo>
                    <a:lnTo>
                      <a:pt x="118" y="166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53"/>
                    </a:lnTo>
                    <a:lnTo>
                      <a:pt x="124" y="144"/>
                    </a:lnTo>
                    <a:lnTo>
                      <a:pt x="122" y="137"/>
                    </a:lnTo>
                    <a:lnTo>
                      <a:pt x="120" y="129"/>
                    </a:lnTo>
                    <a:lnTo>
                      <a:pt x="118" y="120"/>
                    </a:lnTo>
                    <a:lnTo>
                      <a:pt x="118" y="111"/>
                    </a:lnTo>
                    <a:lnTo>
                      <a:pt x="116" y="100"/>
                    </a:lnTo>
                    <a:lnTo>
                      <a:pt x="115" y="85"/>
                    </a:lnTo>
                    <a:lnTo>
                      <a:pt x="111" y="85"/>
                    </a:lnTo>
                    <a:lnTo>
                      <a:pt x="107" y="83"/>
                    </a:lnTo>
                    <a:lnTo>
                      <a:pt x="107" y="83"/>
                    </a:lnTo>
                    <a:lnTo>
                      <a:pt x="102" y="83"/>
                    </a:lnTo>
                    <a:lnTo>
                      <a:pt x="100" y="81"/>
                    </a:lnTo>
                    <a:lnTo>
                      <a:pt x="100" y="78"/>
                    </a:lnTo>
                    <a:lnTo>
                      <a:pt x="98" y="74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6" y="65"/>
                    </a:lnTo>
                    <a:lnTo>
                      <a:pt x="96" y="65"/>
                    </a:lnTo>
                    <a:lnTo>
                      <a:pt x="96" y="65"/>
                    </a:lnTo>
                    <a:lnTo>
                      <a:pt x="93" y="61"/>
                    </a:lnTo>
                    <a:lnTo>
                      <a:pt x="91" y="59"/>
                    </a:lnTo>
                    <a:lnTo>
                      <a:pt x="94" y="57"/>
                    </a:lnTo>
                    <a:lnTo>
                      <a:pt x="98" y="54"/>
                    </a:lnTo>
                    <a:lnTo>
                      <a:pt x="98" y="54"/>
                    </a:lnTo>
                    <a:lnTo>
                      <a:pt x="98" y="48"/>
                    </a:lnTo>
                    <a:lnTo>
                      <a:pt x="96" y="44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94" y="37"/>
                    </a:lnTo>
                    <a:lnTo>
                      <a:pt x="94" y="37"/>
                    </a:lnTo>
                    <a:lnTo>
                      <a:pt x="93" y="35"/>
                    </a:lnTo>
                    <a:lnTo>
                      <a:pt x="93" y="35"/>
                    </a:lnTo>
                    <a:lnTo>
                      <a:pt x="91" y="31"/>
                    </a:lnTo>
                    <a:lnTo>
                      <a:pt x="87" y="28"/>
                    </a:lnTo>
                    <a:lnTo>
                      <a:pt x="85" y="24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7" y="18"/>
                    </a:lnTo>
                    <a:lnTo>
                      <a:pt x="89" y="17"/>
                    </a:lnTo>
                    <a:lnTo>
                      <a:pt x="89" y="17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11"/>
                    </a:lnTo>
                    <a:lnTo>
                      <a:pt x="89" y="9"/>
                    </a:lnTo>
                    <a:lnTo>
                      <a:pt x="89" y="9"/>
                    </a:lnTo>
                    <a:lnTo>
                      <a:pt x="89" y="4"/>
                    </a:lnTo>
                    <a:lnTo>
                      <a:pt x="87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6" name="Freeform 3347"/>
              <p:cNvSpPr>
                <a:spLocks noEditPoints="1"/>
              </p:cNvSpPr>
              <p:nvPr/>
            </p:nvSpPr>
            <p:spPr bwMode="auto">
              <a:xfrm>
                <a:off x="7745778" y="2199482"/>
                <a:ext cx="278047" cy="263126"/>
              </a:xfrm>
              <a:custGeom>
                <a:avLst/>
                <a:gdLst>
                  <a:gd name="T0" fmla="*/ 188 w 188"/>
                  <a:gd name="T1" fmla="*/ 172 h 174"/>
                  <a:gd name="T2" fmla="*/ 188 w 188"/>
                  <a:gd name="T3" fmla="*/ 172 h 174"/>
                  <a:gd name="T4" fmla="*/ 151 w 188"/>
                  <a:gd name="T5" fmla="*/ 150 h 174"/>
                  <a:gd name="T6" fmla="*/ 151 w 188"/>
                  <a:gd name="T7" fmla="*/ 150 h 174"/>
                  <a:gd name="T8" fmla="*/ 162 w 188"/>
                  <a:gd name="T9" fmla="*/ 150 h 174"/>
                  <a:gd name="T10" fmla="*/ 162 w 188"/>
                  <a:gd name="T11" fmla="*/ 161 h 174"/>
                  <a:gd name="T12" fmla="*/ 177 w 188"/>
                  <a:gd name="T13" fmla="*/ 170 h 174"/>
                  <a:gd name="T14" fmla="*/ 183 w 188"/>
                  <a:gd name="T15" fmla="*/ 172 h 174"/>
                  <a:gd name="T16" fmla="*/ 177 w 188"/>
                  <a:gd name="T17" fmla="*/ 168 h 174"/>
                  <a:gd name="T18" fmla="*/ 164 w 188"/>
                  <a:gd name="T19" fmla="*/ 161 h 174"/>
                  <a:gd name="T20" fmla="*/ 164 w 188"/>
                  <a:gd name="T21" fmla="*/ 150 h 174"/>
                  <a:gd name="T22" fmla="*/ 4 w 188"/>
                  <a:gd name="T23" fmla="*/ 2 h 174"/>
                  <a:gd name="T24" fmla="*/ 2 w 188"/>
                  <a:gd name="T25" fmla="*/ 4 h 174"/>
                  <a:gd name="T26" fmla="*/ 4 w 188"/>
                  <a:gd name="T27" fmla="*/ 2 h 174"/>
                  <a:gd name="T28" fmla="*/ 9 w 188"/>
                  <a:gd name="T29" fmla="*/ 8 h 174"/>
                  <a:gd name="T30" fmla="*/ 11 w 188"/>
                  <a:gd name="T31" fmla="*/ 15 h 174"/>
                  <a:gd name="T32" fmla="*/ 26 w 188"/>
                  <a:gd name="T33" fmla="*/ 17 h 174"/>
                  <a:gd name="T34" fmla="*/ 29 w 188"/>
                  <a:gd name="T35" fmla="*/ 24 h 174"/>
                  <a:gd name="T36" fmla="*/ 33 w 188"/>
                  <a:gd name="T37" fmla="*/ 47 h 174"/>
                  <a:gd name="T38" fmla="*/ 39 w 188"/>
                  <a:gd name="T39" fmla="*/ 50 h 174"/>
                  <a:gd name="T40" fmla="*/ 46 w 188"/>
                  <a:gd name="T41" fmla="*/ 54 h 174"/>
                  <a:gd name="T42" fmla="*/ 50 w 188"/>
                  <a:gd name="T43" fmla="*/ 63 h 174"/>
                  <a:gd name="T44" fmla="*/ 65 w 188"/>
                  <a:gd name="T45" fmla="*/ 65 h 174"/>
                  <a:gd name="T46" fmla="*/ 77 w 188"/>
                  <a:gd name="T47" fmla="*/ 67 h 174"/>
                  <a:gd name="T48" fmla="*/ 77 w 188"/>
                  <a:gd name="T49" fmla="*/ 80 h 174"/>
                  <a:gd name="T50" fmla="*/ 87 w 188"/>
                  <a:gd name="T51" fmla="*/ 80 h 174"/>
                  <a:gd name="T52" fmla="*/ 94 w 188"/>
                  <a:gd name="T53" fmla="*/ 85 h 174"/>
                  <a:gd name="T54" fmla="*/ 94 w 188"/>
                  <a:gd name="T55" fmla="*/ 100 h 174"/>
                  <a:gd name="T56" fmla="*/ 89 w 188"/>
                  <a:gd name="T57" fmla="*/ 107 h 174"/>
                  <a:gd name="T58" fmla="*/ 92 w 188"/>
                  <a:gd name="T59" fmla="*/ 115 h 174"/>
                  <a:gd name="T60" fmla="*/ 118 w 188"/>
                  <a:gd name="T61" fmla="*/ 113 h 174"/>
                  <a:gd name="T62" fmla="*/ 127 w 188"/>
                  <a:gd name="T63" fmla="*/ 122 h 174"/>
                  <a:gd name="T64" fmla="*/ 138 w 188"/>
                  <a:gd name="T65" fmla="*/ 126 h 174"/>
                  <a:gd name="T66" fmla="*/ 148 w 188"/>
                  <a:gd name="T67" fmla="*/ 133 h 174"/>
                  <a:gd name="T68" fmla="*/ 148 w 188"/>
                  <a:gd name="T69" fmla="*/ 148 h 174"/>
                  <a:gd name="T70" fmla="*/ 149 w 188"/>
                  <a:gd name="T71" fmla="*/ 148 h 174"/>
                  <a:gd name="T72" fmla="*/ 149 w 188"/>
                  <a:gd name="T73" fmla="*/ 139 h 174"/>
                  <a:gd name="T74" fmla="*/ 149 w 188"/>
                  <a:gd name="T75" fmla="*/ 128 h 174"/>
                  <a:gd name="T76" fmla="*/ 133 w 188"/>
                  <a:gd name="T77" fmla="*/ 124 h 174"/>
                  <a:gd name="T78" fmla="*/ 127 w 188"/>
                  <a:gd name="T79" fmla="*/ 111 h 174"/>
                  <a:gd name="T80" fmla="*/ 111 w 188"/>
                  <a:gd name="T81" fmla="*/ 111 h 174"/>
                  <a:gd name="T82" fmla="*/ 90 w 188"/>
                  <a:gd name="T83" fmla="*/ 109 h 174"/>
                  <a:gd name="T84" fmla="*/ 94 w 188"/>
                  <a:gd name="T85" fmla="*/ 102 h 174"/>
                  <a:gd name="T86" fmla="*/ 96 w 188"/>
                  <a:gd name="T87" fmla="*/ 91 h 174"/>
                  <a:gd name="T88" fmla="*/ 96 w 188"/>
                  <a:gd name="T89" fmla="*/ 78 h 174"/>
                  <a:gd name="T90" fmla="*/ 81 w 188"/>
                  <a:gd name="T91" fmla="*/ 80 h 174"/>
                  <a:gd name="T92" fmla="*/ 79 w 188"/>
                  <a:gd name="T93" fmla="*/ 72 h 174"/>
                  <a:gd name="T94" fmla="*/ 79 w 188"/>
                  <a:gd name="T95" fmla="*/ 63 h 174"/>
                  <a:gd name="T96" fmla="*/ 57 w 188"/>
                  <a:gd name="T97" fmla="*/ 63 h 174"/>
                  <a:gd name="T98" fmla="*/ 48 w 188"/>
                  <a:gd name="T99" fmla="*/ 58 h 174"/>
                  <a:gd name="T100" fmla="*/ 46 w 188"/>
                  <a:gd name="T101" fmla="*/ 50 h 174"/>
                  <a:gd name="T102" fmla="*/ 41 w 188"/>
                  <a:gd name="T103" fmla="*/ 48 h 174"/>
                  <a:gd name="T104" fmla="*/ 33 w 188"/>
                  <a:gd name="T105" fmla="*/ 39 h 174"/>
                  <a:gd name="T106" fmla="*/ 29 w 188"/>
                  <a:gd name="T107" fmla="*/ 19 h 174"/>
                  <a:gd name="T108" fmla="*/ 26 w 188"/>
                  <a:gd name="T109" fmla="*/ 17 h 174"/>
                  <a:gd name="T110" fmla="*/ 17 w 188"/>
                  <a:gd name="T111" fmla="*/ 15 h 174"/>
                  <a:gd name="T112" fmla="*/ 9 w 188"/>
                  <a:gd name="T113" fmla="*/ 8 h 174"/>
                  <a:gd name="T114" fmla="*/ 7 w 188"/>
                  <a:gd name="T115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8" h="174">
                    <a:moveTo>
                      <a:pt x="188" y="172"/>
                    </a:moveTo>
                    <a:lnTo>
                      <a:pt x="186" y="172"/>
                    </a:lnTo>
                    <a:lnTo>
                      <a:pt x="188" y="172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72"/>
                    </a:lnTo>
                    <a:close/>
                    <a:moveTo>
                      <a:pt x="164" y="150"/>
                    </a:moveTo>
                    <a:lnTo>
                      <a:pt x="157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7" y="150"/>
                    </a:lnTo>
                    <a:lnTo>
                      <a:pt x="162" y="150"/>
                    </a:lnTo>
                    <a:lnTo>
                      <a:pt x="162" y="155"/>
                    </a:lnTo>
                    <a:lnTo>
                      <a:pt x="162" y="161"/>
                    </a:lnTo>
                    <a:lnTo>
                      <a:pt x="162" y="161"/>
                    </a:lnTo>
                    <a:lnTo>
                      <a:pt x="168" y="165"/>
                    </a:lnTo>
                    <a:lnTo>
                      <a:pt x="172" y="167"/>
                    </a:lnTo>
                    <a:lnTo>
                      <a:pt x="177" y="170"/>
                    </a:lnTo>
                    <a:lnTo>
                      <a:pt x="181" y="172"/>
                    </a:lnTo>
                    <a:lnTo>
                      <a:pt x="183" y="172"/>
                    </a:lnTo>
                    <a:lnTo>
                      <a:pt x="183" y="172"/>
                    </a:lnTo>
                    <a:lnTo>
                      <a:pt x="183" y="172"/>
                    </a:lnTo>
                    <a:lnTo>
                      <a:pt x="183" y="172"/>
                    </a:lnTo>
                    <a:lnTo>
                      <a:pt x="177" y="168"/>
                    </a:lnTo>
                    <a:lnTo>
                      <a:pt x="173" y="167"/>
                    </a:lnTo>
                    <a:lnTo>
                      <a:pt x="168" y="163"/>
                    </a:lnTo>
                    <a:lnTo>
                      <a:pt x="164" y="161"/>
                    </a:lnTo>
                    <a:lnTo>
                      <a:pt x="164" y="155"/>
                    </a:lnTo>
                    <a:lnTo>
                      <a:pt x="164" y="150"/>
                    </a:lnTo>
                    <a:lnTo>
                      <a:pt x="164" y="150"/>
                    </a:lnTo>
                    <a:close/>
                    <a:moveTo>
                      <a:pt x="7" y="0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11" y="15"/>
                    </a:lnTo>
                    <a:lnTo>
                      <a:pt x="11" y="15"/>
                    </a:lnTo>
                    <a:lnTo>
                      <a:pt x="17" y="15"/>
                    </a:lnTo>
                    <a:lnTo>
                      <a:pt x="20" y="17"/>
                    </a:lnTo>
                    <a:lnTo>
                      <a:pt x="26" y="17"/>
                    </a:lnTo>
                    <a:lnTo>
                      <a:pt x="29" y="19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1" y="32"/>
                    </a:lnTo>
                    <a:lnTo>
                      <a:pt x="31" y="39"/>
                    </a:lnTo>
                    <a:lnTo>
                      <a:pt x="33" y="47"/>
                    </a:lnTo>
                    <a:lnTo>
                      <a:pt x="33" y="48"/>
                    </a:lnTo>
                    <a:lnTo>
                      <a:pt x="37" y="48"/>
                    </a:lnTo>
                    <a:lnTo>
                      <a:pt x="39" y="50"/>
                    </a:lnTo>
                    <a:lnTo>
                      <a:pt x="42" y="50"/>
                    </a:lnTo>
                    <a:lnTo>
                      <a:pt x="44" y="52"/>
                    </a:lnTo>
                    <a:lnTo>
                      <a:pt x="46" y="54"/>
                    </a:lnTo>
                    <a:lnTo>
                      <a:pt x="46" y="58"/>
                    </a:lnTo>
                    <a:lnTo>
                      <a:pt x="48" y="61"/>
                    </a:lnTo>
                    <a:lnTo>
                      <a:pt x="50" y="63"/>
                    </a:lnTo>
                    <a:lnTo>
                      <a:pt x="50" y="65"/>
                    </a:lnTo>
                    <a:lnTo>
                      <a:pt x="57" y="65"/>
                    </a:lnTo>
                    <a:lnTo>
                      <a:pt x="65" y="65"/>
                    </a:lnTo>
                    <a:lnTo>
                      <a:pt x="70" y="65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7" y="72"/>
                    </a:lnTo>
                    <a:lnTo>
                      <a:pt x="77" y="76"/>
                    </a:lnTo>
                    <a:lnTo>
                      <a:pt x="77" y="80"/>
                    </a:lnTo>
                    <a:lnTo>
                      <a:pt x="77" y="80"/>
                    </a:lnTo>
                    <a:lnTo>
                      <a:pt x="81" y="80"/>
                    </a:lnTo>
                    <a:lnTo>
                      <a:pt x="87" y="80"/>
                    </a:lnTo>
                    <a:lnTo>
                      <a:pt x="90" y="80"/>
                    </a:lnTo>
                    <a:lnTo>
                      <a:pt x="94" y="80"/>
                    </a:lnTo>
                    <a:lnTo>
                      <a:pt x="94" y="85"/>
                    </a:lnTo>
                    <a:lnTo>
                      <a:pt x="94" y="91"/>
                    </a:lnTo>
                    <a:lnTo>
                      <a:pt x="94" y="96"/>
                    </a:lnTo>
                    <a:lnTo>
                      <a:pt x="94" y="100"/>
                    </a:lnTo>
                    <a:lnTo>
                      <a:pt x="90" y="104"/>
                    </a:lnTo>
                    <a:lnTo>
                      <a:pt x="89" y="107"/>
                    </a:lnTo>
                    <a:lnTo>
                      <a:pt x="89" y="107"/>
                    </a:lnTo>
                    <a:lnTo>
                      <a:pt x="90" y="111"/>
                    </a:lnTo>
                    <a:lnTo>
                      <a:pt x="92" y="113"/>
                    </a:lnTo>
                    <a:lnTo>
                      <a:pt x="92" y="115"/>
                    </a:lnTo>
                    <a:lnTo>
                      <a:pt x="101" y="113"/>
                    </a:lnTo>
                    <a:lnTo>
                      <a:pt x="111" y="113"/>
                    </a:lnTo>
                    <a:lnTo>
                      <a:pt x="118" y="113"/>
                    </a:lnTo>
                    <a:lnTo>
                      <a:pt x="127" y="113"/>
                    </a:lnTo>
                    <a:lnTo>
                      <a:pt x="127" y="119"/>
                    </a:lnTo>
                    <a:lnTo>
                      <a:pt x="127" y="122"/>
                    </a:lnTo>
                    <a:lnTo>
                      <a:pt x="127" y="124"/>
                    </a:lnTo>
                    <a:lnTo>
                      <a:pt x="133" y="124"/>
                    </a:lnTo>
                    <a:lnTo>
                      <a:pt x="138" y="126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3"/>
                    </a:lnTo>
                    <a:lnTo>
                      <a:pt x="148" y="139"/>
                    </a:lnTo>
                    <a:lnTo>
                      <a:pt x="148" y="143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9" y="148"/>
                    </a:lnTo>
                    <a:lnTo>
                      <a:pt x="149" y="148"/>
                    </a:lnTo>
                    <a:lnTo>
                      <a:pt x="149" y="148"/>
                    </a:lnTo>
                    <a:lnTo>
                      <a:pt x="149" y="143"/>
                    </a:lnTo>
                    <a:lnTo>
                      <a:pt x="149" y="139"/>
                    </a:lnTo>
                    <a:lnTo>
                      <a:pt x="149" y="133"/>
                    </a:lnTo>
                    <a:lnTo>
                      <a:pt x="149" y="128"/>
                    </a:lnTo>
                    <a:lnTo>
                      <a:pt x="149" y="128"/>
                    </a:lnTo>
                    <a:lnTo>
                      <a:pt x="144" y="126"/>
                    </a:lnTo>
                    <a:lnTo>
                      <a:pt x="138" y="124"/>
                    </a:lnTo>
                    <a:lnTo>
                      <a:pt x="133" y="124"/>
                    </a:lnTo>
                    <a:lnTo>
                      <a:pt x="127" y="122"/>
                    </a:lnTo>
                    <a:lnTo>
                      <a:pt x="127" y="117"/>
                    </a:lnTo>
                    <a:lnTo>
                      <a:pt x="127" y="111"/>
                    </a:lnTo>
                    <a:lnTo>
                      <a:pt x="127" y="111"/>
                    </a:lnTo>
                    <a:lnTo>
                      <a:pt x="118" y="111"/>
                    </a:lnTo>
                    <a:lnTo>
                      <a:pt x="111" y="111"/>
                    </a:lnTo>
                    <a:lnTo>
                      <a:pt x="101" y="111"/>
                    </a:lnTo>
                    <a:lnTo>
                      <a:pt x="94" y="113"/>
                    </a:lnTo>
                    <a:lnTo>
                      <a:pt x="90" y="109"/>
                    </a:lnTo>
                    <a:lnTo>
                      <a:pt x="90" y="107"/>
                    </a:lnTo>
                    <a:lnTo>
                      <a:pt x="92" y="104"/>
                    </a:lnTo>
                    <a:lnTo>
                      <a:pt x="94" y="102"/>
                    </a:lnTo>
                    <a:lnTo>
                      <a:pt x="96" y="102"/>
                    </a:lnTo>
                    <a:lnTo>
                      <a:pt x="96" y="96"/>
                    </a:lnTo>
                    <a:lnTo>
                      <a:pt x="96" y="91"/>
                    </a:lnTo>
                    <a:lnTo>
                      <a:pt x="96" y="85"/>
                    </a:lnTo>
                    <a:lnTo>
                      <a:pt x="96" y="80"/>
                    </a:lnTo>
                    <a:lnTo>
                      <a:pt x="96" y="78"/>
                    </a:lnTo>
                    <a:lnTo>
                      <a:pt x="90" y="78"/>
                    </a:lnTo>
                    <a:lnTo>
                      <a:pt x="87" y="78"/>
                    </a:lnTo>
                    <a:lnTo>
                      <a:pt x="81" y="80"/>
                    </a:lnTo>
                    <a:lnTo>
                      <a:pt x="79" y="80"/>
                    </a:lnTo>
                    <a:lnTo>
                      <a:pt x="79" y="76"/>
                    </a:lnTo>
                    <a:lnTo>
                      <a:pt x="79" y="72"/>
                    </a:lnTo>
                    <a:lnTo>
                      <a:pt x="79" y="67"/>
                    </a:lnTo>
                    <a:lnTo>
                      <a:pt x="79" y="63"/>
                    </a:lnTo>
                    <a:lnTo>
                      <a:pt x="79" y="63"/>
                    </a:lnTo>
                    <a:lnTo>
                      <a:pt x="70" y="63"/>
                    </a:lnTo>
                    <a:lnTo>
                      <a:pt x="65" y="63"/>
                    </a:lnTo>
                    <a:lnTo>
                      <a:pt x="57" y="63"/>
                    </a:lnTo>
                    <a:lnTo>
                      <a:pt x="50" y="63"/>
                    </a:lnTo>
                    <a:lnTo>
                      <a:pt x="50" y="59"/>
                    </a:lnTo>
                    <a:lnTo>
                      <a:pt x="48" y="58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2" y="48"/>
                    </a:lnTo>
                    <a:lnTo>
                      <a:pt x="41" y="48"/>
                    </a:lnTo>
                    <a:lnTo>
                      <a:pt x="37" y="47"/>
                    </a:lnTo>
                    <a:lnTo>
                      <a:pt x="35" y="47"/>
                    </a:lnTo>
                    <a:lnTo>
                      <a:pt x="33" y="39"/>
                    </a:lnTo>
                    <a:lnTo>
                      <a:pt x="31" y="32"/>
                    </a:lnTo>
                    <a:lnTo>
                      <a:pt x="31" y="24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7" y="15"/>
                    </a:lnTo>
                    <a:lnTo>
                      <a:pt x="13" y="13"/>
                    </a:lnTo>
                    <a:lnTo>
                      <a:pt x="11" y="11"/>
                    </a:lnTo>
                    <a:lnTo>
                      <a:pt x="9" y="8"/>
                    </a:lnTo>
                    <a:lnTo>
                      <a:pt x="7" y="4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7" name="Freeform 3348"/>
              <p:cNvSpPr>
                <a:spLocks/>
              </p:cNvSpPr>
              <p:nvPr/>
            </p:nvSpPr>
            <p:spPr bwMode="auto">
              <a:xfrm>
                <a:off x="8020867" y="2459583"/>
                <a:ext cx="2958" cy="3024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2 w 2"/>
                  <a:gd name="T5" fmla="*/ 0 h 2"/>
                  <a:gd name="T6" fmla="*/ 2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8" name="Freeform 3349"/>
              <p:cNvSpPr>
                <a:spLocks/>
              </p:cNvSpPr>
              <p:nvPr/>
            </p:nvSpPr>
            <p:spPr bwMode="auto">
              <a:xfrm>
                <a:off x="7969103" y="2426314"/>
                <a:ext cx="47327" cy="33269"/>
              </a:xfrm>
              <a:custGeom>
                <a:avLst/>
                <a:gdLst>
                  <a:gd name="T0" fmla="*/ 13 w 32"/>
                  <a:gd name="T1" fmla="*/ 0 h 22"/>
                  <a:gd name="T2" fmla="*/ 6 w 32"/>
                  <a:gd name="T3" fmla="*/ 0 h 22"/>
                  <a:gd name="T4" fmla="*/ 0 w 32"/>
                  <a:gd name="T5" fmla="*/ 0 h 22"/>
                  <a:gd name="T6" fmla="*/ 0 w 32"/>
                  <a:gd name="T7" fmla="*/ 0 h 22"/>
                  <a:gd name="T8" fmla="*/ 0 w 32"/>
                  <a:gd name="T9" fmla="*/ 0 h 22"/>
                  <a:gd name="T10" fmla="*/ 0 w 32"/>
                  <a:gd name="T11" fmla="*/ 0 h 22"/>
                  <a:gd name="T12" fmla="*/ 0 w 32"/>
                  <a:gd name="T13" fmla="*/ 0 h 22"/>
                  <a:gd name="T14" fmla="*/ 6 w 32"/>
                  <a:gd name="T15" fmla="*/ 0 h 22"/>
                  <a:gd name="T16" fmla="*/ 11 w 32"/>
                  <a:gd name="T17" fmla="*/ 0 h 22"/>
                  <a:gd name="T18" fmla="*/ 11 w 32"/>
                  <a:gd name="T19" fmla="*/ 5 h 22"/>
                  <a:gd name="T20" fmla="*/ 11 w 32"/>
                  <a:gd name="T21" fmla="*/ 11 h 22"/>
                  <a:gd name="T22" fmla="*/ 11 w 32"/>
                  <a:gd name="T23" fmla="*/ 11 h 22"/>
                  <a:gd name="T24" fmla="*/ 17 w 32"/>
                  <a:gd name="T25" fmla="*/ 15 h 22"/>
                  <a:gd name="T26" fmla="*/ 21 w 32"/>
                  <a:gd name="T27" fmla="*/ 17 h 22"/>
                  <a:gd name="T28" fmla="*/ 26 w 32"/>
                  <a:gd name="T29" fmla="*/ 20 h 22"/>
                  <a:gd name="T30" fmla="*/ 30 w 32"/>
                  <a:gd name="T31" fmla="*/ 22 h 22"/>
                  <a:gd name="T32" fmla="*/ 32 w 32"/>
                  <a:gd name="T33" fmla="*/ 22 h 22"/>
                  <a:gd name="T34" fmla="*/ 32 w 32"/>
                  <a:gd name="T35" fmla="*/ 22 h 22"/>
                  <a:gd name="T36" fmla="*/ 32 w 32"/>
                  <a:gd name="T37" fmla="*/ 22 h 22"/>
                  <a:gd name="T38" fmla="*/ 32 w 32"/>
                  <a:gd name="T39" fmla="*/ 22 h 22"/>
                  <a:gd name="T40" fmla="*/ 26 w 32"/>
                  <a:gd name="T41" fmla="*/ 18 h 22"/>
                  <a:gd name="T42" fmla="*/ 22 w 32"/>
                  <a:gd name="T43" fmla="*/ 17 h 22"/>
                  <a:gd name="T44" fmla="*/ 17 w 32"/>
                  <a:gd name="T45" fmla="*/ 13 h 22"/>
                  <a:gd name="T46" fmla="*/ 13 w 32"/>
                  <a:gd name="T47" fmla="*/ 11 h 22"/>
                  <a:gd name="T48" fmla="*/ 13 w 32"/>
                  <a:gd name="T49" fmla="*/ 5 h 22"/>
                  <a:gd name="T50" fmla="*/ 13 w 32"/>
                  <a:gd name="T51" fmla="*/ 0 h 22"/>
                  <a:gd name="T52" fmla="*/ 13 w 32"/>
                  <a:gd name="T5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" h="22">
                    <a:moveTo>
                      <a:pt x="13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7" y="15"/>
                    </a:lnTo>
                    <a:lnTo>
                      <a:pt x="21" y="17"/>
                    </a:lnTo>
                    <a:lnTo>
                      <a:pt x="26" y="20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6" y="18"/>
                    </a:lnTo>
                    <a:lnTo>
                      <a:pt x="22" y="17"/>
                    </a:lnTo>
                    <a:lnTo>
                      <a:pt x="17" y="13"/>
                    </a:lnTo>
                    <a:lnTo>
                      <a:pt x="13" y="11"/>
                    </a:lnTo>
                    <a:lnTo>
                      <a:pt x="13" y="5"/>
                    </a:lnTo>
                    <a:lnTo>
                      <a:pt x="13" y="0"/>
                    </a:lnTo>
                    <a:lnTo>
                      <a:pt x="1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9" name="Freeform 3350"/>
              <p:cNvSpPr>
                <a:spLocks/>
              </p:cNvSpPr>
              <p:nvPr/>
            </p:nvSpPr>
            <p:spPr bwMode="auto">
              <a:xfrm>
                <a:off x="7745778" y="2199482"/>
                <a:ext cx="220367" cy="223808"/>
              </a:xfrm>
              <a:custGeom>
                <a:avLst/>
                <a:gdLst>
                  <a:gd name="T0" fmla="*/ 4 w 149"/>
                  <a:gd name="T1" fmla="*/ 2 h 148"/>
                  <a:gd name="T2" fmla="*/ 2 w 149"/>
                  <a:gd name="T3" fmla="*/ 4 h 148"/>
                  <a:gd name="T4" fmla="*/ 4 w 149"/>
                  <a:gd name="T5" fmla="*/ 2 h 148"/>
                  <a:gd name="T6" fmla="*/ 9 w 149"/>
                  <a:gd name="T7" fmla="*/ 8 h 148"/>
                  <a:gd name="T8" fmla="*/ 11 w 149"/>
                  <a:gd name="T9" fmla="*/ 15 h 148"/>
                  <a:gd name="T10" fmla="*/ 26 w 149"/>
                  <a:gd name="T11" fmla="*/ 17 h 148"/>
                  <a:gd name="T12" fmla="*/ 29 w 149"/>
                  <a:gd name="T13" fmla="*/ 24 h 148"/>
                  <a:gd name="T14" fmla="*/ 33 w 149"/>
                  <a:gd name="T15" fmla="*/ 47 h 148"/>
                  <a:gd name="T16" fmla="*/ 39 w 149"/>
                  <a:gd name="T17" fmla="*/ 50 h 148"/>
                  <a:gd name="T18" fmla="*/ 46 w 149"/>
                  <a:gd name="T19" fmla="*/ 54 h 148"/>
                  <a:gd name="T20" fmla="*/ 50 w 149"/>
                  <a:gd name="T21" fmla="*/ 63 h 148"/>
                  <a:gd name="T22" fmla="*/ 65 w 149"/>
                  <a:gd name="T23" fmla="*/ 65 h 148"/>
                  <a:gd name="T24" fmla="*/ 77 w 149"/>
                  <a:gd name="T25" fmla="*/ 67 h 148"/>
                  <a:gd name="T26" fmla="*/ 77 w 149"/>
                  <a:gd name="T27" fmla="*/ 80 h 148"/>
                  <a:gd name="T28" fmla="*/ 87 w 149"/>
                  <a:gd name="T29" fmla="*/ 80 h 148"/>
                  <a:gd name="T30" fmla="*/ 94 w 149"/>
                  <a:gd name="T31" fmla="*/ 85 h 148"/>
                  <a:gd name="T32" fmla="*/ 94 w 149"/>
                  <a:gd name="T33" fmla="*/ 100 h 148"/>
                  <a:gd name="T34" fmla="*/ 89 w 149"/>
                  <a:gd name="T35" fmla="*/ 107 h 148"/>
                  <a:gd name="T36" fmla="*/ 92 w 149"/>
                  <a:gd name="T37" fmla="*/ 115 h 148"/>
                  <a:gd name="T38" fmla="*/ 118 w 149"/>
                  <a:gd name="T39" fmla="*/ 113 h 148"/>
                  <a:gd name="T40" fmla="*/ 127 w 149"/>
                  <a:gd name="T41" fmla="*/ 122 h 148"/>
                  <a:gd name="T42" fmla="*/ 138 w 149"/>
                  <a:gd name="T43" fmla="*/ 126 h 148"/>
                  <a:gd name="T44" fmla="*/ 148 w 149"/>
                  <a:gd name="T45" fmla="*/ 133 h 148"/>
                  <a:gd name="T46" fmla="*/ 148 w 149"/>
                  <a:gd name="T47" fmla="*/ 148 h 148"/>
                  <a:gd name="T48" fmla="*/ 149 w 149"/>
                  <a:gd name="T49" fmla="*/ 148 h 148"/>
                  <a:gd name="T50" fmla="*/ 149 w 149"/>
                  <a:gd name="T51" fmla="*/ 139 h 148"/>
                  <a:gd name="T52" fmla="*/ 149 w 149"/>
                  <a:gd name="T53" fmla="*/ 128 h 148"/>
                  <a:gd name="T54" fmla="*/ 133 w 149"/>
                  <a:gd name="T55" fmla="*/ 124 h 148"/>
                  <a:gd name="T56" fmla="*/ 127 w 149"/>
                  <a:gd name="T57" fmla="*/ 111 h 148"/>
                  <a:gd name="T58" fmla="*/ 111 w 149"/>
                  <a:gd name="T59" fmla="*/ 111 h 148"/>
                  <a:gd name="T60" fmla="*/ 90 w 149"/>
                  <a:gd name="T61" fmla="*/ 109 h 148"/>
                  <a:gd name="T62" fmla="*/ 94 w 149"/>
                  <a:gd name="T63" fmla="*/ 102 h 148"/>
                  <a:gd name="T64" fmla="*/ 96 w 149"/>
                  <a:gd name="T65" fmla="*/ 91 h 148"/>
                  <a:gd name="T66" fmla="*/ 96 w 149"/>
                  <a:gd name="T67" fmla="*/ 78 h 148"/>
                  <a:gd name="T68" fmla="*/ 81 w 149"/>
                  <a:gd name="T69" fmla="*/ 80 h 148"/>
                  <a:gd name="T70" fmla="*/ 79 w 149"/>
                  <a:gd name="T71" fmla="*/ 72 h 148"/>
                  <a:gd name="T72" fmla="*/ 79 w 149"/>
                  <a:gd name="T73" fmla="*/ 63 h 148"/>
                  <a:gd name="T74" fmla="*/ 57 w 149"/>
                  <a:gd name="T75" fmla="*/ 63 h 148"/>
                  <a:gd name="T76" fmla="*/ 48 w 149"/>
                  <a:gd name="T77" fmla="*/ 58 h 148"/>
                  <a:gd name="T78" fmla="*/ 46 w 149"/>
                  <a:gd name="T79" fmla="*/ 50 h 148"/>
                  <a:gd name="T80" fmla="*/ 41 w 149"/>
                  <a:gd name="T81" fmla="*/ 48 h 148"/>
                  <a:gd name="T82" fmla="*/ 33 w 149"/>
                  <a:gd name="T83" fmla="*/ 39 h 148"/>
                  <a:gd name="T84" fmla="*/ 29 w 149"/>
                  <a:gd name="T85" fmla="*/ 19 h 148"/>
                  <a:gd name="T86" fmla="*/ 26 w 149"/>
                  <a:gd name="T87" fmla="*/ 17 h 148"/>
                  <a:gd name="T88" fmla="*/ 17 w 149"/>
                  <a:gd name="T89" fmla="*/ 15 h 148"/>
                  <a:gd name="T90" fmla="*/ 9 w 149"/>
                  <a:gd name="T91" fmla="*/ 8 h 148"/>
                  <a:gd name="T92" fmla="*/ 7 w 149"/>
                  <a:gd name="T9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9" h="148">
                    <a:moveTo>
                      <a:pt x="7" y="0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11" y="15"/>
                    </a:lnTo>
                    <a:lnTo>
                      <a:pt x="11" y="15"/>
                    </a:lnTo>
                    <a:lnTo>
                      <a:pt x="17" y="15"/>
                    </a:lnTo>
                    <a:lnTo>
                      <a:pt x="20" y="17"/>
                    </a:lnTo>
                    <a:lnTo>
                      <a:pt x="26" y="17"/>
                    </a:lnTo>
                    <a:lnTo>
                      <a:pt x="29" y="19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1" y="32"/>
                    </a:lnTo>
                    <a:lnTo>
                      <a:pt x="31" y="39"/>
                    </a:lnTo>
                    <a:lnTo>
                      <a:pt x="33" y="47"/>
                    </a:lnTo>
                    <a:lnTo>
                      <a:pt x="33" y="48"/>
                    </a:lnTo>
                    <a:lnTo>
                      <a:pt x="37" y="48"/>
                    </a:lnTo>
                    <a:lnTo>
                      <a:pt x="39" y="50"/>
                    </a:lnTo>
                    <a:lnTo>
                      <a:pt x="42" y="50"/>
                    </a:lnTo>
                    <a:lnTo>
                      <a:pt x="44" y="52"/>
                    </a:lnTo>
                    <a:lnTo>
                      <a:pt x="46" y="54"/>
                    </a:lnTo>
                    <a:lnTo>
                      <a:pt x="46" y="58"/>
                    </a:lnTo>
                    <a:lnTo>
                      <a:pt x="48" y="61"/>
                    </a:lnTo>
                    <a:lnTo>
                      <a:pt x="50" y="63"/>
                    </a:lnTo>
                    <a:lnTo>
                      <a:pt x="50" y="65"/>
                    </a:lnTo>
                    <a:lnTo>
                      <a:pt x="57" y="65"/>
                    </a:lnTo>
                    <a:lnTo>
                      <a:pt x="65" y="65"/>
                    </a:lnTo>
                    <a:lnTo>
                      <a:pt x="70" y="65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7" y="72"/>
                    </a:lnTo>
                    <a:lnTo>
                      <a:pt x="77" y="76"/>
                    </a:lnTo>
                    <a:lnTo>
                      <a:pt x="77" y="80"/>
                    </a:lnTo>
                    <a:lnTo>
                      <a:pt x="77" y="80"/>
                    </a:lnTo>
                    <a:lnTo>
                      <a:pt x="81" y="80"/>
                    </a:lnTo>
                    <a:lnTo>
                      <a:pt x="87" y="80"/>
                    </a:lnTo>
                    <a:lnTo>
                      <a:pt x="90" y="80"/>
                    </a:lnTo>
                    <a:lnTo>
                      <a:pt x="94" y="80"/>
                    </a:lnTo>
                    <a:lnTo>
                      <a:pt x="94" y="85"/>
                    </a:lnTo>
                    <a:lnTo>
                      <a:pt x="94" y="91"/>
                    </a:lnTo>
                    <a:lnTo>
                      <a:pt x="94" y="96"/>
                    </a:lnTo>
                    <a:lnTo>
                      <a:pt x="94" y="100"/>
                    </a:lnTo>
                    <a:lnTo>
                      <a:pt x="90" y="104"/>
                    </a:lnTo>
                    <a:lnTo>
                      <a:pt x="89" y="107"/>
                    </a:lnTo>
                    <a:lnTo>
                      <a:pt x="89" y="107"/>
                    </a:lnTo>
                    <a:lnTo>
                      <a:pt x="90" y="111"/>
                    </a:lnTo>
                    <a:lnTo>
                      <a:pt x="92" y="113"/>
                    </a:lnTo>
                    <a:lnTo>
                      <a:pt x="92" y="115"/>
                    </a:lnTo>
                    <a:lnTo>
                      <a:pt x="101" y="113"/>
                    </a:lnTo>
                    <a:lnTo>
                      <a:pt x="111" y="113"/>
                    </a:lnTo>
                    <a:lnTo>
                      <a:pt x="118" y="113"/>
                    </a:lnTo>
                    <a:lnTo>
                      <a:pt x="127" y="113"/>
                    </a:lnTo>
                    <a:lnTo>
                      <a:pt x="127" y="119"/>
                    </a:lnTo>
                    <a:lnTo>
                      <a:pt x="127" y="122"/>
                    </a:lnTo>
                    <a:lnTo>
                      <a:pt x="127" y="124"/>
                    </a:lnTo>
                    <a:lnTo>
                      <a:pt x="133" y="124"/>
                    </a:lnTo>
                    <a:lnTo>
                      <a:pt x="138" y="126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3"/>
                    </a:lnTo>
                    <a:lnTo>
                      <a:pt x="148" y="139"/>
                    </a:lnTo>
                    <a:lnTo>
                      <a:pt x="148" y="143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9" y="148"/>
                    </a:lnTo>
                    <a:lnTo>
                      <a:pt x="149" y="148"/>
                    </a:lnTo>
                    <a:lnTo>
                      <a:pt x="149" y="148"/>
                    </a:lnTo>
                    <a:lnTo>
                      <a:pt x="149" y="143"/>
                    </a:lnTo>
                    <a:lnTo>
                      <a:pt x="149" y="139"/>
                    </a:lnTo>
                    <a:lnTo>
                      <a:pt x="149" y="133"/>
                    </a:lnTo>
                    <a:lnTo>
                      <a:pt x="149" y="128"/>
                    </a:lnTo>
                    <a:lnTo>
                      <a:pt x="149" y="128"/>
                    </a:lnTo>
                    <a:lnTo>
                      <a:pt x="144" y="126"/>
                    </a:lnTo>
                    <a:lnTo>
                      <a:pt x="138" y="124"/>
                    </a:lnTo>
                    <a:lnTo>
                      <a:pt x="133" y="124"/>
                    </a:lnTo>
                    <a:lnTo>
                      <a:pt x="127" y="122"/>
                    </a:lnTo>
                    <a:lnTo>
                      <a:pt x="127" y="117"/>
                    </a:lnTo>
                    <a:lnTo>
                      <a:pt x="127" y="111"/>
                    </a:lnTo>
                    <a:lnTo>
                      <a:pt x="127" y="111"/>
                    </a:lnTo>
                    <a:lnTo>
                      <a:pt x="118" y="111"/>
                    </a:lnTo>
                    <a:lnTo>
                      <a:pt x="111" y="111"/>
                    </a:lnTo>
                    <a:lnTo>
                      <a:pt x="101" y="111"/>
                    </a:lnTo>
                    <a:lnTo>
                      <a:pt x="94" y="113"/>
                    </a:lnTo>
                    <a:lnTo>
                      <a:pt x="90" y="109"/>
                    </a:lnTo>
                    <a:lnTo>
                      <a:pt x="90" y="107"/>
                    </a:lnTo>
                    <a:lnTo>
                      <a:pt x="92" y="104"/>
                    </a:lnTo>
                    <a:lnTo>
                      <a:pt x="94" y="102"/>
                    </a:lnTo>
                    <a:lnTo>
                      <a:pt x="96" y="102"/>
                    </a:lnTo>
                    <a:lnTo>
                      <a:pt x="96" y="96"/>
                    </a:lnTo>
                    <a:lnTo>
                      <a:pt x="96" y="91"/>
                    </a:lnTo>
                    <a:lnTo>
                      <a:pt x="96" y="85"/>
                    </a:lnTo>
                    <a:lnTo>
                      <a:pt x="96" y="80"/>
                    </a:lnTo>
                    <a:lnTo>
                      <a:pt x="96" y="78"/>
                    </a:lnTo>
                    <a:lnTo>
                      <a:pt x="90" y="78"/>
                    </a:lnTo>
                    <a:lnTo>
                      <a:pt x="87" y="78"/>
                    </a:lnTo>
                    <a:lnTo>
                      <a:pt x="81" y="80"/>
                    </a:lnTo>
                    <a:lnTo>
                      <a:pt x="79" y="80"/>
                    </a:lnTo>
                    <a:lnTo>
                      <a:pt x="79" y="76"/>
                    </a:lnTo>
                    <a:lnTo>
                      <a:pt x="79" y="72"/>
                    </a:lnTo>
                    <a:lnTo>
                      <a:pt x="79" y="67"/>
                    </a:lnTo>
                    <a:lnTo>
                      <a:pt x="79" y="63"/>
                    </a:lnTo>
                    <a:lnTo>
                      <a:pt x="79" y="63"/>
                    </a:lnTo>
                    <a:lnTo>
                      <a:pt x="70" y="63"/>
                    </a:lnTo>
                    <a:lnTo>
                      <a:pt x="65" y="63"/>
                    </a:lnTo>
                    <a:lnTo>
                      <a:pt x="57" y="63"/>
                    </a:lnTo>
                    <a:lnTo>
                      <a:pt x="50" y="63"/>
                    </a:lnTo>
                    <a:lnTo>
                      <a:pt x="50" y="59"/>
                    </a:lnTo>
                    <a:lnTo>
                      <a:pt x="48" y="58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2" y="48"/>
                    </a:lnTo>
                    <a:lnTo>
                      <a:pt x="41" y="48"/>
                    </a:lnTo>
                    <a:lnTo>
                      <a:pt x="37" y="47"/>
                    </a:lnTo>
                    <a:lnTo>
                      <a:pt x="35" y="47"/>
                    </a:lnTo>
                    <a:lnTo>
                      <a:pt x="33" y="39"/>
                    </a:lnTo>
                    <a:lnTo>
                      <a:pt x="31" y="32"/>
                    </a:lnTo>
                    <a:lnTo>
                      <a:pt x="31" y="24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7" y="15"/>
                    </a:lnTo>
                    <a:lnTo>
                      <a:pt x="13" y="13"/>
                    </a:lnTo>
                    <a:lnTo>
                      <a:pt x="11" y="11"/>
                    </a:lnTo>
                    <a:lnTo>
                      <a:pt x="9" y="8"/>
                    </a:lnTo>
                    <a:lnTo>
                      <a:pt x="7" y="4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0" name="Freeform 3351"/>
              <p:cNvSpPr>
                <a:spLocks/>
              </p:cNvSpPr>
              <p:nvPr/>
            </p:nvSpPr>
            <p:spPr bwMode="auto">
              <a:xfrm>
                <a:off x="7736905" y="1854697"/>
                <a:ext cx="609336" cy="350834"/>
              </a:xfrm>
              <a:custGeom>
                <a:avLst/>
                <a:gdLst>
                  <a:gd name="T0" fmla="*/ 353 w 412"/>
                  <a:gd name="T1" fmla="*/ 3 h 232"/>
                  <a:gd name="T2" fmla="*/ 336 w 412"/>
                  <a:gd name="T3" fmla="*/ 53 h 232"/>
                  <a:gd name="T4" fmla="*/ 329 w 412"/>
                  <a:gd name="T5" fmla="*/ 94 h 232"/>
                  <a:gd name="T6" fmla="*/ 320 w 412"/>
                  <a:gd name="T7" fmla="*/ 101 h 232"/>
                  <a:gd name="T8" fmla="*/ 309 w 412"/>
                  <a:gd name="T9" fmla="*/ 127 h 232"/>
                  <a:gd name="T10" fmla="*/ 275 w 412"/>
                  <a:gd name="T11" fmla="*/ 134 h 232"/>
                  <a:gd name="T12" fmla="*/ 227 w 412"/>
                  <a:gd name="T13" fmla="*/ 151 h 232"/>
                  <a:gd name="T14" fmla="*/ 203 w 412"/>
                  <a:gd name="T15" fmla="*/ 112 h 232"/>
                  <a:gd name="T16" fmla="*/ 185 w 412"/>
                  <a:gd name="T17" fmla="*/ 92 h 232"/>
                  <a:gd name="T18" fmla="*/ 174 w 412"/>
                  <a:gd name="T19" fmla="*/ 97 h 232"/>
                  <a:gd name="T20" fmla="*/ 146 w 412"/>
                  <a:gd name="T21" fmla="*/ 105 h 232"/>
                  <a:gd name="T22" fmla="*/ 131 w 412"/>
                  <a:gd name="T23" fmla="*/ 114 h 232"/>
                  <a:gd name="T24" fmla="*/ 102 w 412"/>
                  <a:gd name="T25" fmla="*/ 125 h 232"/>
                  <a:gd name="T26" fmla="*/ 87 w 412"/>
                  <a:gd name="T27" fmla="*/ 145 h 232"/>
                  <a:gd name="T28" fmla="*/ 80 w 412"/>
                  <a:gd name="T29" fmla="*/ 151 h 232"/>
                  <a:gd name="T30" fmla="*/ 72 w 412"/>
                  <a:gd name="T31" fmla="*/ 160 h 232"/>
                  <a:gd name="T32" fmla="*/ 50 w 412"/>
                  <a:gd name="T33" fmla="*/ 160 h 232"/>
                  <a:gd name="T34" fmla="*/ 39 w 412"/>
                  <a:gd name="T35" fmla="*/ 171 h 232"/>
                  <a:gd name="T36" fmla="*/ 41 w 412"/>
                  <a:gd name="T37" fmla="*/ 180 h 232"/>
                  <a:gd name="T38" fmla="*/ 11 w 412"/>
                  <a:gd name="T39" fmla="*/ 193 h 232"/>
                  <a:gd name="T40" fmla="*/ 6 w 412"/>
                  <a:gd name="T41" fmla="*/ 208 h 232"/>
                  <a:gd name="T42" fmla="*/ 0 w 412"/>
                  <a:gd name="T43" fmla="*/ 227 h 232"/>
                  <a:gd name="T44" fmla="*/ 8 w 412"/>
                  <a:gd name="T45" fmla="*/ 232 h 232"/>
                  <a:gd name="T46" fmla="*/ 6 w 412"/>
                  <a:gd name="T47" fmla="*/ 230 h 232"/>
                  <a:gd name="T48" fmla="*/ 2 w 412"/>
                  <a:gd name="T49" fmla="*/ 215 h 232"/>
                  <a:gd name="T50" fmla="*/ 13 w 412"/>
                  <a:gd name="T51" fmla="*/ 206 h 232"/>
                  <a:gd name="T52" fmla="*/ 28 w 412"/>
                  <a:gd name="T53" fmla="*/ 190 h 232"/>
                  <a:gd name="T54" fmla="*/ 41 w 412"/>
                  <a:gd name="T55" fmla="*/ 175 h 232"/>
                  <a:gd name="T56" fmla="*/ 50 w 412"/>
                  <a:gd name="T57" fmla="*/ 166 h 232"/>
                  <a:gd name="T58" fmla="*/ 72 w 412"/>
                  <a:gd name="T59" fmla="*/ 168 h 232"/>
                  <a:gd name="T60" fmla="*/ 76 w 412"/>
                  <a:gd name="T61" fmla="*/ 155 h 232"/>
                  <a:gd name="T62" fmla="*/ 85 w 412"/>
                  <a:gd name="T63" fmla="*/ 151 h 232"/>
                  <a:gd name="T64" fmla="*/ 87 w 412"/>
                  <a:gd name="T65" fmla="*/ 147 h 232"/>
                  <a:gd name="T66" fmla="*/ 91 w 412"/>
                  <a:gd name="T67" fmla="*/ 136 h 232"/>
                  <a:gd name="T68" fmla="*/ 122 w 412"/>
                  <a:gd name="T69" fmla="*/ 123 h 232"/>
                  <a:gd name="T70" fmla="*/ 133 w 412"/>
                  <a:gd name="T71" fmla="*/ 107 h 232"/>
                  <a:gd name="T72" fmla="*/ 161 w 412"/>
                  <a:gd name="T73" fmla="*/ 105 h 232"/>
                  <a:gd name="T74" fmla="*/ 176 w 412"/>
                  <a:gd name="T75" fmla="*/ 99 h 232"/>
                  <a:gd name="T76" fmla="*/ 191 w 412"/>
                  <a:gd name="T77" fmla="*/ 96 h 232"/>
                  <a:gd name="T78" fmla="*/ 205 w 412"/>
                  <a:gd name="T79" fmla="*/ 127 h 232"/>
                  <a:gd name="T80" fmla="*/ 235 w 412"/>
                  <a:gd name="T81" fmla="*/ 151 h 232"/>
                  <a:gd name="T82" fmla="*/ 288 w 412"/>
                  <a:gd name="T83" fmla="*/ 132 h 232"/>
                  <a:gd name="T84" fmla="*/ 316 w 412"/>
                  <a:gd name="T85" fmla="*/ 127 h 232"/>
                  <a:gd name="T86" fmla="*/ 322 w 412"/>
                  <a:gd name="T87" fmla="*/ 103 h 232"/>
                  <a:gd name="T88" fmla="*/ 323 w 412"/>
                  <a:gd name="T89" fmla="*/ 96 h 232"/>
                  <a:gd name="T90" fmla="*/ 333 w 412"/>
                  <a:gd name="T91" fmla="*/ 70 h 232"/>
                  <a:gd name="T92" fmla="*/ 351 w 412"/>
                  <a:gd name="T93" fmla="*/ 5 h 232"/>
                  <a:gd name="T94" fmla="*/ 366 w 412"/>
                  <a:gd name="T95" fmla="*/ 1 h 232"/>
                  <a:gd name="T96" fmla="*/ 390 w 412"/>
                  <a:gd name="T97" fmla="*/ 13 h 232"/>
                  <a:gd name="T98" fmla="*/ 412 w 412"/>
                  <a:gd name="T99" fmla="*/ 18 h 232"/>
                  <a:gd name="T100" fmla="*/ 412 w 412"/>
                  <a:gd name="T101" fmla="*/ 11 h 232"/>
                  <a:gd name="T102" fmla="*/ 368 w 412"/>
                  <a:gd name="T103" fmla="*/ 1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12" h="232">
                    <a:moveTo>
                      <a:pt x="368" y="0"/>
                    </a:moveTo>
                    <a:lnTo>
                      <a:pt x="362" y="1"/>
                    </a:lnTo>
                    <a:lnTo>
                      <a:pt x="358" y="1"/>
                    </a:lnTo>
                    <a:lnTo>
                      <a:pt x="358" y="1"/>
                    </a:lnTo>
                    <a:lnTo>
                      <a:pt x="353" y="3"/>
                    </a:lnTo>
                    <a:lnTo>
                      <a:pt x="349" y="5"/>
                    </a:lnTo>
                    <a:lnTo>
                      <a:pt x="349" y="5"/>
                    </a:lnTo>
                    <a:lnTo>
                      <a:pt x="344" y="25"/>
                    </a:lnTo>
                    <a:lnTo>
                      <a:pt x="338" y="40"/>
                    </a:lnTo>
                    <a:lnTo>
                      <a:pt x="336" y="53"/>
                    </a:lnTo>
                    <a:lnTo>
                      <a:pt x="333" y="62"/>
                    </a:lnTo>
                    <a:lnTo>
                      <a:pt x="331" y="70"/>
                    </a:lnTo>
                    <a:lnTo>
                      <a:pt x="331" y="77"/>
                    </a:lnTo>
                    <a:lnTo>
                      <a:pt x="329" y="84"/>
                    </a:lnTo>
                    <a:lnTo>
                      <a:pt x="329" y="94"/>
                    </a:lnTo>
                    <a:lnTo>
                      <a:pt x="323" y="94"/>
                    </a:lnTo>
                    <a:lnTo>
                      <a:pt x="318" y="94"/>
                    </a:lnTo>
                    <a:lnTo>
                      <a:pt x="318" y="94"/>
                    </a:lnTo>
                    <a:lnTo>
                      <a:pt x="318" y="97"/>
                    </a:lnTo>
                    <a:lnTo>
                      <a:pt x="320" y="101"/>
                    </a:lnTo>
                    <a:lnTo>
                      <a:pt x="320" y="103"/>
                    </a:lnTo>
                    <a:lnTo>
                      <a:pt x="320" y="107"/>
                    </a:lnTo>
                    <a:lnTo>
                      <a:pt x="318" y="114"/>
                    </a:lnTo>
                    <a:lnTo>
                      <a:pt x="316" y="127"/>
                    </a:lnTo>
                    <a:lnTo>
                      <a:pt x="309" y="127"/>
                    </a:lnTo>
                    <a:lnTo>
                      <a:pt x="309" y="127"/>
                    </a:lnTo>
                    <a:lnTo>
                      <a:pt x="301" y="127"/>
                    </a:lnTo>
                    <a:lnTo>
                      <a:pt x="294" y="129"/>
                    </a:lnTo>
                    <a:lnTo>
                      <a:pt x="288" y="131"/>
                    </a:lnTo>
                    <a:lnTo>
                      <a:pt x="275" y="134"/>
                    </a:lnTo>
                    <a:lnTo>
                      <a:pt x="264" y="140"/>
                    </a:lnTo>
                    <a:lnTo>
                      <a:pt x="251" y="144"/>
                    </a:lnTo>
                    <a:lnTo>
                      <a:pt x="240" y="147"/>
                    </a:lnTo>
                    <a:lnTo>
                      <a:pt x="233" y="149"/>
                    </a:lnTo>
                    <a:lnTo>
                      <a:pt x="227" y="151"/>
                    </a:lnTo>
                    <a:lnTo>
                      <a:pt x="222" y="153"/>
                    </a:lnTo>
                    <a:lnTo>
                      <a:pt x="216" y="153"/>
                    </a:lnTo>
                    <a:lnTo>
                      <a:pt x="213" y="140"/>
                    </a:lnTo>
                    <a:lnTo>
                      <a:pt x="207" y="125"/>
                    </a:lnTo>
                    <a:lnTo>
                      <a:pt x="203" y="112"/>
                    </a:lnTo>
                    <a:lnTo>
                      <a:pt x="200" y="97"/>
                    </a:lnTo>
                    <a:lnTo>
                      <a:pt x="196" y="96"/>
                    </a:lnTo>
                    <a:lnTo>
                      <a:pt x="192" y="94"/>
                    </a:lnTo>
                    <a:lnTo>
                      <a:pt x="189" y="92"/>
                    </a:lnTo>
                    <a:lnTo>
                      <a:pt x="185" y="92"/>
                    </a:lnTo>
                    <a:lnTo>
                      <a:pt x="183" y="92"/>
                    </a:lnTo>
                    <a:lnTo>
                      <a:pt x="181" y="94"/>
                    </a:lnTo>
                    <a:lnTo>
                      <a:pt x="178" y="96"/>
                    </a:lnTo>
                    <a:lnTo>
                      <a:pt x="178" y="96"/>
                    </a:lnTo>
                    <a:lnTo>
                      <a:pt x="174" y="97"/>
                    </a:lnTo>
                    <a:lnTo>
                      <a:pt x="172" y="99"/>
                    </a:lnTo>
                    <a:lnTo>
                      <a:pt x="167" y="101"/>
                    </a:lnTo>
                    <a:lnTo>
                      <a:pt x="159" y="103"/>
                    </a:lnTo>
                    <a:lnTo>
                      <a:pt x="154" y="103"/>
                    </a:lnTo>
                    <a:lnTo>
                      <a:pt x="146" y="105"/>
                    </a:lnTo>
                    <a:lnTo>
                      <a:pt x="141" y="105"/>
                    </a:lnTo>
                    <a:lnTo>
                      <a:pt x="131" y="105"/>
                    </a:lnTo>
                    <a:lnTo>
                      <a:pt x="131" y="105"/>
                    </a:lnTo>
                    <a:lnTo>
                      <a:pt x="131" y="110"/>
                    </a:lnTo>
                    <a:lnTo>
                      <a:pt x="131" y="114"/>
                    </a:lnTo>
                    <a:lnTo>
                      <a:pt x="131" y="118"/>
                    </a:lnTo>
                    <a:lnTo>
                      <a:pt x="131" y="121"/>
                    </a:lnTo>
                    <a:lnTo>
                      <a:pt x="122" y="123"/>
                    </a:lnTo>
                    <a:lnTo>
                      <a:pt x="113" y="123"/>
                    </a:lnTo>
                    <a:lnTo>
                      <a:pt x="102" y="125"/>
                    </a:lnTo>
                    <a:lnTo>
                      <a:pt x="91" y="125"/>
                    </a:lnTo>
                    <a:lnTo>
                      <a:pt x="91" y="131"/>
                    </a:lnTo>
                    <a:lnTo>
                      <a:pt x="91" y="136"/>
                    </a:lnTo>
                    <a:lnTo>
                      <a:pt x="89" y="142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5" y="147"/>
                    </a:lnTo>
                    <a:lnTo>
                      <a:pt x="83" y="149"/>
                    </a:lnTo>
                    <a:lnTo>
                      <a:pt x="82" y="151"/>
                    </a:lnTo>
                    <a:lnTo>
                      <a:pt x="80" y="151"/>
                    </a:lnTo>
                    <a:lnTo>
                      <a:pt x="78" y="153"/>
                    </a:lnTo>
                    <a:lnTo>
                      <a:pt x="74" y="153"/>
                    </a:lnTo>
                    <a:lnTo>
                      <a:pt x="72" y="155"/>
                    </a:lnTo>
                    <a:lnTo>
                      <a:pt x="72" y="155"/>
                    </a:lnTo>
                    <a:lnTo>
                      <a:pt x="72" y="160"/>
                    </a:lnTo>
                    <a:lnTo>
                      <a:pt x="72" y="166"/>
                    </a:lnTo>
                    <a:lnTo>
                      <a:pt x="67" y="164"/>
                    </a:lnTo>
                    <a:lnTo>
                      <a:pt x="61" y="162"/>
                    </a:lnTo>
                    <a:lnTo>
                      <a:pt x="56" y="162"/>
                    </a:lnTo>
                    <a:lnTo>
                      <a:pt x="50" y="160"/>
                    </a:lnTo>
                    <a:lnTo>
                      <a:pt x="50" y="160"/>
                    </a:lnTo>
                    <a:lnTo>
                      <a:pt x="50" y="166"/>
                    </a:lnTo>
                    <a:lnTo>
                      <a:pt x="50" y="171"/>
                    </a:lnTo>
                    <a:lnTo>
                      <a:pt x="45" y="171"/>
                    </a:lnTo>
                    <a:lnTo>
                      <a:pt x="39" y="171"/>
                    </a:lnTo>
                    <a:lnTo>
                      <a:pt x="39" y="171"/>
                    </a:lnTo>
                    <a:lnTo>
                      <a:pt x="39" y="175"/>
                    </a:lnTo>
                    <a:lnTo>
                      <a:pt x="39" y="175"/>
                    </a:lnTo>
                    <a:lnTo>
                      <a:pt x="41" y="177"/>
                    </a:lnTo>
                    <a:lnTo>
                      <a:pt x="41" y="180"/>
                    </a:lnTo>
                    <a:lnTo>
                      <a:pt x="43" y="182"/>
                    </a:lnTo>
                    <a:lnTo>
                      <a:pt x="35" y="186"/>
                    </a:lnTo>
                    <a:lnTo>
                      <a:pt x="28" y="188"/>
                    </a:lnTo>
                    <a:lnTo>
                      <a:pt x="19" y="190"/>
                    </a:lnTo>
                    <a:lnTo>
                      <a:pt x="11" y="193"/>
                    </a:lnTo>
                    <a:lnTo>
                      <a:pt x="11" y="197"/>
                    </a:lnTo>
                    <a:lnTo>
                      <a:pt x="11" y="201"/>
                    </a:lnTo>
                    <a:lnTo>
                      <a:pt x="11" y="206"/>
                    </a:lnTo>
                    <a:lnTo>
                      <a:pt x="11" y="208"/>
                    </a:lnTo>
                    <a:lnTo>
                      <a:pt x="6" y="208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215"/>
                    </a:lnTo>
                    <a:lnTo>
                      <a:pt x="0" y="221"/>
                    </a:lnTo>
                    <a:lnTo>
                      <a:pt x="0" y="227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8" y="232"/>
                    </a:lnTo>
                    <a:lnTo>
                      <a:pt x="8" y="232"/>
                    </a:lnTo>
                    <a:lnTo>
                      <a:pt x="8" y="232"/>
                    </a:lnTo>
                    <a:lnTo>
                      <a:pt x="8" y="230"/>
                    </a:lnTo>
                    <a:lnTo>
                      <a:pt x="6" y="230"/>
                    </a:lnTo>
                    <a:lnTo>
                      <a:pt x="6" y="230"/>
                    </a:lnTo>
                    <a:lnTo>
                      <a:pt x="4" y="230"/>
                    </a:lnTo>
                    <a:lnTo>
                      <a:pt x="2" y="230"/>
                    </a:lnTo>
                    <a:lnTo>
                      <a:pt x="2" y="227"/>
                    </a:lnTo>
                    <a:lnTo>
                      <a:pt x="2" y="221"/>
                    </a:lnTo>
                    <a:lnTo>
                      <a:pt x="2" y="215"/>
                    </a:lnTo>
                    <a:lnTo>
                      <a:pt x="2" y="210"/>
                    </a:lnTo>
                    <a:lnTo>
                      <a:pt x="6" y="210"/>
                    </a:lnTo>
                    <a:lnTo>
                      <a:pt x="11" y="210"/>
                    </a:lnTo>
                    <a:lnTo>
                      <a:pt x="13" y="210"/>
                    </a:lnTo>
                    <a:lnTo>
                      <a:pt x="13" y="206"/>
                    </a:lnTo>
                    <a:lnTo>
                      <a:pt x="13" y="201"/>
                    </a:lnTo>
                    <a:lnTo>
                      <a:pt x="13" y="197"/>
                    </a:lnTo>
                    <a:lnTo>
                      <a:pt x="13" y="193"/>
                    </a:lnTo>
                    <a:lnTo>
                      <a:pt x="21" y="192"/>
                    </a:lnTo>
                    <a:lnTo>
                      <a:pt x="28" y="190"/>
                    </a:lnTo>
                    <a:lnTo>
                      <a:pt x="35" y="186"/>
                    </a:lnTo>
                    <a:lnTo>
                      <a:pt x="45" y="184"/>
                    </a:lnTo>
                    <a:lnTo>
                      <a:pt x="43" y="180"/>
                    </a:lnTo>
                    <a:lnTo>
                      <a:pt x="41" y="177"/>
                    </a:lnTo>
                    <a:lnTo>
                      <a:pt x="41" y="175"/>
                    </a:lnTo>
                    <a:lnTo>
                      <a:pt x="41" y="171"/>
                    </a:lnTo>
                    <a:lnTo>
                      <a:pt x="45" y="171"/>
                    </a:lnTo>
                    <a:lnTo>
                      <a:pt x="50" y="171"/>
                    </a:lnTo>
                    <a:lnTo>
                      <a:pt x="50" y="171"/>
                    </a:lnTo>
                    <a:lnTo>
                      <a:pt x="50" y="166"/>
                    </a:lnTo>
                    <a:lnTo>
                      <a:pt x="50" y="162"/>
                    </a:lnTo>
                    <a:lnTo>
                      <a:pt x="56" y="162"/>
                    </a:lnTo>
                    <a:lnTo>
                      <a:pt x="61" y="164"/>
                    </a:lnTo>
                    <a:lnTo>
                      <a:pt x="67" y="166"/>
                    </a:lnTo>
                    <a:lnTo>
                      <a:pt x="72" y="168"/>
                    </a:lnTo>
                    <a:lnTo>
                      <a:pt x="72" y="168"/>
                    </a:lnTo>
                    <a:lnTo>
                      <a:pt x="72" y="160"/>
                    </a:lnTo>
                    <a:lnTo>
                      <a:pt x="72" y="156"/>
                    </a:lnTo>
                    <a:lnTo>
                      <a:pt x="76" y="155"/>
                    </a:lnTo>
                    <a:lnTo>
                      <a:pt x="76" y="155"/>
                    </a:lnTo>
                    <a:lnTo>
                      <a:pt x="78" y="155"/>
                    </a:lnTo>
                    <a:lnTo>
                      <a:pt x="82" y="153"/>
                    </a:lnTo>
                    <a:lnTo>
                      <a:pt x="82" y="153"/>
                    </a:lnTo>
                    <a:lnTo>
                      <a:pt x="83" y="151"/>
                    </a:lnTo>
                    <a:lnTo>
                      <a:pt x="85" y="151"/>
                    </a:lnTo>
                    <a:lnTo>
                      <a:pt x="85" y="151"/>
                    </a:lnTo>
                    <a:lnTo>
                      <a:pt x="87" y="149"/>
                    </a:lnTo>
                    <a:lnTo>
                      <a:pt x="87" y="149"/>
                    </a:lnTo>
                    <a:lnTo>
                      <a:pt x="87" y="147"/>
                    </a:lnTo>
                    <a:lnTo>
                      <a:pt x="87" y="147"/>
                    </a:lnTo>
                    <a:lnTo>
                      <a:pt x="89" y="145"/>
                    </a:lnTo>
                    <a:lnTo>
                      <a:pt x="91" y="142"/>
                    </a:lnTo>
                    <a:lnTo>
                      <a:pt x="91" y="142"/>
                    </a:lnTo>
                    <a:lnTo>
                      <a:pt x="91" y="136"/>
                    </a:lnTo>
                    <a:lnTo>
                      <a:pt x="91" y="136"/>
                    </a:lnTo>
                    <a:lnTo>
                      <a:pt x="93" y="132"/>
                    </a:lnTo>
                    <a:lnTo>
                      <a:pt x="93" y="127"/>
                    </a:lnTo>
                    <a:lnTo>
                      <a:pt x="102" y="125"/>
                    </a:lnTo>
                    <a:lnTo>
                      <a:pt x="113" y="125"/>
                    </a:lnTo>
                    <a:lnTo>
                      <a:pt x="122" y="123"/>
                    </a:lnTo>
                    <a:lnTo>
                      <a:pt x="133" y="123"/>
                    </a:lnTo>
                    <a:lnTo>
                      <a:pt x="133" y="118"/>
                    </a:lnTo>
                    <a:lnTo>
                      <a:pt x="133" y="114"/>
                    </a:lnTo>
                    <a:lnTo>
                      <a:pt x="133" y="110"/>
                    </a:lnTo>
                    <a:lnTo>
                      <a:pt x="133" y="107"/>
                    </a:lnTo>
                    <a:lnTo>
                      <a:pt x="141" y="107"/>
                    </a:lnTo>
                    <a:lnTo>
                      <a:pt x="148" y="105"/>
                    </a:lnTo>
                    <a:lnTo>
                      <a:pt x="154" y="105"/>
                    </a:lnTo>
                    <a:lnTo>
                      <a:pt x="161" y="105"/>
                    </a:lnTo>
                    <a:lnTo>
                      <a:pt x="161" y="105"/>
                    </a:lnTo>
                    <a:lnTo>
                      <a:pt x="167" y="103"/>
                    </a:lnTo>
                    <a:lnTo>
                      <a:pt x="167" y="103"/>
                    </a:lnTo>
                    <a:lnTo>
                      <a:pt x="172" y="99"/>
                    </a:lnTo>
                    <a:lnTo>
                      <a:pt x="176" y="99"/>
                    </a:lnTo>
                    <a:lnTo>
                      <a:pt x="176" y="99"/>
                    </a:lnTo>
                    <a:lnTo>
                      <a:pt x="178" y="97"/>
                    </a:lnTo>
                    <a:lnTo>
                      <a:pt x="181" y="96"/>
                    </a:lnTo>
                    <a:lnTo>
                      <a:pt x="185" y="92"/>
                    </a:lnTo>
                    <a:lnTo>
                      <a:pt x="187" y="94"/>
                    </a:lnTo>
                    <a:lnTo>
                      <a:pt x="191" y="96"/>
                    </a:lnTo>
                    <a:lnTo>
                      <a:pt x="194" y="97"/>
                    </a:lnTo>
                    <a:lnTo>
                      <a:pt x="194" y="97"/>
                    </a:lnTo>
                    <a:lnTo>
                      <a:pt x="198" y="99"/>
                    </a:lnTo>
                    <a:lnTo>
                      <a:pt x="202" y="112"/>
                    </a:lnTo>
                    <a:lnTo>
                      <a:pt x="205" y="127"/>
                    </a:lnTo>
                    <a:lnTo>
                      <a:pt x="211" y="140"/>
                    </a:lnTo>
                    <a:lnTo>
                      <a:pt x="215" y="155"/>
                    </a:lnTo>
                    <a:lnTo>
                      <a:pt x="222" y="155"/>
                    </a:lnTo>
                    <a:lnTo>
                      <a:pt x="227" y="153"/>
                    </a:lnTo>
                    <a:lnTo>
                      <a:pt x="235" y="151"/>
                    </a:lnTo>
                    <a:lnTo>
                      <a:pt x="240" y="149"/>
                    </a:lnTo>
                    <a:lnTo>
                      <a:pt x="251" y="145"/>
                    </a:lnTo>
                    <a:lnTo>
                      <a:pt x="264" y="140"/>
                    </a:lnTo>
                    <a:lnTo>
                      <a:pt x="275" y="136"/>
                    </a:lnTo>
                    <a:lnTo>
                      <a:pt x="288" y="132"/>
                    </a:lnTo>
                    <a:lnTo>
                      <a:pt x="296" y="131"/>
                    </a:lnTo>
                    <a:lnTo>
                      <a:pt x="301" y="129"/>
                    </a:lnTo>
                    <a:lnTo>
                      <a:pt x="309" y="129"/>
                    </a:lnTo>
                    <a:lnTo>
                      <a:pt x="316" y="127"/>
                    </a:lnTo>
                    <a:lnTo>
                      <a:pt x="316" y="127"/>
                    </a:lnTo>
                    <a:lnTo>
                      <a:pt x="320" y="114"/>
                    </a:lnTo>
                    <a:lnTo>
                      <a:pt x="322" y="107"/>
                    </a:lnTo>
                    <a:lnTo>
                      <a:pt x="322" y="107"/>
                    </a:lnTo>
                    <a:lnTo>
                      <a:pt x="322" y="103"/>
                    </a:lnTo>
                    <a:lnTo>
                      <a:pt x="322" y="103"/>
                    </a:lnTo>
                    <a:lnTo>
                      <a:pt x="320" y="101"/>
                    </a:lnTo>
                    <a:lnTo>
                      <a:pt x="320" y="97"/>
                    </a:lnTo>
                    <a:lnTo>
                      <a:pt x="320" y="97"/>
                    </a:lnTo>
                    <a:lnTo>
                      <a:pt x="320" y="96"/>
                    </a:lnTo>
                    <a:lnTo>
                      <a:pt x="323" y="96"/>
                    </a:lnTo>
                    <a:lnTo>
                      <a:pt x="329" y="96"/>
                    </a:lnTo>
                    <a:lnTo>
                      <a:pt x="331" y="96"/>
                    </a:lnTo>
                    <a:lnTo>
                      <a:pt x="331" y="84"/>
                    </a:lnTo>
                    <a:lnTo>
                      <a:pt x="333" y="77"/>
                    </a:lnTo>
                    <a:lnTo>
                      <a:pt x="333" y="70"/>
                    </a:lnTo>
                    <a:lnTo>
                      <a:pt x="334" y="62"/>
                    </a:lnTo>
                    <a:lnTo>
                      <a:pt x="336" y="53"/>
                    </a:lnTo>
                    <a:lnTo>
                      <a:pt x="340" y="42"/>
                    </a:lnTo>
                    <a:lnTo>
                      <a:pt x="344" y="25"/>
                    </a:lnTo>
                    <a:lnTo>
                      <a:pt x="351" y="5"/>
                    </a:lnTo>
                    <a:lnTo>
                      <a:pt x="355" y="5"/>
                    </a:lnTo>
                    <a:lnTo>
                      <a:pt x="358" y="3"/>
                    </a:lnTo>
                    <a:lnTo>
                      <a:pt x="362" y="3"/>
                    </a:lnTo>
                    <a:lnTo>
                      <a:pt x="362" y="3"/>
                    </a:lnTo>
                    <a:lnTo>
                      <a:pt x="366" y="1"/>
                    </a:lnTo>
                    <a:lnTo>
                      <a:pt x="366" y="7"/>
                    </a:lnTo>
                    <a:lnTo>
                      <a:pt x="366" y="13"/>
                    </a:lnTo>
                    <a:lnTo>
                      <a:pt x="366" y="13"/>
                    </a:lnTo>
                    <a:lnTo>
                      <a:pt x="379" y="13"/>
                    </a:lnTo>
                    <a:lnTo>
                      <a:pt x="390" y="13"/>
                    </a:lnTo>
                    <a:lnTo>
                      <a:pt x="401" y="13"/>
                    </a:lnTo>
                    <a:lnTo>
                      <a:pt x="410" y="13"/>
                    </a:lnTo>
                    <a:lnTo>
                      <a:pt x="410" y="14"/>
                    </a:lnTo>
                    <a:lnTo>
                      <a:pt x="410" y="18"/>
                    </a:lnTo>
                    <a:lnTo>
                      <a:pt x="412" y="18"/>
                    </a:lnTo>
                    <a:lnTo>
                      <a:pt x="412" y="18"/>
                    </a:lnTo>
                    <a:lnTo>
                      <a:pt x="412" y="18"/>
                    </a:lnTo>
                    <a:lnTo>
                      <a:pt x="412" y="14"/>
                    </a:lnTo>
                    <a:lnTo>
                      <a:pt x="412" y="13"/>
                    </a:lnTo>
                    <a:lnTo>
                      <a:pt x="412" y="11"/>
                    </a:lnTo>
                    <a:lnTo>
                      <a:pt x="412" y="11"/>
                    </a:lnTo>
                    <a:lnTo>
                      <a:pt x="401" y="11"/>
                    </a:lnTo>
                    <a:lnTo>
                      <a:pt x="390" y="11"/>
                    </a:lnTo>
                    <a:lnTo>
                      <a:pt x="379" y="11"/>
                    </a:lnTo>
                    <a:lnTo>
                      <a:pt x="368" y="11"/>
                    </a:lnTo>
                    <a:lnTo>
                      <a:pt x="368" y="7"/>
                    </a:lnTo>
                    <a:lnTo>
                      <a:pt x="368" y="1"/>
                    </a:lnTo>
                    <a:lnTo>
                      <a:pt x="36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1" name="Freeform 3352"/>
              <p:cNvSpPr>
                <a:spLocks/>
              </p:cNvSpPr>
              <p:nvPr/>
            </p:nvSpPr>
            <p:spPr bwMode="auto">
              <a:xfrm>
                <a:off x="7736905" y="1854697"/>
                <a:ext cx="609336" cy="350834"/>
              </a:xfrm>
              <a:custGeom>
                <a:avLst/>
                <a:gdLst>
                  <a:gd name="T0" fmla="*/ 353 w 412"/>
                  <a:gd name="T1" fmla="*/ 3 h 232"/>
                  <a:gd name="T2" fmla="*/ 336 w 412"/>
                  <a:gd name="T3" fmla="*/ 53 h 232"/>
                  <a:gd name="T4" fmla="*/ 329 w 412"/>
                  <a:gd name="T5" fmla="*/ 94 h 232"/>
                  <a:gd name="T6" fmla="*/ 320 w 412"/>
                  <a:gd name="T7" fmla="*/ 101 h 232"/>
                  <a:gd name="T8" fmla="*/ 309 w 412"/>
                  <a:gd name="T9" fmla="*/ 127 h 232"/>
                  <a:gd name="T10" fmla="*/ 275 w 412"/>
                  <a:gd name="T11" fmla="*/ 134 h 232"/>
                  <a:gd name="T12" fmla="*/ 227 w 412"/>
                  <a:gd name="T13" fmla="*/ 151 h 232"/>
                  <a:gd name="T14" fmla="*/ 203 w 412"/>
                  <a:gd name="T15" fmla="*/ 112 h 232"/>
                  <a:gd name="T16" fmla="*/ 185 w 412"/>
                  <a:gd name="T17" fmla="*/ 92 h 232"/>
                  <a:gd name="T18" fmla="*/ 174 w 412"/>
                  <a:gd name="T19" fmla="*/ 97 h 232"/>
                  <a:gd name="T20" fmla="*/ 146 w 412"/>
                  <a:gd name="T21" fmla="*/ 105 h 232"/>
                  <a:gd name="T22" fmla="*/ 131 w 412"/>
                  <a:gd name="T23" fmla="*/ 114 h 232"/>
                  <a:gd name="T24" fmla="*/ 102 w 412"/>
                  <a:gd name="T25" fmla="*/ 125 h 232"/>
                  <a:gd name="T26" fmla="*/ 87 w 412"/>
                  <a:gd name="T27" fmla="*/ 145 h 232"/>
                  <a:gd name="T28" fmla="*/ 80 w 412"/>
                  <a:gd name="T29" fmla="*/ 151 h 232"/>
                  <a:gd name="T30" fmla="*/ 72 w 412"/>
                  <a:gd name="T31" fmla="*/ 160 h 232"/>
                  <a:gd name="T32" fmla="*/ 50 w 412"/>
                  <a:gd name="T33" fmla="*/ 160 h 232"/>
                  <a:gd name="T34" fmla="*/ 39 w 412"/>
                  <a:gd name="T35" fmla="*/ 171 h 232"/>
                  <a:gd name="T36" fmla="*/ 41 w 412"/>
                  <a:gd name="T37" fmla="*/ 180 h 232"/>
                  <a:gd name="T38" fmla="*/ 11 w 412"/>
                  <a:gd name="T39" fmla="*/ 193 h 232"/>
                  <a:gd name="T40" fmla="*/ 6 w 412"/>
                  <a:gd name="T41" fmla="*/ 208 h 232"/>
                  <a:gd name="T42" fmla="*/ 0 w 412"/>
                  <a:gd name="T43" fmla="*/ 227 h 232"/>
                  <a:gd name="T44" fmla="*/ 8 w 412"/>
                  <a:gd name="T45" fmla="*/ 232 h 232"/>
                  <a:gd name="T46" fmla="*/ 6 w 412"/>
                  <a:gd name="T47" fmla="*/ 230 h 232"/>
                  <a:gd name="T48" fmla="*/ 2 w 412"/>
                  <a:gd name="T49" fmla="*/ 215 h 232"/>
                  <a:gd name="T50" fmla="*/ 13 w 412"/>
                  <a:gd name="T51" fmla="*/ 206 h 232"/>
                  <a:gd name="T52" fmla="*/ 28 w 412"/>
                  <a:gd name="T53" fmla="*/ 190 h 232"/>
                  <a:gd name="T54" fmla="*/ 41 w 412"/>
                  <a:gd name="T55" fmla="*/ 175 h 232"/>
                  <a:gd name="T56" fmla="*/ 50 w 412"/>
                  <a:gd name="T57" fmla="*/ 166 h 232"/>
                  <a:gd name="T58" fmla="*/ 72 w 412"/>
                  <a:gd name="T59" fmla="*/ 168 h 232"/>
                  <a:gd name="T60" fmla="*/ 76 w 412"/>
                  <a:gd name="T61" fmla="*/ 155 h 232"/>
                  <a:gd name="T62" fmla="*/ 85 w 412"/>
                  <a:gd name="T63" fmla="*/ 151 h 232"/>
                  <a:gd name="T64" fmla="*/ 87 w 412"/>
                  <a:gd name="T65" fmla="*/ 147 h 232"/>
                  <a:gd name="T66" fmla="*/ 91 w 412"/>
                  <a:gd name="T67" fmla="*/ 136 h 232"/>
                  <a:gd name="T68" fmla="*/ 122 w 412"/>
                  <a:gd name="T69" fmla="*/ 123 h 232"/>
                  <a:gd name="T70" fmla="*/ 133 w 412"/>
                  <a:gd name="T71" fmla="*/ 107 h 232"/>
                  <a:gd name="T72" fmla="*/ 161 w 412"/>
                  <a:gd name="T73" fmla="*/ 105 h 232"/>
                  <a:gd name="T74" fmla="*/ 176 w 412"/>
                  <a:gd name="T75" fmla="*/ 99 h 232"/>
                  <a:gd name="T76" fmla="*/ 191 w 412"/>
                  <a:gd name="T77" fmla="*/ 96 h 232"/>
                  <a:gd name="T78" fmla="*/ 205 w 412"/>
                  <a:gd name="T79" fmla="*/ 127 h 232"/>
                  <a:gd name="T80" fmla="*/ 235 w 412"/>
                  <a:gd name="T81" fmla="*/ 151 h 232"/>
                  <a:gd name="T82" fmla="*/ 288 w 412"/>
                  <a:gd name="T83" fmla="*/ 132 h 232"/>
                  <a:gd name="T84" fmla="*/ 316 w 412"/>
                  <a:gd name="T85" fmla="*/ 127 h 232"/>
                  <a:gd name="T86" fmla="*/ 322 w 412"/>
                  <a:gd name="T87" fmla="*/ 103 h 232"/>
                  <a:gd name="T88" fmla="*/ 323 w 412"/>
                  <a:gd name="T89" fmla="*/ 96 h 232"/>
                  <a:gd name="T90" fmla="*/ 333 w 412"/>
                  <a:gd name="T91" fmla="*/ 70 h 232"/>
                  <a:gd name="T92" fmla="*/ 351 w 412"/>
                  <a:gd name="T93" fmla="*/ 5 h 232"/>
                  <a:gd name="T94" fmla="*/ 366 w 412"/>
                  <a:gd name="T95" fmla="*/ 1 h 232"/>
                  <a:gd name="T96" fmla="*/ 390 w 412"/>
                  <a:gd name="T97" fmla="*/ 13 h 232"/>
                  <a:gd name="T98" fmla="*/ 412 w 412"/>
                  <a:gd name="T99" fmla="*/ 18 h 232"/>
                  <a:gd name="T100" fmla="*/ 412 w 412"/>
                  <a:gd name="T101" fmla="*/ 11 h 232"/>
                  <a:gd name="T102" fmla="*/ 368 w 412"/>
                  <a:gd name="T103" fmla="*/ 1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12" h="232">
                    <a:moveTo>
                      <a:pt x="368" y="0"/>
                    </a:moveTo>
                    <a:lnTo>
                      <a:pt x="362" y="1"/>
                    </a:lnTo>
                    <a:lnTo>
                      <a:pt x="358" y="1"/>
                    </a:lnTo>
                    <a:lnTo>
                      <a:pt x="358" y="1"/>
                    </a:lnTo>
                    <a:lnTo>
                      <a:pt x="353" y="3"/>
                    </a:lnTo>
                    <a:lnTo>
                      <a:pt x="349" y="5"/>
                    </a:lnTo>
                    <a:lnTo>
                      <a:pt x="349" y="5"/>
                    </a:lnTo>
                    <a:lnTo>
                      <a:pt x="344" y="25"/>
                    </a:lnTo>
                    <a:lnTo>
                      <a:pt x="338" y="40"/>
                    </a:lnTo>
                    <a:lnTo>
                      <a:pt x="336" y="53"/>
                    </a:lnTo>
                    <a:lnTo>
                      <a:pt x="333" y="62"/>
                    </a:lnTo>
                    <a:lnTo>
                      <a:pt x="331" y="70"/>
                    </a:lnTo>
                    <a:lnTo>
                      <a:pt x="331" y="77"/>
                    </a:lnTo>
                    <a:lnTo>
                      <a:pt x="329" y="84"/>
                    </a:lnTo>
                    <a:lnTo>
                      <a:pt x="329" y="94"/>
                    </a:lnTo>
                    <a:lnTo>
                      <a:pt x="323" y="94"/>
                    </a:lnTo>
                    <a:lnTo>
                      <a:pt x="318" y="94"/>
                    </a:lnTo>
                    <a:lnTo>
                      <a:pt x="318" y="94"/>
                    </a:lnTo>
                    <a:lnTo>
                      <a:pt x="318" y="97"/>
                    </a:lnTo>
                    <a:lnTo>
                      <a:pt x="320" y="101"/>
                    </a:lnTo>
                    <a:lnTo>
                      <a:pt x="320" y="103"/>
                    </a:lnTo>
                    <a:lnTo>
                      <a:pt x="320" y="107"/>
                    </a:lnTo>
                    <a:lnTo>
                      <a:pt x="318" y="114"/>
                    </a:lnTo>
                    <a:lnTo>
                      <a:pt x="316" y="127"/>
                    </a:lnTo>
                    <a:lnTo>
                      <a:pt x="309" y="127"/>
                    </a:lnTo>
                    <a:lnTo>
                      <a:pt x="309" y="127"/>
                    </a:lnTo>
                    <a:lnTo>
                      <a:pt x="301" y="127"/>
                    </a:lnTo>
                    <a:lnTo>
                      <a:pt x="294" y="129"/>
                    </a:lnTo>
                    <a:lnTo>
                      <a:pt x="288" y="131"/>
                    </a:lnTo>
                    <a:lnTo>
                      <a:pt x="275" y="134"/>
                    </a:lnTo>
                    <a:lnTo>
                      <a:pt x="264" y="140"/>
                    </a:lnTo>
                    <a:lnTo>
                      <a:pt x="251" y="144"/>
                    </a:lnTo>
                    <a:lnTo>
                      <a:pt x="240" y="147"/>
                    </a:lnTo>
                    <a:lnTo>
                      <a:pt x="233" y="149"/>
                    </a:lnTo>
                    <a:lnTo>
                      <a:pt x="227" y="151"/>
                    </a:lnTo>
                    <a:lnTo>
                      <a:pt x="222" y="153"/>
                    </a:lnTo>
                    <a:lnTo>
                      <a:pt x="216" y="153"/>
                    </a:lnTo>
                    <a:lnTo>
                      <a:pt x="213" y="140"/>
                    </a:lnTo>
                    <a:lnTo>
                      <a:pt x="207" y="125"/>
                    </a:lnTo>
                    <a:lnTo>
                      <a:pt x="203" y="112"/>
                    </a:lnTo>
                    <a:lnTo>
                      <a:pt x="200" y="97"/>
                    </a:lnTo>
                    <a:lnTo>
                      <a:pt x="196" y="96"/>
                    </a:lnTo>
                    <a:lnTo>
                      <a:pt x="192" y="94"/>
                    </a:lnTo>
                    <a:lnTo>
                      <a:pt x="189" y="92"/>
                    </a:lnTo>
                    <a:lnTo>
                      <a:pt x="185" y="92"/>
                    </a:lnTo>
                    <a:lnTo>
                      <a:pt x="183" y="92"/>
                    </a:lnTo>
                    <a:lnTo>
                      <a:pt x="181" y="94"/>
                    </a:lnTo>
                    <a:lnTo>
                      <a:pt x="178" y="96"/>
                    </a:lnTo>
                    <a:lnTo>
                      <a:pt x="178" y="96"/>
                    </a:lnTo>
                    <a:lnTo>
                      <a:pt x="174" y="97"/>
                    </a:lnTo>
                    <a:lnTo>
                      <a:pt x="172" y="99"/>
                    </a:lnTo>
                    <a:lnTo>
                      <a:pt x="167" y="101"/>
                    </a:lnTo>
                    <a:lnTo>
                      <a:pt x="159" y="103"/>
                    </a:lnTo>
                    <a:lnTo>
                      <a:pt x="154" y="103"/>
                    </a:lnTo>
                    <a:lnTo>
                      <a:pt x="146" y="105"/>
                    </a:lnTo>
                    <a:lnTo>
                      <a:pt x="141" y="105"/>
                    </a:lnTo>
                    <a:lnTo>
                      <a:pt x="131" y="105"/>
                    </a:lnTo>
                    <a:lnTo>
                      <a:pt x="131" y="105"/>
                    </a:lnTo>
                    <a:lnTo>
                      <a:pt x="131" y="110"/>
                    </a:lnTo>
                    <a:lnTo>
                      <a:pt x="131" y="114"/>
                    </a:lnTo>
                    <a:lnTo>
                      <a:pt x="131" y="118"/>
                    </a:lnTo>
                    <a:lnTo>
                      <a:pt x="131" y="121"/>
                    </a:lnTo>
                    <a:lnTo>
                      <a:pt x="122" y="123"/>
                    </a:lnTo>
                    <a:lnTo>
                      <a:pt x="113" y="123"/>
                    </a:lnTo>
                    <a:lnTo>
                      <a:pt x="102" y="125"/>
                    </a:lnTo>
                    <a:lnTo>
                      <a:pt x="91" y="125"/>
                    </a:lnTo>
                    <a:lnTo>
                      <a:pt x="91" y="131"/>
                    </a:lnTo>
                    <a:lnTo>
                      <a:pt x="91" y="136"/>
                    </a:lnTo>
                    <a:lnTo>
                      <a:pt x="89" y="142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5" y="147"/>
                    </a:lnTo>
                    <a:lnTo>
                      <a:pt x="83" y="149"/>
                    </a:lnTo>
                    <a:lnTo>
                      <a:pt x="82" y="151"/>
                    </a:lnTo>
                    <a:lnTo>
                      <a:pt x="80" y="151"/>
                    </a:lnTo>
                    <a:lnTo>
                      <a:pt x="78" y="153"/>
                    </a:lnTo>
                    <a:lnTo>
                      <a:pt x="74" y="153"/>
                    </a:lnTo>
                    <a:lnTo>
                      <a:pt x="72" y="155"/>
                    </a:lnTo>
                    <a:lnTo>
                      <a:pt x="72" y="155"/>
                    </a:lnTo>
                    <a:lnTo>
                      <a:pt x="72" y="160"/>
                    </a:lnTo>
                    <a:lnTo>
                      <a:pt x="72" y="166"/>
                    </a:lnTo>
                    <a:lnTo>
                      <a:pt x="67" y="164"/>
                    </a:lnTo>
                    <a:lnTo>
                      <a:pt x="61" y="162"/>
                    </a:lnTo>
                    <a:lnTo>
                      <a:pt x="56" y="162"/>
                    </a:lnTo>
                    <a:lnTo>
                      <a:pt x="50" y="160"/>
                    </a:lnTo>
                    <a:lnTo>
                      <a:pt x="50" y="160"/>
                    </a:lnTo>
                    <a:lnTo>
                      <a:pt x="50" y="166"/>
                    </a:lnTo>
                    <a:lnTo>
                      <a:pt x="50" y="171"/>
                    </a:lnTo>
                    <a:lnTo>
                      <a:pt x="45" y="171"/>
                    </a:lnTo>
                    <a:lnTo>
                      <a:pt x="39" y="171"/>
                    </a:lnTo>
                    <a:lnTo>
                      <a:pt x="39" y="171"/>
                    </a:lnTo>
                    <a:lnTo>
                      <a:pt x="39" y="175"/>
                    </a:lnTo>
                    <a:lnTo>
                      <a:pt x="39" y="175"/>
                    </a:lnTo>
                    <a:lnTo>
                      <a:pt x="41" y="177"/>
                    </a:lnTo>
                    <a:lnTo>
                      <a:pt x="41" y="180"/>
                    </a:lnTo>
                    <a:lnTo>
                      <a:pt x="43" y="182"/>
                    </a:lnTo>
                    <a:lnTo>
                      <a:pt x="35" y="186"/>
                    </a:lnTo>
                    <a:lnTo>
                      <a:pt x="28" y="188"/>
                    </a:lnTo>
                    <a:lnTo>
                      <a:pt x="19" y="190"/>
                    </a:lnTo>
                    <a:lnTo>
                      <a:pt x="11" y="193"/>
                    </a:lnTo>
                    <a:lnTo>
                      <a:pt x="11" y="197"/>
                    </a:lnTo>
                    <a:lnTo>
                      <a:pt x="11" y="201"/>
                    </a:lnTo>
                    <a:lnTo>
                      <a:pt x="11" y="206"/>
                    </a:lnTo>
                    <a:lnTo>
                      <a:pt x="11" y="208"/>
                    </a:lnTo>
                    <a:lnTo>
                      <a:pt x="6" y="208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215"/>
                    </a:lnTo>
                    <a:lnTo>
                      <a:pt x="0" y="221"/>
                    </a:lnTo>
                    <a:lnTo>
                      <a:pt x="0" y="227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8" y="232"/>
                    </a:lnTo>
                    <a:lnTo>
                      <a:pt x="8" y="232"/>
                    </a:lnTo>
                    <a:lnTo>
                      <a:pt x="8" y="232"/>
                    </a:lnTo>
                    <a:lnTo>
                      <a:pt x="8" y="230"/>
                    </a:lnTo>
                    <a:lnTo>
                      <a:pt x="6" y="230"/>
                    </a:lnTo>
                    <a:lnTo>
                      <a:pt x="6" y="230"/>
                    </a:lnTo>
                    <a:lnTo>
                      <a:pt x="4" y="230"/>
                    </a:lnTo>
                    <a:lnTo>
                      <a:pt x="2" y="230"/>
                    </a:lnTo>
                    <a:lnTo>
                      <a:pt x="2" y="227"/>
                    </a:lnTo>
                    <a:lnTo>
                      <a:pt x="2" y="221"/>
                    </a:lnTo>
                    <a:lnTo>
                      <a:pt x="2" y="215"/>
                    </a:lnTo>
                    <a:lnTo>
                      <a:pt x="2" y="210"/>
                    </a:lnTo>
                    <a:lnTo>
                      <a:pt x="6" y="210"/>
                    </a:lnTo>
                    <a:lnTo>
                      <a:pt x="11" y="210"/>
                    </a:lnTo>
                    <a:lnTo>
                      <a:pt x="13" y="210"/>
                    </a:lnTo>
                    <a:lnTo>
                      <a:pt x="13" y="206"/>
                    </a:lnTo>
                    <a:lnTo>
                      <a:pt x="13" y="201"/>
                    </a:lnTo>
                    <a:lnTo>
                      <a:pt x="13" y="197"/>
                    </a:lnTo>
                    <a:lnTo>
                      <a:pt x="13" y="193"/>
                    </a:lnTo>
                    <a:lnTo>
                      <a:pt x="21" y="192"/>
                    </a:lnTo>
                    <a:lnTo>
                      <a:pt x="28" y="190"/>
                    </a:lnTo>
                    <a:lnTo>
                      <a:pt x="35" y="186"/>
                    </a:lnTo>
                    <a:lnTo>
                      <a:pt x="45" y="184"/>
                    </a:lnTo>
                    <a:lnTo>
                      <a:pt x="43" y="180"/>
                    </a:lnTo>
                    <a:lnTo>
                      <a:pt x="41" y="177"/>
                    </a:lnTo>
                    <a:lnTo>
                      <a:pt x="41" y="175"/>
                    </a:lnTo>
                    <a:lnTo>
                      <a:pt x="41" y="171"/>
                    </a:lnTo>
                    <a:lnTo>
                      <a:pt x="45" y="171"/>
                    </a:lnTo>
                    <a:lnTo>
                      <a:pt x="50" y="171"/>
                    </a:lnTo>
                    <a:lnTo>
                      <a:pt x="50" y="171"/>
                    </a:lnTo>
                    <a:lnTo>
                      <a:pt x="50" y="166"/>
                    </a:lnTo>
                    <a:lnTo>
                      <a:pt x="50" y="162"/>
                    </a:lnTo>
                    <a:lnTo>
                      <a:pt x="56" y="162"/>
                    </a:lnTo>
                    <a:lnTo>
                      <a:pt x="61" y="164"/>
                    </a:lnTo>
                    <a:lnTo>
                      <a:pt x="67" y="166"/>
                    </a:lnTo>
                    <a:lnTo>
                      <a:pt x="72" y="168"/>
                    </a:lnTo>
                    <a:lnTo>
                      <a:pt x="72" y="168"/>
                    </a:lnTo>
                    <a:lnTo>
                      <a:pt x="72" y="160"/>
                    </a:lnTo>
                    <a:lnTo>
                      <a:pt x="72" y="156"/>
                    </a:lnTo>
                    <a:lnTo>
                      <a:pt x="76" y="155"/>
                    </a:lnTo>
                    <a:lnTo>
                      <a:pt x="76" y="155"/>
                    </a:lnTo>
                    <a:lnTo>
                      <a:pt x="78" y="155"/>
                    </a:lnTo>
                    <a:lnTo>
                      <a:pt x="82" y="153"/>
                    </a:lnTo>
                    <a:lnTo>
                      <a:pt x="82" y="153"/>
                    </a:lnTo>
                    <a:lnTo>
                      <a:pt x="83" y="151"/>
                    </a:lnTo>
                    <a:lnTo>
                      <a:pt x="85" y="151"/>
                    </a:lnTo>
                    <a:lnTo>
                      <a:pt x="85" y="151"/>
                    </a:lnTo>
                    <a:lnTo>
                      <a:pt x="87" y="149"/>
                    </a:lnTo>
                    <a:lnTo>
                      <a:pt x="87" y="149"/>
                    </a:lnTo>
                    <a:lnTo>
                      <a:pt x="87" y="147"/>
                    </a:lnTo>
                    <a:lnTo>
                      <a:pt x="87" y="147"/>
                    </a:lnTo>
                    <a:lnTo>
                      <a:pt x="89" y="145"/>
                    </a:lnTo>
                    <a:lnTo>
                      <a:pt x="91" y="142"/>
                    </a:lnTo>
                    <a:lnTo>
                      <a:pt x="91" y="142"/>
                    </a:lnTo>
                    <a:lnTo>
                      <a:pt x="91" y="136"/>
                    </a:lnTo>
                    <a:lnTo>
                      <a:pt x="91" y="136"/>
                    </a:lnTo>
                    <a:lnTo>
                      <a:pt x="93" y="132"/>
                    </a:lnTo>
                    <a:lnTo>
                      <a:pt x="93" y="127"/>
                    </a:lnTo>
                    <a:lnTo>
                      <a:pt x="102" y="125"/>
                    </a:lnTo>
                    <a:lnTo>
                      <a:pt x="113" y="125"/>
                    </a:lnTo>
                    <a:lnTo>
                      <a:pt x="122" y="123"/>
                    </a:lnTo>
                    <a:lnTo>
                      <a:pt x="133" y="123"/>
                    </a:lnTo>
                    <a:lnTo>
                      <a:pt x="133" y="118"/>
                    </a:lnTo>
                    <a:lnTo>
                      <a:pt x="133" y="114"/>
                    </a:lnTo>
                    <a:lnTo>
                      <a:pt x="133" y="110"/>
                    </a:lnTo>
                    <a:lnTo>
                      <a:pt x="133" y="107"/>
                    </a:lnTo>
                    <a:lnTo>
                      <a:pt x="141" y="107"/>
                    </a:lnTo>
                    <a:lnTo>
                      <a:pt x="148" y="105"/>
                    </a:lnTo>
                    <a:lnTo>
                      <a:pt x="154" y="105"/>
                    </a:lnTo>
                    <a:lnTo>
                      <a:pt x="161" y="105"/>
                    </a:lnTo>
                    <a:lnTo>
                      <a:pt x="161" y="105"/>
                    </a:lnTo>
                    <a:lnTo>
                      <a:pt x="167" y="103"/>
                    </a:lnTo>
                    <a:lnTo>
                      <a:pt x="167" y="103"/>
                    </a:lnTo>
                    <a:lnTo>
                      <a:pt x="172" y="99"/>
                    </a:lnTo>
                    <a:lnTo>
                      <a:pt x="176" y="99"/>
                    </a:lnTo>
                    <a:lnTo>
                      <a:pt x="176" y="99"/>
                    </a:lnTo>
                    <a:lnTo>
                      <a:pt x="178" y="97"/>
                    </a:lnTo>
                    <a:lnTo>
                      <a:pt x="181" y="96"/>
                    </a:lnTo>
                    <a:lnTo>
                      <a:pt x="185" y="92"/>
                    </a:lnTo>
                    <a:lnTo>
                      <a:pt x="187" y="94"/>
                    </a:lnTo>
                    <a:lnTo>
                      <a:pt x="191" y="96"/>
                    </a:lnTo>
                    <a:lnTo>
                      <a:pt x="194" y="97"/>
                    </a:lnTo>
                    <a:lnTo>
                      <a:pt x="194" y="97"/>
                    </a:lnTo>
                    <a:lnTo>
                      <a:pt x="198" y="99"/>
                    </a:lnTo>
                    <a:lnTo>
                      <a:pt x="202" y="112"/>
                    </a:lnTo>
                    <a:lnTo>
                      <a:pt x="205" y="127"/>
                    </a:lnTo>
                    <a:lnTo>
                      <a:pt x="211" y="140"/>
                    </a:lnTo>
                    <a:lnTo>
                      <a:pt x="215" y="155"/>
                    </a:lnTo>
                    <a:lnTo>
                      <a:pt x="222" y="155"/>
                    </a:lnTo>
                    <a:lnTo>
                      <a:pt x="227" y="153"/>
                    </a:lnTo>
                    <a:lnTo>
                      <a:pt x="235" y="151"/>
                    </a:lnTo>
                    <a:lnTo>
                      <a:pt x="240" y="149"/>
                    </a:lnTo>
                    <a:lnTo>
                      <a:pt x="251" y="145"/>
                    </a:lnTo>
                    <a:lnTo>
                      <a:pt x="264" y="140"/>
                    </a:lnTo>
                    <a:lnTo>
                      <a:pt x="275" y="136"/>
                    </a:lnTo>
                    <a:lnTo>
                      <a:pt x="288" y="132"/>
                    </a:lnTo>
                    <a:lnTo>
                      <a:pt x="296" y="131"/>
                    </a:lnTo>
                    <a:lnTo>
                      <a:pt x="301" y="129"/>
                    </a:lnTo>
                    <a:lnTo>
                      <a:pt x="309" y="129"/>
                    </a:lnTo>
                    <a:lnTo>
                      <a:pt x="316" y="127"/>
                    </a:lnTo>
                    <a:lnTo>
                      <a:pt x="316" y="127"/>
                    </a:lnTo>
                    <a:lnTo>
                      <a:pt x="320" y="114"/>
                    </a:lnTo>
                    <a:lnTo>
                      <a:pt x="322" y="107"/>
                    </a:lnTo>
                    <a:lnTo>
                      <a:pt x="322" y="107"/>
                    </a:lnTo>
                    <a:lnTo>
                      <a:pt x="322" y="103"/>
                    </a:lnTo>
                    <a:lnTo>
                      <a:pt x="322" y="103"/>
                    </a:lnTo>
                    <a:lnTo>
                      <a:pt x="320" y="101"/>
                    </a:lnTo>
                    <a:lnTo>
                      <a:pt x="320" y="97"/>
                    </a:lnTo>
                    <a:lnTo>
                      <a:pt x="320" y="97"/>
                    </a:lnTo>
                    <a:lnTo>
                      <a:pt x="320" y="96"/>
                    </a:lnTo>
                    <a:lnTo>
                      <a:pt x="323" y="96"/>
                    </a:lnTo>
                    <a:lnTo>
                      <a:pt x="329" y="96"/>
                    </a:lnTo>
                    <a:lnTo>
                      <a:pt x="331" y="96"/>
                    </a:lnTo>
                    <a:lnTo>
                      <a:pt x="331" y="84"/>
                    </a:lnTo>
                    <a:lnTo>
                      <a:pt x="333" y="77"/>
                    </a:lnTo>
                    <a:lnTo>
                      <a:pt x="333" y="70"/>
                    </a:lnTo>
                    <a:lnTo>
                      <a:pt x="334" y="62"/>
                    </a:lnTo>
                    <a:lnTo>
                      <a:pt x="336" y="53"/>
                    </a:lnTo>
                    <a:lnTo>
                      <a:pt x="340" y="42"/>
                    </a:lnTo>
                    <a:lnTo>
                      <a:pt x="344" y="25"/>
                    </a:lnTo>
                    <a:lnTo>
                      <a:pt x="351" y="5"/>
                    </a:lnTo>
                    <a:lnTo>
                      <a:pt x="355" y="5"/>
                    </a:lnTo>
                    <a:lnTo>
                      <a:pt x="358" y="3"/>
                    </a:lnTo>
                    <a:lnTo>
                      <a:pt x="362" y="3"/>
                    </a:lnTo>
                    <a:lnTo>
                      <a:pt x="362" y="3"/>
                    </a:lnTo>
                    <a:lnTo>
                      <a:pt x="366" y="1"/>
                    </a:lnTo>
                    <a:lnTo>
                      <a:pt x="366" y="7"/>
                    </a:lnTo>
                    <a:lnTo>
                      <a:pt x="366" y="13"/>
                    </a:lnTo>
                    <a:lnTo>
                      <a:pt x="366" y="13"/>
                    </a:lnTo>
                    <a:lnTo>
                      <a:pt x="379" y="13"/>
                    </a:lnTo>
                    <a:lnTo>
                      <a:pt x="390" y="13"/>
                    </a:lnTo>
                    <a:lnTo>
                      <a:pt x="401" y="13"/>
                    </a:lnTo>
                    <a:lnTo>
                      <a:pt x="410" y="13"/>
                    </a:lnTo>
                    <a:lnTo>
                      <a:pt x="410" y="14"/>
                    </a:lnTo>
                    <a:lnTo>
                      <a:pt x="410" y="18"/>
                    </a:lnTo>
                    <a:lnTo>
                      <a:pt x="412" y="18"/>
                    </a:lnTo>
                    <a:lnTo>
                      <a:pt x="412" y="18"/>
                    </a:lnTo>
                    <a:lnTo>
                      <a:pt x="412" y="18"/>
                    </a:lnTo>
                    <a:lnTo>
                      <a:pt x="412" y="14"/>
                    </a:lnTo>
                    <a:lnTo>
                      <a:pt x="412" y="13"/>
                    </a:lnTo>
                    <a:lnTo>
                      <a:pt x="412" y="11"/>
                    </a:lnTo>
                    <a:lnTo>
                      <a:pt x="412" y="11"/>
                    </a:lnTo>
                    <a:lnTo>
                      <a:pt x="401" y="11"/>
                    </a:lnTo>
                    <a:lnTo>
                      <a:pt x="390" y="11"/>
                    </a:lnTo>
                    <a:lnTo>
                      <a:pt x="379" y="11"/>
                    </a:lnTo>
                    <a:lnTo>
                      <a:pt x="368" y="11"/>
                    </a:lnTo>
                    <a:lnTo>
                      <a:pt x="368" y="7"/>
                    </a:lnTo>
                    <a:lnTo>
                      <a:pt x="368" y="1"/>
                    </a:lnTo>
                    <a:lnTo>
                      <a:pt x="36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2" name="Freeform 3353"/>
              <p:cNvSpPr>
                <a:spLocks noEditPoints="1"/>
              </p:cNvSpPr>
              <p:nvPr/>
            </p:nvSpPr>
            <p:spPr bwMode="auto">
              <a:xfrm>
                <a:off x="8288561" y="2755977"/>
                <a:ext cx="150855" cy="468787"/>
              </a:xfrm>
              <a:custGeom>
                <a:avLst/>
                <a:gdLst>
                  <a:gd name="T0" fmla="*/ 4 w 102"/>
                  <a:gd name="T1" fmla="*/ 310 h 310"/>
                  <a:gd name="T2" fmla="*/ 0 w 102"/>
                  <a:gd name="T3" fmla="*/ 310 h 310"/>
                  <a:gd name="T4" fmla="*/ 0 w 102"/>
                  <a:gd name="T5" fmla="*/ 310 h 310"/>
                  <a:gd name="T6" fmla="*/ 4 w 102"/>
                  <a:gd name="T7" fmla="*/ 310 h 310"/>
                  <a:gd name="T8" fmla="*/ 26 w 102"/>
                  <a:gd name="T9" fmla="*/ 64 h 310"/>
                  <a:gd name="T10" fmla="*/ 26 w 102"/>
                  <a:gd name="T11" fmla="*/ 64 h 310"/>
                  <a:gd name="T12" fmla="*/ 32 w 102"/>
                  <a:gd name="T13" fmla="*/ 70 h 310"/>
                  <a:gd name="T14" fmla="*/ 35 w 102"/>
                  <a:gd name="T15" fmla="*/ 77 h 310"/>
                  <a:gd name="T16" fmla="*/ 35 w 102"/>
                  <a:gd name="T17" fmla="*/ 77 h 310"/>
                  <a:gd name="T18" fmla="*/ 39 w 102"/>
                  <a:gd name="T19" fmla="*/ 83 h 310"/>
                  <a:gd name="T20" fmla="*/ 39 w 102"/>
                  <a:gd name="T21" fmla="*/ 83 h 310"/>
                  <a:gd name="T22" fmla="*/ 41 w 102"/>
                  <a:gd name="T23" fmla="*/ 90 h 310"/>
                  <a:gd name="T24" fmla="*/ 41 w 102"/>
                  <a:gd name="T25" fmla="*/ 90 h 310"/>
                  <a:gd name="T26" fmla="*/ 45 w 102"/>
                  <a:gd name="T27" fmla="*/ 96 h 310"/>
                  <a:gd name="T28" fmla="*/ 46 w 102"/>
                  <a:gd name="T29" fmla="*/ 103 h 310"/>
                  <a:gd name="T30" fmla="*/ 46 w 102"/>
                  <a:gd name="T31" fmla="*/ 103 h 310"/>
                  <a:gd name="T32" fmla="*/ 46 w 102"/>
                  <a:gd name="T33" fmla="*/ 110 h 310"/>
                  <a:gd name="T34" fmla="*/ 46 w 102"/>
                  <a:gd name="T35" fmla="*/ 110 h 310"/>
                  <a:gd name="T36" fmla="*/ 48 w 102"/>
                  <a:gd name="T37" fmla="*/ 118 h 310"/>
                  <a:gd name="T38" fmla="*/ 52 w 102"/>
                  <a:gd name="T39" fmla="*/ 118 h 310"/>
                  <a:gd name="T40" fmla="*/ 59 w 102"/>
                  <a:gd name="T41" fmla="*/ 118 h 310"/>
                  <a:gd name="T42" fmla="*/ 52 w 102"/>
                  <a:gd name="T43" fmla="*/ 118 h 310"/>
                  <a:gd name="T44" fmla="*/ 48 w 102"/>
                  <a:gd name="T45" fmla="*/ 118 h 310"/>
                  <a:gd name="T46" fmla="*/ 46 w 102"/>
                  <a:gd name="T47" fmla="*/ 110 h 310"/>
                  <a:gd name="T48" fmla="*/ 46 w 102"/>
                  <a:gd name="T49" fmla="*/ 110 h 310"/>
                  <a:gd name="T50" fmla="*/ 46 w 102"/>
                  <a:gd name="T51" fmla="*/ 103 h 310"/>
                  <a:gd name="T52" fmla="*/ 46 w 102"/>
                  <a:gd name="T53" fmla="*/ 103 h 310"/>
                  <a:gd name="T54" fmla="*/ 45 w 102"/>
                  <a:gd name="T55" fmla="*/ 96 h 310"/>
                  <a:gd name="T56" fmla="*/ 41 w 102"/>
                  <a:gd name="T57" fmla="*/ 90 h 310"/>
                  <a:gd name="T58" fmla="*/ 41 w 102"/>
                  <a:gd name="T59" fmla="*/ 90 h 310"/>
                  <a:gd name="T60" fmla="*/ 39 w 102"/>
                  <a:gd name="T61" fmla="*/ 83 h 310"/>
                  <a:gd name="T62" fmla="*/ 39 w 102"/>
                  <a:gd name="T63" fmla="*/ 83 h 310"/>
                  <a:gd name="T64" fmla="*/ 35 w 102"/>
                  <a:gd name="T65" fmla="*/ 77 h 310"/>
                  <a:gd name="T66" fmla="*/ 35 w 102"/>
                  <a:gd name="T67" fmla="*/ 77 h 310"/>
                  <a:gd name="T68" fmla="*/ 32 w 102"/>
                  <a:gd name="T69" fmla="*/ 70 h 310"/>
                  <a:gd name="T70" fmla="*/ 26 w 102"/>
                  <a:gd name="T71" fmla="*/ 64 h 310"/>
                  <a:gd name="T72" fmla="*/ 102 w 102"/>
                  <a:gd name="T73" fmla="*/ 0 h 310"/>
                  <a:gd name="T74" fmla="*/ 98 w 102"/>
                  <a:gd name="T75" fmla="*/ 3 h 310"/>
                  <a:gd name="T76" fmla="*/ 102 w 102"/>
                  <a:gd name="T77" fmla="*/ 0 h 310"/>
                  <a:gd name="T78" fmla="*/ 102 w 102"/>
                  <a:gd name="T79" fmla="*/ 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2" h="310">
                    <a:moveTo>
                      <a:pt x="4" y="310"/>
                    </a:moveTo>
                    <a:lnTo>
                      <a:pt x="0" y="310"/>
                    </a:lnTo>
                    <a:lnTo>
                      <a:pt x="0" y="310"/>
                    </a:lnTo>
                    <a:lnTo>
                      <a:pt x="4" y="310"/>
                    </a:lnTo>
                    <a:close/>
                    <a:moveTo>
                      <a:pt x="26" y="64"/>
                    </a:moveTo>
                    <a:lnTo>
                      <a:pt x="26" y="64"/>
                    </a:lnTo>
                    <a:lnTo>
                      <a:pt x="32" y="70"/>
                    </a:lnTo>
                    <a:lnTo>
                      <a:pt x="35" y="77"/>
                    </a:lnTo>
                    <a:lnTo>
                      <a:pt x="35" y="77"/>
                    </a:lnTo>
                    <a:lnTo>
                      <a:pt x="39" y="83"/>
                    </a:lnTo>
                    <a:lnTo>
                      <a:pt x="39" y="83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5" y="96"/>
                    </a:lnTo>
                    <a:lnTo>
                      <a:pt x="46" y="103"/>
                    </a:lnTo>
                    <a:lnTo>
                      <a:pt x="46" y="103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8" y="118"/>
                    </a:lnTo>
                    <a:lnTo>
                      <a:pt x="52" y="118"/>
                    </a:lnTo>
                    <a:lnTo>
                      <a:pt x="59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6" y="103"/>
                    </a:lnTo>
                    <a:lnTo>
                      <a:pt x="46" y="103"/>
                    </a:lnTo>
                    <a:lnTo>
                      <a:pt x="45" y="96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39" y="83"/>
                    </a:lnTo>
                    <a:lnTo>
                      <a:pt x="39" y="83"/>
                    </a:lnTo>
                    <a:lnTo>
                      <a:pt x="35" y="77"/>
                    </a:lnTo>
                    <a:lnTo>
                      <a:pt x="35" y="77"/>
                    </a:lnTo>
                    <a:lnTo>
                      <a:pt x="32" y="70"/>
                    </a:lnTo>
                    <a:lnTo>
                      <a:pt x="26" y="64"/>
                    </a:lnTo>
                    <a:close/>
                    <a:moveTo>
                      <a:pt x="102" y="0"/>
                    </a:moveTo>
                    <a:lnTo>
                      <a:pt x="98" y="3"/>
                    </a:lnTo>
                    <a:lnTo>
                      <a:pt x="102" y="0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3" name="Freeform 3354"/>
              <p:cNvSpPr>
                <a:spLocks/>
              </p:cNvSpPr>
              <p:nvPr/>
            </p:nvSpPr>
            <p:spPr bwMode="auto">
              <a:xfrm>
                <a:off x="8288561" y="3224764"/>
                <a:ext cx="5916" cy="1512"/>
              </a:xfrm>
              <a:custGeom>
                <a:avLst/>
                <a:gdLst>
                  <a:gd name="T0" fmla="*/ 4 w 4"/>
                  <a:gd name="T1" fmla="*/ 0 w 4"/>
                  <a:gd name="T2" fmla="*/ 0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4" name="Freeform 3355"/>
              <p:cNvSpPr>
                <a:spLocks/>
              </p:cNvSpPr>
              <p:nvPr/>
            </p:nvSpPr>
            <p:spPr bwMode="auto">
              <a:xfrm>
                <a:off x="8327014" y="2852759"/>
                <a:ext cx="48806" cy="81660"/>
              </a:xfrm>
              <a:custGeom>
                <a:avLst/>
                <a:gdLst>
                  <a:gd name="T0" fmla="*/ 0 w 33"/>
                  <a:gd name="T1" fmla="*/ 0 h 54"/>
                  <a:gd name="T2" fmla="*/ 0 w 33"/>
                  <a:gd name="T3" fmla="*/ 0 h 54"/>
                  <a:gd name="T4" fmla="*/ 6 w 33"/>
                  <a:gd name="T5" fmla="*/ 6 h 54"/>
                  <a:gd name="T6" fmla="*/ 9 w 33"/>
                  <a:gd name="T7" fmla="*/ 13 h 54"/>
                  <a:gd name="T8" fmla="*/ 9 w 33"/>
                  <a:gd name="T9" fmla="*/ 13 h 54"/>
                  <a:gd name="T10" fmla="*/ 13 w 33"/>
                  <a:gd name="T11" fmla="*/ 19 h 54"/>
                  <a:gd name="T12" fmla="*/ 13 w 33"/>
                  <a:gd name="T13" fmla="*/ 19 h 54"/>
                  <a:gd name="T14" fmla="*/ 15 w 33"/>
                  <a:gd name="T15" fmla="*/ 26 h 54"/>
                  <a:gd name="T16" fmla="*/ 15 w 33"/>
                  <a:gd name="T17" fmla="*/ 26 h 54"/>
                  <a:gd name="T18" fmla="*/ 19 w 33"/>
                  <a:gd name="T19" fmla="*/ 32 h 54"/>
                  <a:gd name="T20" fmla="*/ 20 w 33"/>
                  <a:gd name="T21" fmla="*/ 39 h 54"/>
                  <a:gd name="T22" fmla="*/ 20 w 33"/>
                  <a:gd name="T23" fmla="*/ 39 h 54"/>
                  <a:gd name="T24" fmla="*/ 20 w 33"/>
                  <a:gd name="T25" fmla="*/ 46 h 54"/>
                  <a:gd name="T26" fmla="*/ 20 w 33"/>
                  <a:gd name="T27" fmla="*/ 46 h 54"/>
                  <a:gd name="T28" fmla="*/ 22 w 33"/>
                  <a:gd name="T29" fmla="*/ 54 h 54"/>
                  <a:gd name="T30" fmla="*/ 26 w 33"/>
                  <a:gd name="T31" fmla="*/ 54 h 54"/>
                  <a:gd name="T32" fmla="*/ 33 w 33"/>
                  <a:gd name="T33" fmla="*/ 54 h 54"/>
                  <a:gd name="T34" fmla="*/ 26 w 33"/>
                  <a:gd name="T35" fmla="*/ 54 h 54"/>
                  <a:gd name="T36" fmla="*/ 22 w 33"/>
                  <a:gd name="T37" fmla="*/ 54 h 54"/>
                  <a:gd name="T38" fmla="*/ 20 w 33"/>
                  <a:gd name="T39" fmla="*/ 46 h 54"/>
                  <a:gd name="T40" fmla="*/ 20 w 33"/>
                  <a:gd name="T41" fmla="*/ 46 h 54"/>
                  <a:gd name="T42" fmla="*/ 20 w 33"/>
                  <a:gd name="T43" fmla="*/ 39 h 54"/>
                  <a:gd name="T44" fmla="*/ 20 w 33"/>
                  <a:gd name="T45" fmla="*/ 39 h 54"/>
                  <a:gd name="T46" fmla="*/ 19 w 33"/>
                  <a:gd name="T47" fmla="*/ 32 h 54"/>
                  <a:gd name="T48" fmla="*/ 15 w 33"/>
                  <a:gd name="T49" fmla="*/ 26 h 54"/>
                  <a:gd name="T50" fmla="*/ 15 w 33"/>
                  <a:gd name="T51" fmla="*/ 26 h 54"/>
                  <a:gd name="T52" fmla="*/ 13 w 33"/>
                  <a:gd name="T53" fmla="*/ 19 h 54"/>
                  <a:gd name="T54" fmla="*/ 13 w 33"/>
                  <a:gd name="T55" fmla="*/ 19 h 54"/>
                  <a:gd name="T56" fmla="*/ 9 w 33"/>
                  <a:gd name="T57" fmla="*/ 13 h 54"/>
                  <a:gd name="T58" fmla="*/ 9 w 33"/>
                  <a:gd name="T59" fmla="*/ 13 h 54"/>
                  <a:gd name="T60" fmla="*/ 6 w 33"/>
                  <a:gd name="T61" fmla="*/ 6 h 54"/>
                  <a:gd name="T62" fmla="*/ 0 w 33"/>
                  <a:gd name="T6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" h="54">
                    <a:moveTo>
                      <a:pt x="0" y="0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9" y="32"/>
                    </a:lnTo>
                    <a:lnTo>
                      <a:pt x="20" y="39"/>
                    </a:lnTo>
                    <a:lnTo>
                      <a:pt x="20" y="39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3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39"/>
                    </a:lnTo>
                    <a:lnTo>
                      <a:pt x="20" y="39"/>
                    </a:lnTo>
                    <a:lnTo>
                      <a:pt x="19" y="32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6" y="6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5" name="Freeform 3356"/>
              <p:cNvSpPr>
                <a:spLocks/>
              </p:cNvSpPr>
              <p:nvPr/>
            </p:nvSpPr>
            <p:spPr bwMode="auto">
              <a:xfrm>
                <a:off x="8433500" y="2755977"/>
                <a:ext cx="5916" cy="4537"/>
              </a:xfrm>
              <a:custGeom>
                <a:avLst/>
                <a:gdLst>
                  <a:gd name="T0" fmla="*/ 4 w 4"/>
                  <a:gd name="T1" fmla="*/ 0 h 3"/>
                  <a:gd name="T2" fmla="*/ 0 w 4"/>
                  <a:gd name="T3" fmla="*/ 3 h 3"/>
                  <a:gd name="T4" fmla="*/ 4 w 4"/>
                  <a:gd name="T5" fmla="*/ 0 h 3"/>
                  <a:gd name="T6" fmla="*/ 4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6" name="Freeform 3357"/>
              <p:cNvSpPr>
                <a:spLocks/>
              </p:cNvSpPr>
              <p:nvPr/>
            </p:nvSpPr>
            <p:spPr bwMode="auto">
              <a:xfrm>
                <a:off x="8285603" y="2752953"/>
                <a:ext cx="153813" cy="474836"/>
              </a:xfrm>
              <a:custGeom>
                <a:avLst/>
                <a:gdLst>
                  <a:gd name="T0" fmla="*/ 102 w 104"/>
                  <a:gd name="T1" fmla="*/ 0 h 314"/>
                  <a:gd name="T2" fmla="*/ 93 w 104"/>
                  <a:gd name="T3" fmla="*/ 11 h 314"/>
                  <a:gd name="T4" fmla="*/ 87 w 104"/>
                  <a:gd name="T5" fmla="*/ 16 h 314"/>
                  <a:gd name="T6" fmla="*/ 76 w 104"/>
                  <a:gd name="T7" fmla="*/ 33 h 314"/>
                  <a:gd name="T8" fmla="*/ 39 w 104"/>
                  <a:gd name="T9" fmla="*/ 57 h 314"/>
                  <a:gd name="T10" fmla="*/ 35 w 104"/>
                  <a:gd name="T11" fmla="*/ 79 h 314"/>
                  <a:gd name="T12" fmla="*/ 45 w 104"/>
                  <a:gd name="T13" fmla="*/ 98 h 314"/>
                  <a:gd name="T14" fmla="*/ 48 w 104"/>
                  <a:gd name="T15" fmla="*/ 122 h 314"/>
                  <a:gd name="T16" fmla="*/ 59 w 104"/>
                  <a:gd name="T17" fmla="*/ 122 h 314"/>
                  <a:gd name="T18" fmla="*/ 56 w 104"/>
                  <a:gd name="T19" fmla="*/ 157 h 314"/>
                  <a:gd name="T20" fmla="*/ 48 w 104"/>
                  <a:gd name="T21" fmla="*/ 175 h 314"/>
                  <a:gd name="T22" fmla="*/ 21 w 104"/>
                  <a:gd name="T23" fmla="*/ 175 h 314"/>
                  <a:gd name="T24" fmla="*/ 8 w 104"/>
                  <a:gd name="T25" fmla="*/ 181 h 314"/>
                  <a:gd name="T26" fmla="*/ 4 w 104"/>
                  <a:gd name="T27" fmla="*/ 188 h 314"/>
                  <a:gd name="T28" fmla="*/ 2 w 104"/>
                  <a:gd name="T29" fmla="*/ 192 h 314"/>
                  <a:gd name="T30" fmla="*/ 2 w 104"/>
                  <a:gd name="T31" fmla="*/ 199 h 314"/>
                  <a:gd name="T32" fmla="*/ 4 w 104"/>
                  <a:gd name="T33" fmla="*/ 210 h 314"/>
                  <a:gd name="T34" fmla="*/ 13 w 104"/>
                  <a:gd name="T35" fmla="*/ 216 h 314"/>
                  <a:gd name="T36" fmla="*/ 19 w 104"/>
                  <a:gd name="T37" fmla="*/ 218 h 314"/>
                  <a:gd name="T38" fmla="*/ 26 w 104"/>
                  <a:gd name="T39" fmla="*/ 218 h 314"/>
                  <a:gd name="T40" fmla="*/ 32 w 104"/>
                  <a:gd name="T41" fmla="*/ 218 h 314"/>
                  <a:gd name="T42" fmla="*/ 41 w 104"/>
                  <a:gd name="T43" fmla="*/ 214 h 314"/>
                  <a:gd name="T44" fmla="*/ 56 w 104"/>
                  <a:gd name="T45" fmla="*/ 212 h 314"/>
                  <a:gd name="T46" fmla="*/ 63 w 104"/>
                  <a:gd name="T47" fmla="*/ 225 h 314"/>
                  <a:gd name="T48" fmla="*/ 67 w 104"/>
                  <a:gd name="T49" fmla="*/ 236 h 314"/>
                  <a:gd name="T50" fmla="*/ 63 w 104"/>
                  <a:gd name="T51" fmla="*/ 266 h 314"/>
                  <a:gd name="T52" fmla="*/ 39 w 104"/>
                  <a:gd name="T53" fmla="*/ 290 h 314"/>
                  <a:gd name="T54" fmla="*/ 30 w 104"/>
                  <a:gd name="T55" fmla="*/ 297 h 314"/>
                  <a:gd name="T56" fmla="*/ 15 w 104"/>
                  <a:gd name="T57" fmla="*/ 306 h 314"/>
                  <a:gd name="T58" fmla="*/ 0 w 104"/>
                  <a:gd name="T59" fmla="*/ 312 h 314"/>
                  <a:gd name="T60" fmla="*/ 0 w 104"/>
                  <a:gd name="T61" fmla="*/ 314 h 314"/>
                  <a:gd name="T62" fmla="*/ 6 w 104"/>
                  <a:gd name="T63" fmla="*/ 312 h 314"/>
                  <a:gd name="T64" fmla="*/ 17 w 104"/>
                  <a:gd name="T65" fmla="*/ 306 h 314"/>
                  <a:gd name="T66" fmla="*/ 26 w 104"/>
                  <a:gd name="T67" fmla="*/ 301 h 314"/>
                  <a:gd name="T68" fmla="*/ 35 w 104"/>
                  <a:gd name="T69" fmla="*/ 295 h 314"/>
                  <a:gd name="T70" fmla="*/ 56 w 104"/>
                  <a:gd name="T71" fmla="*/ 275 h 314"/>
                  <a:gd name="T72" fmla="*/ 69 w 104"/>
                  <a:gd name="T73" fmla="*/ 247 h 314"/>
                  <a:gd name="T74" fmla="*/ 65 w 104"/>
                  <a:gd name="T75" fmla="*/ 225 h 314"/>
                  <a:gd name="T76" fmla="*/ 59 w 104"/>
                  <a:gd name="T77" fmla="*/ 212 h 314"/>
                  <a:gd name="T78" fmla="*/ 52 w 104"/>
                  <a:gd name="T79" fmla="*/ 212 h 314"/>
                  <a:gd name="T80" fmla="*/ 41 w 104"/>
                  <a:gd name="T81" fmla="*/ 214 h 314"/>
                  <a:gd name="T82" fmla="*/ 28 w 104"/>
                  <a:gd name="T83" fmla="*/ 216 h 314"/>
                  <a:gd name="T84" fmla="*/ 19 w 104"/>
                  <a:gd name="T85" fmla="*/ 216 h 314"/>
                  <a:gd name="T86" fmla="*/ 6 w 104"/>
                  <a:gd name="T87" fmla="*/ 208 h 314"/>
                  <a:gd name="T88" fmla="*/ 4 w 104"/>
                  <a:gd name="T89" fmla="*/ 195 h 314"/>
                  <a:gd name="T90" fmla="*/ 6 w 104"/>
                  <a:gd name="T91" fmla="*/ 186 h 314"/>
                  <a:gd name="T92" fmla="*/ 21 w 104"/>
                  <a:gd name="T93" fmla="*/ 177 h 314"/>
                  <a:gd name="T94" fmla="*/ 50 w 104"/>
                  <a:gd name="T95" fmla="*/ 175 h 314"/>
                  <a:gd name="T96" fmla="*/ 54 w 104"/>
                  <a:gd name="T97" fmla="*/ 162 h 314"/>
                  <a:gd name="T98" fmla="*/ 59 w 104"/>
                  <a:gd name="T99" fmla="*/ 140 h 314"/>
                  <a:gd name="T100" fmla="*/ 50 w 104"/>
                  <a:gd name="T101" fmla="*/ 120 h 314"/>
                  <a:gd name="T102" fmla="*/ 48 w 104"/>
                  <a:gd name="T103" fmla="*/ 105 h 314"/>
                  <a:gd name="T104" fmla="*/ 43 w 104"/>
                  <a:gd name="T105" fmla="*/ 92 h 314"/>
                  <a:gd name="T106" fmla="*/ 41 w 104"/>
                  <a:gd name="T107" fmla="*/ 85 h 314"/>
                  <a:gd name="T108" fmla="*/ 34 w 104"/>
                  <a:gd name="T109" fmla="*/ 72 h 314"/>
                  <a:gd name="T110" fmla="*/ 52 w 104"/>
                  <a:gd name="T111" fmla="*/ 50 h 314"/>
                  <a:gd name="T112" fmla="*/ 82 w 104"/>
                  <a:gd name="T113" fmla="*/ 27 h 314"/>
                  <a:gd name="T114" fmla="*/ 91 w 104"/>
                  <a:gd name="T115" fmla="*/ 15 h 314"/>
                  <a:gd name="T116" fmla="*/ 100 w 104"/>
                  <a:gd name="T117" fmla="*/ 5 h 314"/>
                  <a:gd name="T118" fmla="*/ 104 w 104"/>
                  <a:gd name="T119" fmla="*/ 2 h 314"/>
                  <a:gd name="T120" fmla="*/ 104 w 104"/>
                  <a:gd name="T12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314">
                    <a:moveTo>
                      <a:pt x="104" y="0"/>
                    </a:moveTo>
                    <a:lnTo>
                      <a:pt x="102" y="0"/>
                    </a:lnTo>
                    <a:lnTo>
                      <a:pt x="102" y="0"/>
                    </a:lnTo>
                    <a:lnTo>
                      <a:pt x="98" y="3"/>
                    </a:lnTo>
                    <a:lnTo>
                      <a:pt x="94" y="7"/>
                    </a:lnTo>
                    <a:lnTo>
                      <a:pt x="93" y="11"/>
                    </a:lnTo>
                    <a:lnTo>
                      <a:pt x="89" y="13"/>
                    </a:lnTo>
                    <a:lnTo>
                      <a:pt x="87" y="16"/>
                    </a:lnTo>
                    <a:lnTo>
                      <a:pt x="87" y="16"/>
                    </a:lnTo>
                    <a:lnTo>
                      <a:pt x="83" y="20"/>
                    </a:lnTo>
                    <a:lnTo>
                      <a:pt x="80" y="27"/>
                    </a:lnTo>
                    <a:lnTo>
                      <a:pt x="76" y="33"/>
                    </a:lnTo>
                    <a:lnTo>
                      <a:pt x="65" y="42"/>
                    </a:lnTo>
                    <a:lnTo>
                      <a:pt x="52" y="50"/>
                    </a:lnTo>
                    <a:lnTo>
                      <a:pt x="39" y="57"/>
                    </a:lnTo>
                    <a:lnTo>
                      <a:pt x="26" y="64"/>
                    </a:lnTo>
                    <a:lnTo>
                      <a:pt x="32" y="74"/>
                    </a:lnTo>
                    <a:lnTo>
                      <a:pt x="35" y="79"/>
                    </a:lnTo>
                    <a:lnTo>
                      <a:pt x="39" y="85"/>
                    </a:lnTo>
                    <a:lnTo>
                      <a:pt x="43" y="92"/>
                    </a:lnTo>
                    <a:lnTo>
                      <a:pt x="45" y="98"/>
                    </a:lnTo>
                    <a:lnTo>
                      <a:pt x="47" y="105"/>
                    </a:lnTo>
                    <a:lnTo>
                      <a:pt x="48" y="112"/>
                    </a:lnTo>
                    <a:lnTo>
                      <a:pt x="48" y="122"/>
                    </a:lnTo>
                    <a:lnTo>
                      <a:pt x="48" y="122"/>
                    </a:lnTo>
                    <a:lnTo>
                      <a:pt x="54" y="122"/>
                    </a:lnTo>
                    <a:lnTo>
                      <a:pt x="59" y="122"/>
                    </a:lnTo>
                    <a:lnTo>
                      <a:pt x="58" y="140"/>
                    </a:lnTo>
                    <a:lnTo>
                      <a:pt x="56" y="153"/>
                    </a:lnTo>
                    <a:lnTo>
                      <a:pt x="56" y="157"/>
                    </a:lnTo>
                    <a:lnTo>
                      <a:pt x="54" y="162"/>
                    </a:lnTo>
                    <a:lnTo>
                      <a:pt x="52" y="168"/>
                    </a:lnTo>
                    <a:lnTo>
                      <a:pt x="48" y="175"/>
                    </a:lnTo>
                    <a:lnTo>
                      <a:pt x="39" y="175"/>
                    </a:lnTo>
                    <a:lnTo>
                      <a:pt x="30" y="175"/>
                    </a:lnTo>
                    <a:lnTo>
                      <a:pt x="21" y="175"/>
                    </a:lnTo>
                    <a:lnTo>
                      <a:pt x="11" y="175"/>
                    </a:lnTo>
                    <a:lnTo>
                      <a:pt x="11" y="175"/>
                    </a:lnTo>
                    <a:lnTo>
                      <a:pt x="8" y="181"/>
                    </a:lnTo>
                    <a:lnTo>
                      <a:pt x="6" y="184"/>
                    </a:lnTo>
                    <a:lnTo>
                      <a:pt x="6" y="184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2" y="192"/>
                    </a:lnTo>
                    <a:lnTo>
                      <a:pt x="2" y="192"/>
                    </a:lnTo>
                    <a:lnTo>
                      <a:pt x="2" y="195"/>
                    </a:lnTo>
                    <a:lnTo>
                      <a:pt x="2" y="195"/>
                    </a:lnTo>
                    <a:lnTo>
                      <a:pt x="2" y="199"/>
                    </a:lnTo>
                    <a:lnTo>
                      <a:pt x="4" y="205"/>
                    </a:lnTo>
                    <a:lnTo>
                      <a:pt x="4" y="210"/>
                    </a:lnTo>
                    <a:lnTo>
                      <a:pt x="4" y="210"/>
                    </a:lnTo>
                    <a:lnTo>
                      <a:pt x="10" y="214"/>
                    </a:lnTo>
                    <a:lnTo>
                      <a:pt x="10" y="214"/>
                    </a:lnTo>
                    <a:lnTo>
                      <a:pt x="13" y="216"/>
                    </a:lnTo>
                    <a:lnTo>
                      <a:pt x="13" y="216"/>
                    </a:lnTo>
                    <a:lnTo>
                      <a:pt x="19" y="218"/>
                    </a:lnTo>
                    <a:lnTo>
                      <a:pt x="19" y="218"/>
                    </a:lnTo>
                    <a:lnTo>
                      <a:pt x="23" y="218"/>
                    </a:lnTo>
                    <a:lnTo>
                      <a:pt x="23" y="218"/>
                    </a:lnTo>
                    <a:lnTo>
                      <a:pt x="26" y="218"/>
                    </a:lnTo>
                    <a:lnTo>
                      <a:pt x="26" y="218"/>
                    </a:lnTo>
                    <a:lnTo>
                      <a:pt x="30" y="218"/>
                    </a:lnTo>
                    <a:lnTo>
                      <a:pt x="32" y="218"/>
                    </a:lnTo>
                    <a:lnTo>
                      <a:pt x="32" y="218"/>
                    </a:lnTo>
                    <a:lnTo>
                      <a:pt x="35" y="216"/>
                    </a:lnTo>
                    <a:lnTo>
                      <a:pt x="41" y="214"/>
                    </a:lnTo>
                    <a:lnTo>
                      <a:pt x="48" y="214"/>
                    </a:lnTo>
                    <a:lnTo>
                      <a:pt x="52" y="212"/>
                    </a:lnTo>
                    <a:lnTo>
                      <a:pt x="56" y="212"/>
                    </a:lnTo>
                    <a:lnTo>
                      <a:pt x="59" y="214"/>
                    </a:lnTo>
                    <a:lnTo>
                      <a:pt x="63" y="214"/>
                    </a:lnTo>
                    <a:lnTo>
                      <a:pt x="63" y="225"/>
                    </a:lnTo>
                    <a:lnTo>
                      <a:pt x="67" y="236"/>
                    </a:lnTo>
                    <a:lnTo>
                      <a:pt x="67" y="236"/>
                    </a:lnTo>
                    <a:lnTo>
                      <a:pt x="67" y="236"/>
                    </a:lnTo>
                    <a:lnTo>
                      <a:pt x="67" y="247"/>
                    </a:lnTo>
                    <a:lnTo>
                      <a:pt x="69" y="258"/>
                    </a:lnTo>
                    <a:lnTo>
                      <a:pt x="63" y="266"/>
                    </a:lnTo>
                    <a:lnTo>
                      <a:pt x="56" y="275"/>
                    </a:lnTo>
                    <a:lnTo>
                      <a:pt x="47" y="282"/>
                    </a:lnTo>
                    <a:lnTo>
                      <a:pt x="39" y="290"/>
                    </a:lnTo>
                    <a:lnTo>
                      <a:pt x="34" y="293"/>
                    </a:lnTo>
                    <a:lnTo>
                      <a:pt x="30" y="297"/>
                    </a:lnTo>
                    <a:lnTo>
                      <a:pt x="30" y="297"/>
                    </a:lnTo>
                    <a:lnTo>
                      <a:pt x="24" y="301"/>
                    </a:lnTo>
                    <a:lnTo>
                      <a:pt x="21" y="302"/>
                    </a:lnTo>
                    <a:lnTo>
                      <a:pt x="15" y="306"/>
                    </a:lnTo>
                    <a:lnTo>
                      <a:pt x="11" y="308"/>
                    </a:lnTo>
                    <a:lnTo>
                      <a:pt x="6" y="310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0" y="314"/>
                    </a:lnTo>
                    <a:lnTo>
                      <a:pt x="0" y="314"/>
                    </a:lnTo>
                    <a:lnTo>
                      <a:pt x="2" y="312"/>
                    </a:lnTo>
                    <a:lnTo>
                      <a:pt x="2" y="312"/>
                    </a:lnTo>
                    <a:lnTo>
                      <a:pt x="6" y="312"/>
                    </a:lnTo>
                    <a:lnTo>
                      <a:pt x="11" y="310"/>
                    </a:lnTo>
                    <a:lnTo>
                      <a:pt x="17" y="306"/>
                    </a:lnTo>
                    <a:lnTo>
                      <a:pt x="17" y="306"/>
                    </a:lnTo>
                    <a:lnTo>
                      <a:pt x="21" y="304"/>
                    </a:lnTo>
                    <a:lnTo>
                      <a:pt x="26" y="301"/>
                    </a:lnTo>
                    <a:lnTo>
                      <a:pt x="26" y="301"/>
                    </a:lnTo>
                    <a:lnTo>
                      <a:pt x="30" y="299"/>
                    </a:lnTo>
                    <a:lnTo>
                      <a:pt x="35" y="295"/>
                    </a:lnTo>
                    <a:lnTo>
                      <a:pt x="35" y="295"/>
                    </a:lnTo>
                    <a:lnTo>
                      <a:pt x="39" y="291"/>
                    </a:lnTo>
                    <a:lnTo>
                      <a:pt x="48" y="284"/>
                    </a:lnTo>
                    <a:lnTo>
                      <a:pt x="56" y="275"/>
                    </a:lnTo>
                    <a:lnTo>
                      <a:pt x="63" y="267"/>
                    </a:lnTo>
                    <a:lnTo>
                      <a:pt x="70" y="258"/>
                    </a:lnTo>
                    <a:lnTo>
                      <a:pt x="69" y="247"/>
                    </a:lnTo>
                    <a:lnTo>
                      <a:pt x="69" y="247"/>
                    </a:lnTo>
                    <a:lnTo>
                      <a:pt x="67" y="236"/>
                    </a:lnTo>
                    <a:lnTo>
                      <a:pt x="65" y="225"/>
                    </a:lnTo>
                    <a:lnTo>
                      <a:pt x="65" y="225"/>
                    </a:lnTo>
                    <a:lnTo>
                      <a:pt x="63" y="212"/>
                    </a:lnTo>
                    <a:lnTo>
                      <a:pt x="59" y="212"/>
                    </a:lnTo>
                    <a:lnTo>
                      <a:pt x="56" y="212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12"/>
                    </a:lnTo>
                    <a:lnTo>
                      <a:pt x="41" y="214"/>
                    </a:lnTo>
                    <a:lnTo>
                      <a:pt x="35" y="216"/>
                    </a:lnTo>
                    <a:lnTo>
                      <a:pt x="32" y="216"/>
                    </a:lnTo>
                    <a:lnTo>
                      <a:pt x="28" y="216"/>
                    </a:lnTo>
                    <a:lnTo>
                      <a:pt x="26" y="216"/>
                    </a:lnTo>
                    <a:lnTo>
                      <a:pt x="23" y="216"/>
                    </a:lnTo>
                    <a:lnTo>
                      <a:pt x="19" y="216"/>
                    </a:lnTo>
                    <a:lnTo>
                      <a:pt x="13" y="214"/>
                    </a:lnTo>
                    <a:lnTo>
                      <a:pt x="10" y="212"/>
                    </a:lnTo>
                    <a:lnTo>
                      <a:pt x="6" y="208"/>
                    </a:lnTo>
                    <a:lnTo>
                      <a:pt x="4" y="203"/>
                    </a:lnTo>
                    <a:lnTo>
                      <a:pt x="4" y="199"/>
                    </a:lnTo>
                    <a:lnTo>
                      <a:pt x="4" y="195"/>
                    </a:lnTo>
                    <a:lnTo>
                      <a:pt x="4" y="192"/>
                    </a:lnTo>
                    <a:lnTo>
                      <a:pt x="6" y="190"/>
                    </a:lnTo>
                    <a:lnTo>
                      <a:pt x="6" y="186"/>
                    </a:lnTo>
                    <a:lnTo>
                      <a:pt x="10" y="181"/>
                    </a:lnTo>
                    <a:lnTo>
                      <a:pt x="11" y="177"/>
                    </a:lnTo>
                    <a:lnTo>
                      <a:pt x="21" y="177"/>
                    </a:lnTo>
                    <a:lnTo>
                      <a:pt x="30" y="175"/>
                    </a:lnTo>
                    <a:lnTo>
                      <a:pt x="39" y="175"/>
                    </a:lnTo>
                    <a:lnTo>
                      <a:pt x="50" y="175"/>
                    </a:lnTo>
                    <a:lnTo>
                      <a:pt x="52" y="168"/>
                    </a:lnTo>
                    <a:lnTo>
                      <a:pt x="54" y="162"/>
                    </a:lnTo>
                    <a:lnTo>
                      <a:pt x="54" y="162"/>
                    </a:lnTo>
                    <a:lnTo>
                      <a:pt x="56" y="157"/>
                    </a:lnTo>
                    <a:lnTo>
                      <a:pt x="58" y="153"/>
                    </a:lnTo>
                    <a:lnTo>
                      <a:pt x="59" y="140"/>
                    </a:lnTo>
                    <a:lnTo>
                      <a:pt x="61" y="120"/>
                    </a:lnTo>
                    <a:lnTo>
                      <a:pt x="54" y="120"/>
                    </a:lnTo>
                    <a:lnTo>
                      <a:pt x="50" y="120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5"/>
                    </a:lnTo>
                    <a:lnTo>
                      <a:pt x="48" y="105"/>
                    </a:lnTo>
                    <a:lnTo>
                      <a:pt x="47" y="98"/>
                    </a:lnTo>
                    <a:lnTo>
                      <a:pt x="43" y="92"/>
                    </a:lnTo>
                    <a:lnTo>
                      <a:pt x="43" y="92"/>
                    </a:lnTo>
                    <a:lnTo>
                      <a:pt x="41" y="85"/>
                    </a:lnTo>
                    <a:lnTo>
                      <a:pt x="41" y="85"/>
                    </a:lnTo>
                    <a:lnTo>
                      <a:pt x="37" y="79"/>
                    </a:lnTo>
                    <a:lnTo>
                      <a:pt x="37" y="79"/>
                    </a:lnTo>
                    <a:lnTo>
                      <a:pt x="34" y="72"/>
                    </a:lnTo>
                    <a:lnTo>
                      <a:pt x="28" y="66"/>
                    </a:lnTo>
                    <a:lnTo>
                      <a:pt x="41" y="57"/>
                    </a:lnTo>
                    <a:lnTo>
                      <a:pt x="52" y="50"/>
                    </a:lnTo>
                    <a:lnTo>
                      <a:pt x="65" y="42"/>
                    </a:lnTo>
                    <a:lnTo>
                      <a:pt x="78" y="35"/>
                    </a:lnTo>
                    <a:lnTo>
                      <a:pt x="82" y="27"/>
                    </a:lnTo>
                    <a:lnTo>
                      <a:pt x="85" y="22"/>
                    </a:lnTo>
                    <a:lnTo>
                      <a:pt x="87" y="16"/>
                    </a:lnTo>
                    <a:lnTo>
                      <a:pt x="91" y="15"/>
                    </a:lnTo>
                    <a:lnTo>
                      <a:pt x="93" y="11"/>
                    </a:lnTo>
                    <a:lnTo>
                      <a:pt x="96" y="7"/>
                    </a:lnTo>
                    <a:lnTo>
                      <a:pt x="100" y="5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0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7" name="Freeform 3358"/>
              <p:cNvSpPr>
                <a:spLocks/>
              </p:cNvSpPr>
              <p:nvPr/>
            </p:nvSpPr>
            <p:spPr bwMode="auto">
              <a:xfrm>
                <a:off x="8285603" y="2752953"/>
                <a:ext cx="153813" cy="474836"/>
              </a:xfrm>
              <a:custGeom>
                <a:avLst/>
                <a:gdLst>
                  <a:gd name="T0" fmla="*/ 102 w 104"/>
                  <a:gd name="T1" fmla="*/ 0 h 314"/>
                  <a:gd name="T2" fmla="*/ 93 w 104"/>
                  <a:gd name="T3" fmla="*/ 11 h 314"/>
                  <a:gd name="T4" fmla="*/ 87 w 104"/>
                  <a:gd name="T5" fmla="*/ 16 h 314"/>
                  <a:gd name="T6" fmla="*/ 76 w 104"/>
                  <a:gd name="T7" fmla="*/ 33 h 314"/>
                  <a:gd name="T8" fmla="*/ 39 w 104"/>
                  <a:gd name="T9" fmla="*/ 57 h 314"/>
                  <a:gd name="T10" fmla="*/ 35 w 104"/>
                  <a:gd name="T11" fmla="*/ 79 h 314"/>
                  <a:gd name="T12" fmla="*/ 45 w 104"/>
                  <a:gd name="T13" fmla="*/ 98 h 314"/>
                  <a:gd name="T14" fmla="*/ 48 w 104"/>
                  <a:gd name="T15" fmla="*/ 122 h 314"/>
                  <a:gd name="T16" fmla="*/ 59 w 104"/>
                  <a:gd name="T17" fmla="*/ 122 h 314"/>
                  <a:gd name="T18" fmla="*/ 56 w 104"/>
                  <a:gd name="T19" fmla="*/ 157 h 314"/>
                  <a:gd name="T20" fmla="*/ 48 w 104"/>
                  <a:gd name="T21" fmla="*/ 175 h 314"/>
                  <a:gd name="T22" fmla="*/ 21 w 104"/>
                  <a:gd name="T23" fmla="*/ 175 h 314"/>
                  <a:gd name="T24" fmla="*/ 8 w 104"/>
                  <a:gd name="T25" fmla="*/ 181 h 314"/>
                  <a:gd name="T26" fmla="*/ 4 w 104"/>
                  <a:gd name="T27" fmla="*/ 188 h 314"/>
                  <a:gd name="T28" fmla="*/ 2 w 104"/>
                  <a:gd name="T29" fmla="*/ 192 h 314"/>
                  <a:gd name="T30" fmla="*/ 2 w 104"/>
                  <a:gd name="T31" fmla="*/ 199 h 314"/>
                  <a:gd name="T32" fmla="*/ 4 w 104"/>
                  <a:gd name="T33" fmla="*/ 210 h 314"/>
                  <a:gd name="T34" fmla="*/ 13 w 104"/>
                  <a:gd name="T35" fmla="*/ 216 h 314"/>
                  <a:gd name="T36" fmla="*/ 19 w 104"/>
                  <a:gd name="T37" fmla="*/ 218 h 314"/>
                  <a:gd name="T38" fmla="*/ 26 w 104"/>
                  <a:gd name="T39" fmla="*/ 218 h 314"/>
                  <a:gd name="T40" fmla="*/ 32 w 104"/>
                  <a:gd name="T41" fmla="*/ 218 h 314"/>
                  <a:gd name="T42" fmla="*/ 41 w 104"/>
                  <a:gd name="T43" fmla="*/ 214 h 314"/>
                  <a:gd name="T44" fmla="*/ 56 w 104"/>
                  <a:gd name="T45" fmla="*/ 212 h 314"/>
                  <a:gd name="T46" fmla="*/ 63 w 104"/>
                  <a:gd name="T47" fmla="*/ 225 h 314"/>
                  <a:gd name="T48" fmla="*/ 67 w 104"/>
                  <a:gd name="T49" fmla="*/ 236 h 314"/>
                  <a:gd name="T50" fmla="*/ 63 w 104"/>
                  <a:gd name="T51" fmla="*/ 266 h 314"/>
                  <a:gd name="T52" fmla="*/ 39 w 104"/>
                  <a:gd name="T53" fmla="*/ 290 h 314"/>
                  <a:gd name="T54" fmla="*/ 30 w 104"/>
                  <a:gd name="T55" fmla="*/ 297 h 314"/>
                  <a:gd name="T56" fmla="*/ 15 w 104"/>
                  <a:gd name="T57" fmla="*/ 306 h 314"/>
                  <a:gd name="T58" fmla="*/ 0 w 104"/>
                  <a:gd name="T59" fmla="*/ 312 h 314"/>
                  <a:gd name="T60" fmla="*/ 0 w 104"/>
                  <a:gd name="T61" fmla="*/ 314 h 314"/>
                  <a:gd name="T62" fmla="*/ 6 w 104"/>
                  <a:gd name="T63" fmla="*/ 312 h 314"/>
                  <a:gd name="T64" fmla="*/ 17 w 104"/>
                  <a:gd name="T65" fmla="*/ 306 h 314"/>
                  <a:gd name="T66" fmla="*/ 26 w 104"/>
                  <a:gd name="T67" fmla="*/ 301 h 314"/>
                  <a:gd name="T68" fmla="*/ 35 w 104"/>
                  <a:gd name="T69" fmla="*/ 295 h 314"/>
                  <a:gd name="T70" fmla="*/ 56 w 104"/>
                  <a:gd name="T71" fmla="*/ 275 h 314"/>
                  <a:gd name="T72" fmla="*/ 69 w 104"/>
                  <a:gd name="T73" fmla="*/ 247 h 314"/>
                  <a:gd name="T74" fmla="*/ 65 w 104"/>
                  <a:gd name="T75" fmla="*/ 225 h 314"/>
                  <a:gd name="T76" fmla="*/ 59 w 104"/>
                  <a:gd name="T77" fmla="*/ 212 h 314"/>
                  <a:gd name="T78" fmla="*/ 52 w 104"/>
                  <a:gd name="T79" fmla="*/ 212 h 314"/>
                  <a:gd name="T80" fmla="*/ 41 w 104"/>
                  <a:gd name="T81" fmla="*/ 214 h 314"/>
                  <a:gd name="T82" fmla="*/ 28 w 104"/>
                  <a:gd name="T83" fmla="*/ 216 h 314"/>
                  <a:gd name="T84" fmla="*/ 19 w 104"/>
                  <a:gd name="T85" fmla="*/ 216 h 314"/>
                  <a:gd name="T86" fmla="*/ 6 w 104"/>
                  <a:gd name="T87" fmla="*/ 208 h 314"/>
                  <a:gd name="T88" fmla="*/ 4 w 104"/>
                  <a:gd name="T89" fmla="*/ 195 h 314"/>
                  <a:gd name="T90" fmla="*/ 6 w 104"/>
                  <a:gd name="T91" fmla="*/ 186 h 314"/>
                  <a:gd name="T92" fmla="*/ 21 w 104"/>
                  <a:gd name="T93" fmla="*/ 177 h 314"/>
                  <a:gd name="T94" fmla="*/ 50 w 104"/>
                  <a:gd name="T95" fmla="*/ 175 h 314"/>
                  <a:gd name="T96" fmla="*/ 54 w 104"/>
                  <a:gd name="T97" fmla="*/ 162 h 314"/>
                  <a:gd name="T98" fmla="*/ 59 w 104"/>
                  <a:gd name="T99" fmla="*/ 140 h 314"/>
                  <a:gd name="T100" fmla="*/ 50 w 104"/>
                  <a:gd name="T101" fmla="*/ 120 h 314"/>
                  <a:gd name="T102" fmla="*/ 48 w 104"/>
                  <a:gd name="T103" fmla="*/ 105 h 314"/>
                  <a:gd name="T104" fmla="*/ 43 w 104"/>
                  <a:gd name="T105" fmla="*/ 92 h 314"/>
                  <a:gd name="T106" fmla="*/ 41 w 104"/>
                  <a:gd name="T107" fmla="*/ 85 h 314"/>
                  <a:gd name="T108" fmla="*/ 34 w 104"/>
                  <a:gd name="T109" fmla="*/ 72 h 314"/>
                  <a:gd name="T110" fmla="*/ 52 w 104"/>
                  <a:gd name="T111" fmla="*/ 50 h 314"/>
                  <a:gd name="T112" fmla="*/ 82 w 104"/>
                  <a:gd name="T113" fmla="*/ 27 h 314"/>
                  <a:gd name="T114" fmla="*/ 91 w 104"/>
                  <a:gd name="T115" fmla="*/ 15 h 314"/>
                  <a:gd name="T116" fmla="*/ 100 w 104"/>
                  <a:gd name="T117" fmla="*/ 5 h 314"/>
                  <a:gd name="T118" fmla="*/ 104 w 104"/>
                  <a:gd name="T119" fmla="*/ 2 h 314"/>
                  <a:gd name="T120" fmla="*/ 104 w 104"/>
                  <a:gd name="T121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314">
                    <a:moveTo>
                      <a:pt x="104" y="0"/>
                    </a:moveTo>
                    <a:lnTo>
                      <a:pt x="102" y="0"/>
                    </a:lnTo>
                    <a:lnTo>
                      <a:pt x="102" y="0"/>
                    </a:lnTo>
                    <a:lnTo>
                      <a:pt x="98" y="3"/>
                    </a:lnTo>
                    <a:lnTo>
                      <a:pt x="94" y="7"/>
                    </a:lnTo>
                    <a:lnTo>
                      <a:pt x="93" y="11"/>
                    </a:lnTo>
                    <a:lnTo>
                      <a:pt x="89" y="13"/>
                    </a:lnTo>
                    <a:lnTo>
                      <a:pt x="87" y="16"/>
                    </a:lnTo>
                    <a:lnTo>
                      <a:pt x="87" y="16"/>
                    </a:lnTo>
                    <a:lnTo>
                      <a:pt x="83" y="20"/>
                    </a:lnTo>
                    <a:lnTo>
                      <a:pt x="80" y="27"/>
                    </a:lnTo>
                    <a:lnTo>
                      <a:pt x="76" y="33"/>
                    </a:lnTo>
                    <a:lnTo>
                      <a:pt x="65" y="42"/>
                    </a:lnTo>
                    <a:lnTo>
                      <a:pt x="52" y="50"/>
                    </a:lnTo>
                    <a:lnTo>
                      <a:pt x="39" y="57"/>
                    </a:lnTo>
                    <a:lnTo>
                      <a:pt x="26" y="64"/>
                    </a:lnTo>
                    <a:lnTo>
                      <a:pt x="32" y="74"/>
                    </a:lnTo>
                    <a:lnTo>
                      <a:pt x="35" y="79"/>
                    </a:lnTo>
                    <a:lnTo>
                      <a:pt x="39" y="85"/>
                    </a:lnTo>
                    <a:lnTo>
                      <a:pt x="43" y="92"/>
                    </a:lnTo>
                    <a:lnTo>
                      <a:pt x="45" y="98"/>
                    </a:lnTo>
                    <a:lnTo>
                      <a:pt x="47" y="105"/>
                    </a:lnTo>
                    <a:lnTo>
                      <a:pt x="48" y="112"/>
                    </a:lnTo>
                    <a:lnTo>
                      <a:pt x="48" y="122"/>
                    </a:lnTo>
                    <a:lnTo>
                      <a:pt x="48" y="122"/>
                    </a:lnTo>
                    <a:lnTo>
                      <a:pt x="54" y="122"/>
                    </a:lnTo>
                    <a:lnTo>
                      <a:pt x="59" y="122"/>
                    </a:lnTo>
                    <a:lnTo>
                      <a:pt x="58" y="140"/>
                    </a:lnTo>
                    <a:lnTo>
                      <a:pt x="56" y="153"/>
                    </a:lnTo>
                    <a:lnTo>
                      <a:pt x="56" y="157"/>
                    </a:lnTo>
                    <a:lnTo>
                      <a:pt x="54" y="162"/>
                    </a:lnTo>
                    <a:lnTo>
                      <a:pt x="52" y="168"/>
                    </a:lnTo>
                    <a:lnTo>
                      <a:pt x="48" y="175"/>
                    </a:lnTo>
                    <a:lnTo>
                      <a:pt x="39" y="175"/>
                    </a:lnTo>
                    <a:lnTo>
                      <a:pt x="30" y="175"/>
                    </a:lnTo>
                    <a:lnTo>
                      <a:pt x="21" y="175"/>
                    </a:lnTo>
                    <a:lnTo>
                      <a:pt x="11" y="175"/>
                    </a:lnTo>
                    <a:lnTo>
                      <a:pt x="11" y="175"/>
                    </a:lnTo>
                    <a:lnTo>
                      <a:pt x="8" y="181"/>
                    </a:lnTo>
                    <a:lnTo>
                      <a:pt x="6" y="184"/>
                    </a:lnTo>
                    <a:lnTo>
                      <a:pt x="6" y="184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2" y="192"/>
                    </a:lnTo>
                    <a:lnTo>
                      <a:pt x="2" y="192"/>
                    </a:lnTo>
                    <a:lnTo>
                      <a:pt x="2" y="195"/>
                    </a:lnTo>
                    <a:lnTo>
                      <a:pt x="2" y="195"/>
                    </a:lnTo>
                    <a:lnTo>
                      <a:pt x="2" y="199"/>
                    </a:lnTo>
                    <a:lnTo>
                      <a:pt x="4" y="205"/>
                    </a:lnTo>
                    <a:lnTo>
                      <a:pt x="4" y="210"/>
                    </a:lnTo>
                    <a:lnTo>
                      <a:pt x="4" y="210"/>
                    </a:lnTo>
                    <a:lnTo>
                      <a:pt x="10" y="214"/>
                    </a:lnTo>
                    <a:lnTo>
                      <a:pt x="10" y="214"/>
                    </a:lnTo>
                    <a:lnTo>
                      <a:pt x="13" y="216"/>
                    </a:lnTo>
                    <a:lnTo>
                      <a:pt x="13" y="216"/>
                    </a:lnTo>
                    <a:lnTo>
                      <a:pt x="19" y="218"/>
                    </a:lnTo>
                    <a:lnTo>
                      <a:pt x="19" y="218"/>
                    </a:lnTo>
                    <a:lnTo>
                      <a:pt x="23" y="218"/>
                    </a:lnTo>
                    <a:lnTo>
                      <a:pt x="23" y="218"/>
                    </a:lnTo>
                    <a:lnTo>
                      <a:pt x="26" y="218"/>
                    </a:lnTo>
                    <a:lnTo>
                      <a:pt x="26" y="218"/>
                    </a:lnTo>
                    <a:lnTo>
                      <a:pt x="30" y="218"/>
                    </a:lnTo>
                    <a:lnTo>
                      <a:pt x="32" y="218"/>
                    </a:lnTo>
                    <a:lnTo>
                      <a:pt x="32" y="218"/>
                    </a:lnTo>
                    <a:lnTo>
                      <a:pt x="35" y="216"/>
                    </a:lnTo>
                    <a:lnTo>
                      <a:pt x="41" y="214"/>
                    </a:lnTo>
                    <a:lnTo>
                      <a:pt x="48" y="214"/>
                    </a:lnTo>
                    <a:lnTo>
                      <a:pt x="52" y="212"/>
                    </a:lnTo>
                    <a:lnTo>
                      <a:pt x="56" y="212"/>
                    </a:lnTo>
                    <a:lnTo>
                      <a:pt x="59" y="214"/>
                    </a:lnTo>
                    <a:lnTo>
                      <a:pt x="63" y="214"/>
                    </a:lnTo>
                    <a:lnTo>
                      <a:pt x="63" y="225"/>
                    </a:lnTo>
                    <a:lnTo>
                      <a:pt x="67" y="236"/>
                    </a:lnTo>
                    <a:lnTo>
                      <a:pt x="67" y="236"/>
                    </a:lnTo>
                    <a:lnTo>
                      <a:pt x="67" y="236"/>
                    </a:lnTo>
                    <a:lnTo>
                      <a:pt x="67" y="247"/>
                    </a:lnTo>
                    <a:lnTo>
                      <a:pt x="69" y="258"/>
                    </a:lnTo>
                    <a:lnTo>
                      <a:pt x="63" y="266"/>
                    </a:lnTo>
                    <a:lnTo>
                      <a:pt x="56" y="275"/>
                    </a:lnTo>
                    <a:lnTo>
                      <a:pt x="47" y="282"/>
                    </a:lnTo>
                    <a:lnTo>
                      <a:pt x="39" y="290"/>
                    </a:lnTo>
                    <a:lnTo>
                      <a:pt x="34" y="293"/>
                    </a:lnTo>
                    <a:lnTo>
                      <a:pt x="30" y="297"/>
                    </a:lnTo>
                    <a:lnTo>
                      <a:pt x="30" y="297"/>
                    </a:lnTo>
                    <a:lnTo>
                      <a:pt x="24" y="301"/>
                    </a:lnTo>
                    <a:lnTo>
                      <a:pt x="21" y="302"/>
                    </a:lnTo>
                    <a:lnTo>
                      <a:pt x="15" y="306"/>
                    </a:lnTo>
                    <a:lnTo>
                      <a:pt x="11" y="308"/>
                    </a:lnTo>
                    <a:lnTo>
                      <a:pt x="6" y="310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0" y="314"/>
                    </a:lnTo>
                    <a:lnTo>
                      <a:pt x="0" y="314"/>
                    </a:lnTo>
                    <a:lnTo>
                      <a:pt x="2" y="312"/>
                    </a:lnTo>
                    <a:lnTo>
                      <a:pt x="2" y="312"/>
                    </a:lnTo>
                    <a:lnTo>
                      <a:pt x="6" y="312"/>
                    </a:lnTo>
                    <a:lnTo>
                      <a:pt x="11" y="310"/>
                    </a:lnTo>
                    <a:lnTo>
                      <a:pt x="17" y="306"/>
                    </a:lnTo>
                    <a:lnTo>
                      <a:pt x="17" y="306"/>
                    </a:lnTo>
                    <a:lnTo>
                      <a:pt x="21" y="304"/>
                    </a:lnTo>
                    <a:lnTo>
                      <a:pt x="26" y="301"/>
                    </a:lnTo>
                    <a:lnTo>
                      <a:pt x="26" y="301"/>
                    </a:lnTo>
                    <a:lnTo>
                      <a:pt x="30" y="299"/>
                    </a:lnTo>
                    <a:lnTo>
                      <a:pt x="35" y="295"/>
                    </a:lnTo>
                    <a:lnTo>
                      <a:pt x="35" y="295"/>
                    </a:lnTo>
                    <a:lnTo>
                      <a:pt x="39" y="291"/>
                    </a:lnTo>
                    <a:lnTo>
                      <a:pt x="48" y="284"/>
                    </a:lnTo>
                    <a:lnTo>
                      <a:pt x="56" y="275"/>
                    </a:lnTo>
                    <a:lnTo>
                      <a:pt x="63" y="267"/>
                    </a:lnTo>
                    <a:lnTo>
                      <a:pt x="70" y="258"/>
                    </a:lnTo>
                    <a:lnTo>
                      <a:pt x="69" y="247"/>
                    </a:lnTo>
                    <a:lnTo>
                      <a:pt x="69" y="247"/>
                    </a:lnTo>
                    <a:lnTo>
                      <a:pt x="67" y="236"/>
                    </a:lnTo>
                    <a:lnTo>
                      <a:pt x="65" y="225"/>
                    </a:lnTo>
                    <a:lnTo>
                      <a:pt x="65" y="225"/>
                    </a:lnTo>
                    <a:lnTo>
                      <a:pt x="63" y="212"/>
                    </a:lnTo>
                    <a:lnTo>
                      <a:pt x="59" y="212"/>
                    </a:lnTo>
                    <a:lnTo>
                      <a:pt x="56" y="212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12"/>
                    </a:lnTo>
                    <a:lnTo>
                      <a:pt x="41" y="214"/>
                    </a:lnTo>
                    <a:lnTo>
                      <a:pt x="35" y="216"/>
                    </a:lnTo>
                    <a:lnTo>
                      <a:pt x="32" y="216"/>
                    </a:lnTo>
                    <a:lnTo>
                      <a:pt x="28" y="216"/>
                    </a:lnTo>
                    <a:lnTo>
                      <a:pt x="26" y="216"/>
                    </a:lnTo>
                    <a:lnTo>
                      <a:pt x="23" y="216"/>
                    </a:lnTo>
                    <a:lnTo>
                      <a:pt x="19" y="216"/>
                    </a:lnTo>
                    <a:lnTo>
                      <a:pt x="13" y="214"/>
                    </a:lnTo>
                    <a:lnTo>
                      <a:pt x="10" y="212"/>
                    </a:lnTo>
                    <a:lnTo>
                      <a:pt x="6" y="208"/>
                    </a:lnTo>
                    <a:lnTo>
                      <a:pt x="4" y="203"/>
                    </a:lnTo>
                    <a:lnTo>
                      <a:pt x="4" y="199"/>
                    </a:lnTo>
                    <a:lnTo>
                      <a:pt x="4" y="195"/>
                    </a:lnTo>
                    <a:lnTo>
                      <a:pt x="4" y="192"/>
                    </a:lnTo>
                    <a:lnTo>
                      <a:pt x="6" y="190"/>
                    </a:lnTo>
                    <a:lnTo>
                      <a:pt x="6" y="186"/>
                    </a:lnTo>
                    <a:lnTo>
                      <a:pt x="10" y="181"/>
                    </a:lnTo>
                    <a:lnTo>
                      <a:pt x="11" y="177"/>
                    </a:lnTo>
                    <a:lnTo>
                      <a:pt x="21" y="177"/>
                    </a:lnTo>
                    <a:lnTo>
                      <a:pt x="30" y="175"/>
                    </a:lnTo>
                    <a:lnTo>
                      <a:pt x="39" y="175"/>
                    </a:lnTo>
                    <a:lnTo>
                      <a:pt x="50" y="175"/>
                    </a:lnTo>
                    <a:lnTo>
                      <a:pt x="52" y="168"/>
                    </a:lnTo>
                    <a:lnTo>
                      <a:pt x="54" y="162"/>
                    </a:lnTo>
                    <a:lnTo>
                      <a:pt x="54" y="162"/>
                    </a:lnTo>
                    <a:lnTo>
                      <a:pt x="56" y="157"/>
                    </a:lnTo>
                    <a:lnTo>
                      <a:pt x="58" y="153"/>
                    </a:lnTo>
                    <a:lnTo>
                      <a:pt x="59" y="140"/>
                    </a:lnTo>
                    <a:lnTo>
                      <a:pt x="61" y="120"/>
                    </a:lnTo>
                    <a:lnTo>
                      <a:pt x="54" y="120"/>
                    </a:lnTo>
                    <a:lnTo>
                      <a:pt x="50" y="120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5"/>
                    </a:lnTo>
                    <a:lnTo>
                      <a:pt x="48" y="105"/>
                    </a:lnTo>
                    <a:lnTo>
                      <a:pt x="47" y="98"/>
                    </a:lnTo>
                    <a:lnTo>
                      <a:pt x="43" y="92"/>
                    </a:lnTo>
                    <a:lnTo>
                      <a:pt x="43" y="92"/>
                    </a:lnTo>
                    <a:lnTo>
                      <a:pt x="41" y="85"/>
                    </a:lnTo>
                    <a:lnTo>
                      <a:pt x="41" y="85"/>
                    </a:lnTo>
                    <a:lnTo>
                      <a:pt x="37" y="79"/>
                    </a:lnTo>
                    <a:lnTo>
                      <a:pt x="37" y="79"/>
                    </a:lnTo>
                    <a:lnTo>
                      <a:pt x="34" y="72"/>
                    </a:lnTo>
                    <a:lnTo>
                      <a:pt x="28" y="66"/>
                    </a:lnTo>
                    <a:lnTo>
                      <a:pt x="41" y="57"/>
                    </a:lnTo>
                    <a:lnTo>
                      <a:pt x="52" y="50"/>
                    </a:lnTo>
                    <a:lnTo>
                      <a:pt x="65" y="42"/>
                    </a:lnTo>
                    <a:lnTo>
                      <a:pt x="78" y="35"/>
                    </a:lnTo>
                    <a:lnTo>
                      <a:pt x="82" y="27"/>
                    </a:lnTo>
                    <a:lnTo>
                      <a:pt x="85" y="22"/>
                    </a:lnTo>
                    <a:lnTo>
                      <a:pt x="87" y="16"/>
                    </a:lnTo>
                    <a:lnTo>
                      <a:pt x="91" y="15"/>
                    </a:lnTo>
                    <a:lnTo>
                      <a:pt x="93" y="11"/>
                    </a:lnTo>
                    <a:lnTo>
                      <a:pt x="96" y="7"/>
                    </a:lnTo>
                    <a:lnTo>
                      <a:pt x="100" y="5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0"/>
                    </a:lnTo>
                    <a:lnTo>
                      <a:pt x="10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8" name="Freeform 3359"/>
              <p:cNvSpPr>
                <a:spLocks noEditPoints="1"/>
              </p:cNvSpPr>
              <p:nvPr/>
            </p:nvSpPr>
            <p:spPr bwMode="auto">
              <a:xfrm>
                <a:off x="8316662" y="2521584"/>
                <a:ext cx="45848" cy="110392"/>
              </a:xfrm>
              <a:custGeom>
                <a:avLst/>
                <a:gdLst>
                  <a:gd name="T0" fmla="*/ 22 w 31"/>
                  <a:gd name="T1" fmla="*/ 72 h 73"/>
                  <a:gd name="T2" fmla="*/ 18 w 31"/>
                  <a:gd name="T3" fmla="*/ 61 h 73"/>
                  <a:gd name="T4" fmla="*/ 14 w 31"/>
                  <a:gd name="T5" fmla="*/ 51 h 73"/>
                  <a:gd name="T6" fmla="*/ 13 w 31"/>
                  <a:gd name="T7" fmla="*/ 48 h 73"/>
                  <a:gd name="T8" fmla="*/ 13 w 31"/>
                  <a:gd name="T9" fmla="*/ 48 h 73"/>
                  <a:gd name="T10" fmla="*/ 9 w 31"/>
                  <a:gd name="T11" fmla="*/ 42 h 73"/>
                  <a:gd name="T12" fmla="*/ 9 w 31"/>
                  <a:gd name="T13" fmla="*/ 42 h 73"/>
                  <a:gd name="T14" fmla="*/ 5 w 31"/>
                  <a:gd name="T15" fmla="*/ 38 h 73"/>
                  <a:gd name="T16" fmla="*/ 2 w 31"/>
                  <a:gd name="T17" fmla="*/ 35 h 73"/>
                  <a:gd name="T18" fmla="*/ 3 w 31"/>
                  <a:gd name="T19" fmla="*/ 27 h 73"/>
                  <a:gd name="T20" fmla="*/ 3 w 31"/>
                  <a:gd name="T21" fmla="*/ 18 h 73"/>
                  <a:gd name="T22" fmla="*/ 5 w 31"/>
                  <a:gd name="T23" fmla="*/ 11 h 73"/>
                  <a:gd name="T24" fmla="*/ 5 w 31"/>
                  <a:gd name="T25" fmla="*/ 1 h 73"/>
                  <a:gd name="T26" fmla="*/ 11 w 31"/>
                  <a:gd name="T27" fmla="*/ 5 h 73"/>
                  <a:gd name="T28" fmla="*/ 16 w 31"/>
                  <a:gd name="T29" fmla="*/ 7 h 73"/>
                  <a:gd name="T30" fmla="*/ 22 w 31"/>
                  <a:gd name="T31" fmla="*/ 9 h 73"/>
                  <a:gd name="T32" fmla="*/ 27 w 31"/>
                  <a:gd name="T33" fmla="*/ 11 h 73"/>
                  <a:gd name="T34" fmla="*/ 27 w 31"/>
                  <a:gd name="T35" fmla="*/ 25 h 73"/>
                  <a:gd name="T36" fmla="*/ 29 w 31"/>
                  <a:gd name="T37" fmla="*/ 38 h 73"/>
                  <a:gd name="T38" fmla="*/ 29 w 31"/>
                  <a:gd name="T39" fmla="*/ 53 h 73"/>
                  <a:gd name="T40" fmla="*/ 29 w 31"/>
                  <a:gd name="T41" fmla="*/ 68 h 73"/>
                  <a:gd name="T42" fmla="*/ 26 w 31"/>
                  <a:gd name="T43" fmla="*/ 70 h 73"/>
                  <a:gd name="T44" fmla="*/ 22 w 31"/>
                  <a:gd name="T45" fmla="*/ 72 h 73"/>
                  <a:gd name="T46" fmla="*/ 3 w 31"/>
                  <a:gd name="T47" fmla="*/ 0 h 73"/>
                  <a:gd name="T48" fmla="*/ 3 w 31"/>
                  <a:gd name="T49" fmla="*/ 9 h 73"/>
                  <a:gd name="T50" fmla="*/ 2 w 31"/>
                  <a:gd name="T51" fmla="*/ 18 h 73"/>
                  <a:gd name="T52" fmla="*/ 2 w 31"/>
                  <a:gd name="T53" fmla="*/ 27 h 73"/>
                  <a:gd name="T54" fmla="*/ 0 w 31"/>
                  <a:gd name="T55" fmla="*/ 35 h 73"/>
                  <a:gd name="T56" fmla="*/ 0 w 31"/>
                  <a:gd name="T57" fmla="*/ 37 h 73"/>
                  <a:gd name="T58" fmla="*/ 5 w 31"/>
                  <a:gd name="T59" fmla="*/ 40 h 73"/>
                  <a:gd name="T60" fmla="*/ 9 w 31"/>
                  <a:gd name="T61" fmla="*/ 44 h 73"/>
                  <a:gd name="T62" fmla="*/ 11 w 31"/>
                  <a:gd name="T63" fmla="*/ 48 h 73"/>
                  <a:gd name="T64" fmla="*/ 14 w 31"/>
                  <a:gd name="T65" fmla="*/ 51 h 73"/>
                  <a:gd name="T66" fmla="*/ 18 w 31"/>
                  <a:gd name="T67" fmla="*/ 61 h 73"/>
                  <a:gd name="T68" fmla="*/ 22 w 31"/>
                  <a:gd name="T69" fmla="*/ 73 h 73"/>
                  <a:gd name="T70" fmla="*/ 22 w 31"/>
                  <a:gd name="T71" fmla="*/ 73 h 73"/>
                  <a:gd name="T72" fmla="*/ 27 w 31"/>
                  <a:gd name="T73" fmla="*/ 72 h 73"/>
                  <a:gd name="T74" fmla="*/ 31 w 31"/>
                  <a:gd name="T75" fmla="*/ 68 h 73"/>
                  <a:gd name="T76" fmla="*/ 31 w 31"/>
                  <a:gd name="T77" fmla="*/ 68 h 73"/>
                  <a:gd name="T78" fmla="*/ 31 w 31"/>
                  <a:gd name="T79" fmla="*/ 53 h 73"/>
                  <a:gd name="T80" fmla="*/ 29 w 31"/>
                  <a:gd name="T81" fmla="*/ 38 h 73"/>
                  <a:gd name="T82" fmla="*/ 29 w 31"/>
                  <a:gd name="T83" fmla="*/ 25 h 73"/>
                  <a:gd name="T84" fmla="*/ 29 w 31"/>
                  <a:gd name="T85" fmla="*/ 11 h 73"/>
                  <a:gd name="T86" fmla="*/ 22 w 31"/>
                  <a:gd name="T87" fmla="*/ 7 h 73"/>
                  <a:gd name="T88" fmla="*/ 16 w 31"/>
                  <a:gd name="T89" fmla="*/ 5 h 73"/>
                  <a:gd name="T90" fmla="*/ 11 w 31"/>
                  <a:gd name="T91" fmla="*/ 3 h 73"/>
                  <a:gd name="T92" fmla="*/ 5 w 31"/>
                  <a:gd name="T93" fmla="*/ 1 h 73"/>
                  <a:gd name="T94" fmla="*/ 3 w 31"/>
                  <a:gd name="T95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1" h="73">
                    <a:moveTo>
                      <a:pt x="22" y="72"/>
                    </a:moveTo>
                    <a:lnTo>
                      <a:pt x="18" y="61"/>
                    </a:lnTo>
                    <a:lnTo>
                      <a:pt x="14" y="51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9" y="42"/>
                    </a:lnTo>
                    <a:lnTo>
                      <a:pt x="9" y="42"/>
                    </a:lnTo>
                    <a:lnTo>
                      <a:pt x="5" y="38"/>
                    </a:lnTo>
                    <a:lnTo>
                      <a:pt x="2" y="35"/>
                    </a:lnTo>
                    <a:lnTo>
                      <a:pt x="3" y="27"/>
                    </a:lnTo>
                    <a:lnTo>
                      <a:pt x="3" y="18"/>
                    </a:lnTo>
                    <a:lnTo>
                      <a:pt x="5" y="11"/>
                    </a:lnTo>
                    <a:lnTo>
                      <a:pt x="5" y="1"/>
                    </a:lnTo>
                    <a:lnTo>
                      <a:pt x="11" y="5"/>
                    </a:lnTo>
                    <a:lnTo>
                      <a:pt x="16" y="7"/>
                    </a:lnTo>
                    <a:lnTo>
                      <a:pt x="22" y="9"/>
                    </a:lnTo>
                    <a:lnTo>
                      <a:pt x="27" y="11"/>
                    </a:lnTo>
                    <a:lnTo>
                      <a:pt x="27" y="25"/>
                    </a:lnTo>
                    <a:lnTo>
                      <a:pt x="29" y="38"/>
                    </a:lnTo>
                    <a:lnTo>
                      <a:pt x="29" y="53"/>
                    </a:lnTo>
                    <a:lnTo>
                      <a:pt x="29" y="68"/>
                    </a:lnTo>
                    <a:lnTo>
                      <a:pt x="26" y="70"/>
                    </a:lnTo>
                    <a:lnTo>
                      <a:pt x="22" y="72"/>
                    </a:lnTo>
                    <a:close/>
                    <a:moveTo>
                      <a:pt x="3" y="0"/>
                    </a:moveTo>
                    <a:lnTo>
                      <a:pt x="3" y="9"/>
                    </a:lnTo>
                    <a:lnTo>
                      <a:pt x="2" y="18"/>
                    </a:lnTo>
                    <a:lnTo>
                      <a:pt x="2" y="27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1" y="48"/>
                    </a:lnTo>
                    <a:lnTo>
                      <a:pt x="14" y="51"/>
                    </a:lnTo>
                    <a:lnTo>
                      <a:pt x="18" y="61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7" y="72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31" y="53"/>
                    </a:lnTo>
                    <a:lnTo>
                      <a:pt x="29" y="38"/>
                    </a:lnTo>
                    <a:lnTo>
                      <a:pt x="29" y="25"/>
                    </a:lnTo>
                    <a:lnTo>
                      <a:pt x="29" y="11"/>
                    </a:lnTo>
                    <a:lnTo>
                      <a:pt x="22" y="7"/>
                    </a:lnTo>
                    <a:lnTo>
                      <a:pt x="16" y="5"/>
                    </a:lnTo>
                    <a:lnTo>
                      <a:pt x="11" y="3"/>
                    </a:lnTo>
                    <a:lnTo>
                      <a:pt x="5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9" name="Freeform 3360"/>
              <p:cNvSpPr>
                <a:spLocks/>
              </p:cNvSpPr>
              <p:nvPr/>
            </p:nvSpPr>
            <p:spPr bwMode="auto">
              <a:xfrm>
                <a:off x="8319620" y="2523096"/>
                <a:ext cx="39932" cy="107367"/>
              </a:xfrm>
              <a:custGeom>
                <a:avLst/>
                <a:gdLst>
                  <a:gd name="T0" fmla="*/ 20 w 27"/>
                  <a:gd name="T1" fmla="*/ 71 h 71"/>
                  <a:gd name="T2" fmla="*/ 16 w 27"/>
                  <a:gd name="T3" fmla="*/ 60 h 71"/>
                  <a:gd name="T4" fmla="*/ 12 w 27"/>
                  <a:gd name="T5" fmla="*/ 50 h 71"/>
                  <a:gd name="T6" fmla="*/ 11 w 27"/>
                  <a:gd name="T7" fmla="*/ 47 h 71"/>
                  <a:gd name="T8" fmla="*/ 11 w 27"/>
                  <a:gd name="T9" fmla="*/ 47 h 71"/>
                  <a:gd name="T10" fmla="*/ 7 w 27"/>
                  <a:gd name="T11" fmla="*/ 41 h 71"/>
                  <a:gd name="T12" fmla="*/ 7 w 27"/>
                  <a:gd name="T13" fmla="*/ 41 h 71"/>
                  <a:gd name="T14" fmla="*/ 3 w 27"/>
                  <a:gd name="T15" fmla="*/ 37 h 71"/>
                  <a:gd name="T16" fmla="*/ 0 w 27"/>
                  <a:gd name="T17" fmla="*/ 34 h 71"/>
                  <a:gd name="T18" fmla="*/ 1 w 27"/>
                  <a:gd name="T19" fmla="*/ 26 h 71"/>
                  <a:gd name="T20" fmla="*/ 1 w 27"/>
                  <a:gd name="T21" fmla="*/ 17 h 71"/>
                  <a:gd name="T22" fmla="*/ 3 w 27"/>
                  <a:gd name="T23" fmla="*/ 10 h 71"/>
                  <a:gd name="T24" fmla="*/ 3 w 27"/>
                  <a:gd name="T25" fmla="*/ 0 h 71"/>
                  <a:gd name="T26" fmla="*/ 9 w 27"/>
                  <a:gd name="T27" fmla="*/ 4 h 71"/>
                  <a:gd name="T28" fmla="*/ 14 w 27"/>
                  <a:gd name="T29" fmla="*/ 6 h 71"/>
                  <a:gd name="T30" fmla="*/ 20 w 27"/>
                  <a:gd name="T31" fmla="*/ 8 h 71"/>
                  <a:gd name="T32" fmla="*/ 25 w 27"/>
                  <a:gd name="T33" fmla="*/ 10 h 71"/>
                  <a:gd name="T34" fmla="*/ 25 w 27"/>
                  <a:gd name="T35" fmla="*/ 24 h 71"/>
                  <a:gd name="T36" fmla="*/ 27 w 27"/>
                  <a:gd name="T37" fmla="*/ 37 h 71"/>
                  <a:gd name="T38" fmla="*/ 27 w 27"/>
                  <a:gd name="T39" fmla="*/ 52 h 71"/>
                  <a:gd name="T40" fmla="*/ 27 w 27"/>
                  <a:gd name="T41" fmla="*/ 67 h 71"/>
                  <a:gd name="T42" fmla="*/ 24 w 27"/>
                  <a:gd name="T43" fmla="*/ 69 h 71"/>
                  <a:gd name="T44" fmla="*/ 20 w 27"/>
                  <a:gd name="T4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71">
                    <a:moveTo>
                      <a:pt x="20" y="71"/>
                    </a:moveTo>
                    <a:lnTo>
                      <a:pt x="16" y="60"/>
                    </a:lnTo>
                    <a:lnTo>
                      <a:pt x="12" y="50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3" y="37"/>
                    </a:lnTo>
                    <a:lnTo>
                      <a:pt x="0" y="34"/>
                    </a:lnTo>
                    <a:lnTo>
                      <a:pt x="1" y="26"/>
                    </a:lnTo>
                    <a:lnTo>
                      <a:pt x="1" y="17"/>
                    </a:lnTo>
                    <a:lnTo>
                      <a:pt x="3" y="10"/>
                    </a:lnTo>
                    <a:lnTo>
                      <a:pt x="3" y="0"/>
                    </a:lnTo>
                    <a:lnTo>
                      <a:pt x="9" y="4"/>
                    </a:lnTo>
                    <a:lnTo>
                      <a:pt x="14" y="6"/>
                    </a:lnTo>
                    <a:lnTo>
                      <a:pt x="20" y="8"/>
                    </a:lnTo>
                    <a:lnTo>
                      <a:pt x="25" y="10"/>
                    </a:lnTo>
                    <a:lnTo>
                      <a:pt x="25" y="24"/>
                    </a:lnTo>
                    <a:lnTo>
                      <a:pt x="27" y="37"/>
                    </a:lnTo>
                    <a:lnTo>
                      <a:pt x="27" y="52"/>
                    </a:lnTo>
                    <a:lnTo>
                      <a:pt x="27" y="67"/>
                    </a:lnTo>
                    <a:lnTo>
                      <a:pt x="24" y="69"/>
                    </a:lnTo>
                    <a:lnTo>
                      <a:pt x="20" y="71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0" name="Freeform 3361"/>
              <p:cNvSpPr>
                <a:spLocks/>
              </p:cNvSpPr>
              <p:nvPr/>
            </p:nvSpPr>
            <p:spPr bwMode="auto">
              <a:xfrm>
                <a:off x="8316662" y="2521584"/>
                <a:ext cx="45848" cy="110392"/>
              </a:xfrm>
              <a:custGeom>
                <a:avLst/>
                <a:gdLst>
                  <a:gd name="T0" fmla="*/ 3 w 31"/>
                  <a:gd name="T1" fmla="*/ 0 h 73"/>
                  <a:gd name="T2" fmla="*/ 3 w 31"/>
                  <a:gd name="T3" fmla="*/ 9 h 73"/>
                  <a:gd name="T4" fmla="*/ 2 w 31"/>
                  <a:gd name="T5" fmla="*/ 18 h 73"/>
                  <a:gd name="T6" fmla="*/ 2 w 31"/>
                  <a:gd name="T7" fmla="*/ 27 h 73"/>
                  <a:gd name="T8" fmla="*/ 0 w 31"/>
                  <a:gd name="T9" fmla="*/ 35 h 73"/>
                  <a:gd name="T10" fmla="*/ 0 w 31"/>
                  <a:gd name="T11" fmla="*/ 37 h 73"/>
                  <a:gd name="T12" fmla="*/ 5 w 31"/>
                  <a:gd name="T13" fmla="*/ 40 h 73"/>
                  <a:gd name="T14" fmla="*/ 9 w 31"/>
                  <a:gd name="T15" fmla="*/ 44 h 73"/>
                  <a:gd name="T16" fmla="*/ 11 w 31"/>
                  <a:gd name="T17" fmla="*/ 48 h 73"/>
                  <a:gd name="T18" fmla="*/ 14 w 31"/>
                  <a:gd name="T19" fmla="*/ 51 h 73"/>
                  <a:gd name="T20" fmla="*/ 18 w 31"/>
                  <a:gd name="T21" fmla="*/ 61 h 73"/>
                  <a:gd name="T22" fmla="*/ 22 w 31"/>
                  <a:gd name="T23" fmla="*/ 73 h 73"/>
                  <a:gd name="T24" fmla="*/ 22 w 31"/>
                  <a:gd name="T25" fmla="*/ 73 h 73"/>
                  <a:gd name="T26" fmla="*/ 27 w 31"/>
                  <a:gd name="T27" fmla="*/ 72 h 73"/>
                  <a:gd name="T28" fmla="*/ 31 w 31"/>
                  <a:gd name="T29" fmla="*/ 68 h 73"/>
                  <a:gd name="T30" fmla="*/ 31 w 31"/>
                  <a:gd name="T31" fmla="*/ 68 h 73"/>
                  <a:gd name="T32" fmla="*/ 31 w 31"/>
                  <a:gd name="T33" fmla="*/ 53 h 73"/>
                  <a:gd name="T34" fmla="*/ 29 w 31"/>
                  <a:gd name="T35" fmla="*/ 38 h 73"/>
                  <a:gd name="T36" fmla="*/ 29 w 31"/>
                  <a:gd name="T37" fmla="*/ 25 h 73"/>
                  <a:gd name="T38" fmla="*/ 29 w 31"/>
                  <a:gd name="T39" fmla="*/ 11 h 73"/>
                  <a:gd name="T40" fmla="*/ 22 w 31"/>
                  <a:gd name="T41" fmla="*/ 7 h 73"/>
                  <a:gd name="T42" fmla="*/ 16 w 31"/>
                  <a:gd name="T43" fmla="*/ 5 h 73"/>
                  <a:gd name="T44" fmla="*/ 11 w 31"/>
                  <a:gd name="T45" fmla="*/ 3 h 73"/>
                  <a:gd name="T46" fmla="*/ 5 w 31"/>
                  <a:gd name="T47" fmla="*/ 1 h 73"/>
                  <a:gd name="T48" fmla="*/ 3 w 31"/>
                  <a:gd name="T4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1" h="73">
                    <a:moveTo>
                      <a:pt x="3" y="0"/>
                    </a:moveTo>
                    <a:lnTo>
                      <a:pt x="3" y="9"/>
                    </a:lnTo>
                    <a:lnTo>
                      <a:pt x="2" y="18"/>
                    </a:lnTo>
                    <a:lnTo>
                      <a:pt x="2" y="27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1" y="48"/>
                    </a:lnTo>
                    <a:lnTo>
                      <a:pt x="14" y="51"/>
                    </a:lnTo>
                    <a:lnTo>
                      <a:pt x="18" y="61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7" y="72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31" y="53"/>
                    </a:lnTo>
                    <a:lnTo>
                      <a:pt x="29" y="38"/>
                    </a:lnTo>
                    <a:lnTo>
                      <a:pt x="29" y="25"/>
                    </a:lnTo>
                    <a:lnTo>
                      <a:pt x="29" y="11"/>
                    </a:lnTo>
                    <a:lnTo>
                      <a:pt x="22" y="7"/>
                    </a:lnTo>
                    <a:lnTo>
                      <a:pt x="16" y="5"/>
                    </a:lnTo>
                    <a:lnTo>
                      <a:pt x="11" y="3"/>
                    </a:lnTo>
                    <a:lnTo>
                      <a:pt x="5" y="1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1" name="Freeform 3362"/>
              <p:cNvSpPr>
                <a:spLocks/>
              </p:cNvSpPr>
              <p:nvPr/>
            </p:nvSpPr>
            <p:spPr bwMode="auto">
              <a:xfrm>
                <a:off x="7736905" y="1856209"/>
                <a:ext cx="702512" cy="1368555"/>
              </a:xfrm>
              <a:custGeom>
                <a:avLst/>
                <a:gdLst>
                  <a:gd name="T0" fmla="*/ 191 w 475"/>
                  <a:gd name="T1" fmla="*/ 397 h 905"/>
                  <a:gd name="T2" fmla="*/ 163 w 475"/>
                  <a:gd name="T3" fmla="*/ 377 h 905"/>
                  <a:gd name="T4" fmla="*/ 139 w 475"/>
                  <a:gd name="T5" fmla="*/ 351 h 905"/>
                  <a:gd name="T6" fmla="*/ 98 w 475"/>
                  <a:gd name="T7" fmla="*/ 331 h 905"/>
                  <a:gd name="T8" fmla="*/ 83 w 475"/>
                  <a:gd name="T9" fmla="*/ 303 h 905"/>
                  <a:gd name="T10" fmla="*/ 52 w 475"/>
                  <a:gd name="T11" fmla="*/ 281 h 905"/>
                  <a:gd name="T12" fmla="*/ 32 w 475"/>
                  <a:gd name="T13" fmla="*/ 244 h 905"/>
                  <a:gd name="T14" fmla="*/ 4 w 475"/>
                  <a:gd name="T15" fmla="*/ 231 h 905"/>
                  <a:gd name="T16" fmla="*/ 11 w 475"/>
                  <a:gd name="T17" fmla="*/ 196 h 905"/>
                  <a:gd name="T18" fmla="*/ 45 w 475"/>
                  <a:gd name="T19" fmla="*/ 170 h 905"/>
                  <a:gd name="T20" fmla="*/ 76 w 475"/>
                  <a:gd name="T21" fmla="*/ 154 h 905"/>
                  <a:gd name="T22" fmla="*/ 91 w 475"/>
                  <a:gd name="T23" fmla="*/ 131 h 905"/>
                  <a:gd name="T24" fmla="*/ 141 w 475"/>
                  <a:gd name="T25" fmla="*/ 104 h 905"/>
                  <a:gd name="T26" fmla="*/ 189 w 475"/>
                  <a:gd name="T27" fmla="*/ 93 h 905"/>
                  <a:gd name="T28" fmla="*/ 233 w 475"/>
                  <a:gd name="T29" fmla="*/ 150 h 905"/>
                  <a:gd name="T30" fmla="*/ 318 w 475"/>
                  <a:gd name="T31" fmla="*/ 113 h 905"/>
                  <a:gd name="T32" fmla="*/ 333 w 475"/>
                  <a:gd name="T33" fmla="*/ 69 h 905"/>
                  <a:gd name="T34" fmla="*/ 368 w 475"/>
                  <a:gd name="T35" fmla="*/ 6 h 905"/>
                  <a:gd name="T36" fmla="*/ 414 w 475"/>
                  <a:gd name="T37" fmla="*/ 28 h 905"/>
                  <a:gd name="T38" fmla="*/ 419 w 475"/>
                  <a:gd name="T39" fmla="*/ 58 h 905"/>
                  <a:gd name="T40" fmla="*/ 423 w 475"/>
                  <a:gd name="T41" fmla="*/ 87 h 905"/>
                  <a:gd name="T42" fmla="*/ 443 w 475"/>
                  <a:gd name="T43" fmla="*/ 137 h 905"/>
                  <a:gd name="T44" fmla="*/ 440 w 475"/>
                  <a:gd name="T45" fmla="*/ 189 h 905"/>
                  <a:gd name="T46" fmla="*/ 460 w 475"/>
                  <a:gd name="T47" fmla="*/ 207 h 905"/>
                  <a:gd name="T48" fmla="*/ 449 w 475"/>
                  <a:gd name="T49" fmla="*/ 222 h 905"/>
                  <a:gd name="T50" fmla="*/ 405 w 475"/>
                  <a:gd name="T51" fmla="*/ 229 h 905"/>
                  <a:gd name="T52" fmla="*/ 379 w 475"/>
                  <a:gd name="T53" fmla="*/ 307 h 905"/>
                  <a:gd name="T54" fmla="*/ 386 w 475"/>
                  <a:gd name="T55" fmla="*/ 357 h 905"/>
                  <a:gd name="T56" fmla="*/ 358 w 475"/>
                  <a:gd name="T57" fmla="*/ 336 h 905"/>
                  <a:gd name="T58" fmla="*/ 357 w 475"/>
                  <a:gd name="T59" fmla="*/ 340 h 905"/>
                  <a:gd name="T60" fmla="*/ 357 w 475"/>
                  <a:gd name="T61" fmla="*/ 384 h 905"/>
                  <a:gd name="T62" fmla="*/ 340 w 475"/>
                  <a:gd name="T63" fmla="*/ 419 h 905"/>
                  <a:gd name="T64" fmla="*/ 336 w 475"/>
                  <a:gd name="T65" fmla="*/ 454 h 905"/>
                  <a:gd name="T66" fmla="*/ 360 w 475"/>
                  <a:gd name="T67" fmla="*/ 486 h 905"/>
                  <a:gd name="T68" fmla="*/ 368 w 475"/>
                  <a:gd name="T69" fmla="*/ 497 h 905"/>
                  <a:gd name="T70" fmla="*/ 390 w 475"/>
                  <a:gd name="T71" fmla="*/ 541 h 905"/>
                  <a:gd name="T72" fmla="*/ 434 w 475"/>
                  <a:gd name="T73" fmla="*/ 584 h 905"/>
                  <a:gd name="T74" fmla="*/ 447 w 475"/>
                  <a:gd name="T75" fmla="*/ 567 h 905"/>
                  <a:gd name="T76" fmla="*/ 473 w 475"/>
                  <a:gd name="T77" fmla="*/ 576 h 905"/>
                  <a:gd name="T78" fmla="*/ 453 w 475"/>
                  <a:gd name="T79" fmla="*/ 620 h 905"/>
                  <a:gd name="T80" fmla="*/ 416 w 475"/>
                  <a:gd name="T81" fmla="*/ 691 h 905"/>
                  <a:gd name="T82" fmla="*/ 423 w 475"/>
                  <a:gd name="T83" fmla="*/ 761 h 905"/>
                  <a:gd name="T84" fmla="*/ 375 w 475"/>
                  <a:gd name="T85" fmla="*/ 788 h 905"/>
                  <a:gd name="T86" fmla="*/ 403 w 475"/>
                  <a:gd name="T87" fmla="*/ 809 h 905"/>
                  <a:gd name="T88" fmla="*/ 440 w 475"/>
                  <a:gd name="T89" fmla="*/ 840 h 905"/>
                  <a:gd name="T90" fmla="*/ 386 w 475"/>
                  <a:gd name="T91" fmla="*/ 899 h 905"/>
                  <a:gd name="T92" fmla="*/ 344 w 475"/>
                  <a:gd name="T93" fmla="*/ 873 h 905"/>
                  <a:gd name="T94" fmla="*/ 331 w 475"/>
                  <a:gd name="T95" fmla="*/ 807 h 905"/>
                  <a:gd name="T96" fmla="*/ 296 w 475"/>
                  <a:gd name="T97" fmla="*/ 772 h 905"/>
                  <a:gd name="T98" fmla="*/ 307 w 475"/>
                  <a:gd name="T99" fmla="*/ 744 h 905"/>
                  <a:gd name="T100" fmla="*/ 312 w 475"/>
                  <a:gd name="T101" fmla="*/ 715 h 905"/>
                  <a:gd name="T102" fmla="*/ 314 w 475"/>
                  <a:gd name="T103" fmla="*/ 665 h 905"/>
                  <a:gd name="T104" fmla="*/ 281 w 475"/>
                  <a:gd name="T105" fmla="*/ 537 h 905"/>
                  <a:gd name="T106" fmla="*/ 270 w 475"/>
                  <a:gd name="T107" fmla="*/ 410 h 905"/>
                  <a:gd name="T108" fmla="*/ 250 w 475"/>
                  <a:gd name="T109" fmla="*/ 370 h 905"/>
                  <a:gd name="T110" fmla="*/ 218 w 475"/>
                  <a:gd name="T111" fmla="*/ 342 h 905"/>
                  <a:gd name="T112" fmla="*/ 187 w 475"/>
                  <a:gd name="T113" fmla="*/ 301 h 905"/>
                  <a:gd name="T114" fmla="*/ 176 w 475"/>
                  <a:gd name="T115" fmla="*/ 286 h 905"/>
                  <a:gd name="T116" fmla="*/ 170 w 475"/>
                  <a:gd name="T117" fmla="*/ 346 h 905"/>
                  <a:gd name="T118" fmla="*/ 194 w 475"/>
                  <a:gd name="T119" fmla="*/ 368 h 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5" h="905">
                    <a:moveTo>
                      <a:pt x="202" y="388"/>
                    </a:moveTo>
                    <a:lnTo>
                      <a:pt x="202" y="386"/>
                    </a:lnTo>
                    <a:lnTo>
                      <a:pt x="200" y="386"/>
                    </a:lnTo>
                    <a:lnTo>
                      <a:pt x="198" y="386"/>
                    </a:lnTo>
                    <a:lnTo>
                      <a:pt x="196" y="388"/>
                    </a:lnTo>
                    <a:lnTo>
                      <a:pt x="198" y="390"/>
                    </a:lnTo>
                    <a:lnTo>
                      <a:pt x="200" y="390"/>
                    </a:lnTo>
                    <a:lnTo>
                      <a:pt x="196" y="395"/>
                    </a:lnTo>
                    <a:lnTo>
                      <a:pt x="194" y="399"/>
                    </a:lnTo>
                    <a:lnTo>
                      <a:pt x="191" y="397"/>
                    </a:lnTo>
                    <a:lnTo>
                      <a:pt x="189" y="397"/>
                    </a:lnTo>
                    <a:lnTo>
                      <a:pt x="189" y="397"/>
                    </a:lnTo>
                    <a:lnTo>
                      <a:pt x="189" y="399"/>
                    </a:lnTo>
                    <a:lnTo>
                      <a:pt x="183" y="395"/>
                    </a:lnTo>
                    <a:lnTo>
                      <a:pt x="179" y="394"/>
                    </a:lnTo>
                    <a:lnTo>
                      <a:pt x="174" y="390"/>
                    </a:lnTo>
                    <a:lnTo>
                      <a:pt x="168" y="388"/>
                    </a:lnTo>
                    <a:lnTo>
                      <a:pt x="168" y="382"/>
                    </a:lnTo>
                    <a:lnTo>
                      <a:pt x="168" y="377"/>
                    </a:lnTo>
                    <a:lnTo>
                      <a:pt x="163" y="377"/>
                    </a:lnTo>
                    <a:lnTo>
                      <a:pt x="157" y="377"/>
                    </a:lnTo>
                    <a:lnTo>
                      <a:pt x="157" y="375"/>
                    </a:lnTo>
                    <a:lnTo>
                      <a:pt x="155" y="375"/>
                    </a:lnTo>
                    <a:lnTo>
                      <a:pt x="155" y="370"/>
                    </a:lnTo>
                    <a:lnTo>
                      <a:pt x="155" y="366"/>
                    </a:lnTo>
                    <a:lnTo>
                      <a:pt x="155" y="360"/>
                    </a:lnTo>
                    <a:lnTo>
                      <a:pt x="155" y="355"/>
                    </a:lnTo>
                    <a:lnTo>
                      <a:pt x="150" y="355"/>
                    </a:lnTo>
                    <a:lnTo>
                      <a:pt x="144" y="353"/>
                    </a:lnTo>
                    <a:lnTo>
                      <a:pt x="139" y="351"/>
                    </a:lnTo>
                    <a:lnTo>
                      <a:pt x="133" y="349"/>
                    </a:lnTo>
                    <a:lnTo>
                      <a:pt x="133" y="346"/>
                    </a:lnTo>
                    <a:lnTo>
                      <a:pt x="133" y="338"/>
                    </a:lnTo>
                    <a:lnTo>
                      <a:pt x="124" y="338"/>
                    </a:lnTo>
                    <a:lnTo>
                      <a:pt x="117" y="340"/>
                    </a:lnTo>
                    <a:lnTo>
                      <a:pt x="107" y="340"/>
                    </a:lnTo>
                    <a:lnTo>
                      <a:pt x="98" y="340"/>
                    </a:lnTo>
                    <a:lnTo>
                      <a:pt x="96" y="336"/>
                    </a:lnTo>
                    <a:lnTo>
                      <a:pt x="95" y="334"/>
                    </a:lnTo>
                    <a:lnTo>
                      <a:pt x="98" y="331"/>
                    </a:lnTo>
                    <a:lnTo>
                      <a:pt x="100" y="327"/>
                    </a:lnTo>
                    <a:lnTo>
                      <a:pt x="100" y="323"/>
                    </a:lnTo>
                    <a:lnTo>
                      <a:pt x="100" y="318"/>
                    </a:lnTo>
                    <a:lnTo>
                      <a:pt x="100" y="312"/>
                    </a:lnTo>
                    <a:lnTo>
                      <a:pt x="100" y="307"/>
                    </a:lnTo>
                    <a:lnTo>
                      <a:pt x="96" y="307"/>
                    </a:lnTo>
                    <a:lnTo>
                      <a:pt x="93" y="307"/>
                    </a:lnTo>
                    <a:lnTo>
                      <a:pt x="87" y="307"/>
                    </a:lnTo>
                    <a:lnTo>
                      <a:pt x="83" y="307"/>
                    </a:lnTo>
                    <a:lnTo>
                      <a:pt x="83" y="303"/>
                    </a:lnTo>
                    <a:lnTo>
                      <a:pt x="83" y="299"/>
                    </a:lnTo>
                    <a:lnTo>
                      <a:pt x="83" y="294"/>
                    </a:lnTo>
                    <a:lnTo>
                      <a:pt x="83" y="290"/>
                    </a:lnTo>
                    <a:lnTo>
                      <a:pt x="76" y="290"/>
                    </a:lnTo>
                    <a:lnTo>
                      <a:pt x="71" y="290"/>
                    </a:lnTo>
                    <a:lnTo>
                      <a:pt x="63" y="290"/>
                    </a:lnTo>
                    <a:lnTo>
                      <a:pt x="56" y="290"/>
                    </a:lnTo>
                    <a:lnTo>
                      <a:pt x="54" y="288"/>
                    </a:lnTo>
                    <a:lnTo>
                      <a:pt x="54" y="285"/>
                    </a:lnTo>
                    <a:lnTo>
                      <a:pt x="52" y="281"/>
                    </a:lnTo>
                    <a:lnTo>
                      <a:pt x="52" y="277"/>
                    </a:lnTo>
                    <a:lnTo>
                      <a:pt x="48" y="277"/>
                    </a:lnTo>
                    <a:lnTo>
                      <a:pt x="45" y="275"/>
                    </a:lnTo>
                    <a:lnTo>
                      <a:pt x="43" y="275"/>
                    </a:lnTo>
                    <a:lnTo>
                      <a:pt x="39" y="274"/>
                    </a:lnTo>
                    <a:lnTo>
                      <a:pt x="39" y="266"/>
                    </a:lnTo>
                    <a:lnTo>
                      <a:pt x="37" y="259"/>
                    </a:lnTo>
                    <a:lnTo>
                      <a:pt x="35" y="251"/>
                    </a:lnTo>
                    <a:lnTo>
                      <a:pt x="35" y="246"/>
                    </a:lnTo>
                    <a:lnTo>
                      <a:pt x="32" y="244"/>
                    </a:lnTo>
                    <a:lnTo>
                      <a:pt x="26" y="244"/>
                    </a:lnTo>
                    <a:lnTo>
                      <a:pt x="23" y="242"/>
                    </a:lnTo>
                    <a:lnTo>
                      <a:pt x="19" y="242"/>
                    </a:lnTo>
                    <a:lnTo>
                      <a:pt x="17" y="238"/>
                    </a:lnTo>
                    <a:lnTo>
                      <a:pt x="15" y="235"/>
                    </a:lnTo>
                    <a:lnTo>
                      <a:pt x="13" y="231"/>
                    </a:lnTo>
                    <a:lnTo>
                      <a:pt x="11" y="227"/>
                    </a:lnTo>
                    <a:lnTo>
                      <a:pt x="10" y="229"/>
                    </a:lnTo>
                    <a:lnTo>
                      <a:pt x="6" y="231"/>
                    </a:lnTo>
                    <a:lnTo>
                      <a:pt x="4" y="231"/>
                    </a:lnTo>
                    <a:lnTo>
                      <a:pt x="0" y="231"/>
                    </a:lnTo>
                    <a:lnTo>
                      <a:pt x="0" y="226"/>
                    </a:lnTo>
                    <a:lnTo>
                      <a:pt x="0" y="220"/>
                    </a:lnTo>
                    <a:lnTo>
                      <a:pt x="0" y="214"/>
                    </a:lnTo>
                    <a:lnTo>
                      <a:pt x="0" y="209"/>
                    </a:lnTo>
                    <a:lnTo>
                      <a:pt x="6" y="209"/>
                    </a:lnTo>
                    <a:lnTo>
                      <a:pt x="11" y="209"/>
                    </a:lnTo>
                    <a:lnTo>
                      <a:pt x="11" y="205"/>
                    </a:lnTo>
                    <a:lnTo>
                      <a:pt x="11" y="200"/>
                    </a:lnTo>
                    <a:lnTo>
                      <a:pt x="11" y="196"/>
                    </a:lnTo>
                    <a:lnTo>
                      <a:pt x="11" y="192"/>
                    </a:lnTo>
                    <a:lnTo>
                      <a:pt x="19" y="191"/>
                    </a:lnTo>
                    <a:lnTo>
                      <a:pt x="28" y="187"/>
                    </a:lnTo>
                    <a:lnTo>
                      <a:pt x="35" y="185"/>
                    </a:lnTo>
                    <a:lnTo>
                      <a:pt x="43" y="183"/>
                    </a:lnTo>
                    <a:lnTo>
                      <a:pt x="43" y="179"/>
                    </a:lnTo>
                    <a:lnTo>
                      <a:pt x="41" y="176"/>
                    </a:lnTo>
                    <a:lnTo>
                      <a:pt x="39" y="174"/>
                    </a:lnTo>
                    <a:lnTo>
                      <a:pt x="39" y="170"/>
                    </a:lnTo>
                    <a:lnTo>
                      <a:pt x="45" y="170"/>
                    </a:lnTo>
                    <a:lnTo>
                      <a:pt x="50" y="170"/>
                    </a:lnTo>
                    <a:lnTo>
                      <a:pt x="50" y="165"/>
                    </a:lnTo>
                    <a:lnTo>
                      <a:pt x="50" y="159"/>
                    </a:lnTo>
                    <a:lnTo>
                      <a:pt x="56" y="161"/>
                    </a:lnTo>
                    <a:lnTo>
                      <a:pt x="61" y="163"/>
                    </a:lnTo>
                    <a:lnTo>
                      <a:pt x="67" y="163"/>
                    </a:lnTo>
                    <a:lnTo>
                      <a:pt x="72" y="165"/>
                    </a:lnTo>
                    <a:lnTo>
                      <a:pt x="72" y="159"/>
                    </a:lnTo>
                    <a:lnTo>
                      <a:pt x="72" y="154"/>
                    </a:lnTo>
                    <a:lnTo>
                      <a:pt x="76" y="154"/>
                    </a:lnTo>
                    <a:lnTo>
                      <a:pt x="78" y="152"/>
                    </a:lnTo>
                    <a:lnTo>
                      <a:pt x="82" y="152"/>
                    </a:lnTo>
                    <a:lnTo>
                      <a:pt x="83" y="150"/>
                    </a:lnTo>
                    <a:lnTo>
                      <a:pt x="85" y="148"/>
                    </a:lnTo>
                    <a:lnTo>
                      <a:pt x="85" y="146"/>
                    </a:lnTo>
                    <a:lnTo>
                      <a:pt x="87" y="146"/>
                    </a:lnTo>
                    <a:lnTo>
                      <a:pt x="87" y="144"/>
                    </a:lnTo>
                    <a:lnTo>
                      <a:pt x="89" y="141"/>
                    </a:lnTo>
                    <a:lnTo>
                      <a:pt x="91" y="135"/>
                    </a:lnTo>
                    <a:lnTo>
                      <a:pt x="91" y="131"/>
                    </a:lnTo>
                    <a:lnTo>
                      <a:pt x="93" y="126"/>
                    </a:lnTo>
                    <a:lnTo>
                      <a:pt x="102" y="124"/>
                    </a:lnTo>
                    <a:lnTo>
                      <a:pt x="113" y="122"/>
                    </a:lnTo>
                    <a:lnTo>
                      <a:pt x="122" y="122"/>
                    </a:lnTo>
                    <a:lnTo>
                      <a:pt x="131" y="120"/>
                    </a:lnTo>
                    <a:lnTo>
                      <a:pt x="131" y="117"/>
                    </a:lnTo>
                    <a:lnTo>
                      <a:pt x="131" y="113"/>
                    </a:lnTo>
                    <a:lnTo>
                      <a:pt x="131" y="109"/>
                    </a:lnTo>
                    <a:lnTo>
                      <a:pt x="131" y="104"/>
                    </a:lnTo>
                    <a:lnTo>
                      <a:pt x="141" y="104"/>
                    </a:lnTo>
                    <a:lnTo>
                      <a:pt x="146" y="104"/>
                    </a:lnTo>
                    <a:lnTo>
                      <a:pt x="154" y="104"/>
                    </a:lnTo>
                    <a:lnTo>
                      <a:pt x="161" y="102"/>
                    </a:lnTo>
                    <a:lnTo>
                      <a:pt x="167" y="100"/>
                    </a:lnTo>
                    <a:lnTo>
                      <a:pt x="172" y="98"/>
                    </a:lnTo>
                    <a:lnTo>
                      <a:pt x="176" y="96"/>
                    </a:lnTo>
                    <a:lnTo>
                      <a:pt x="178" y="95"/>
                    </a:lnTo>
                    <a:lnTo>
                      <a:pt x="181" y="93"/>
                    </a:lnTo>
                    <a:lnTo>
                      <a:pt x="183" y="91"/>
                    </a:lnTo>
                    <a:lnTo>
                      <a:pt x="189" y="93"/>
                    </a:lnTo>
                    <a:lnTo>
                      <a:pt x="191" y="95"/>
                    </a:lnTo>
                    <a:lnTo>
                      <a:pt x="194" y="96"/>
                    </a:lnTo>
                    <a:lnTo>
                      <a:pt x="200" y="96"/>
                    </a:lnTo>
                    <a:lnTo>
                      <a:pt x="203" y="111"/>
                    </a:lnTo>
                    <a:lnTo>
                      <a:pt x="207" y="126"/>
                    </a:lnTo>
                    <a:lnTo>
                      <a:pt x="211" y="139"/>
                    </a:lnTo>
                    <a:lnTo>
                      <a:pt x="215" y="154"/>
                    </a:lnTo>
                    <a:lnTo>
                      <a:pt x="222" y="152"/>
                    </a:lnTo>
                    <a:lnTo>
                      <a:pt x="227" y="150"/>
                    </a:lnTo>
                    <a:lnTo>
                      <a:pt x="233" y="150"/>
                    </a:lnTo>
                    <a:lnTo>
                      <a:pt x="240" y="148"/>
                    </a:lnTo>
                    <a:lnTo>
                      <a:pt x="251" y="143"/>
                    </a:lnTo>
                    <a:lnTo>
                      <a:pt x="264" y="139"/>
                    </a:lnTo>
                    <a:lnTo>
                      <a:pt x="275" y="135"/>
                    </a:lnTo>
                    <a:lnTo>
                      <a:pt x="288" y="130"/>
                    </a:lnTo>
                    <a:lnTo>
                      <a:pt x="296" y="130"/>
                    </a:lnTo>
                    <a:lnTo>
                      <a:pt x="301" y="128"/>
                    </a:lnTo>
                    <a:lnTo>
                      <a:pt x="309" y="126"/>
                    </a:lnTo>
                    <a:lnTo>
                      <a:pt x="316" y="126"/>
                    </a:lnTo>
                    <a:lnTo>
                      <a:pt x="318" y="113"/>
                    </a:lnTo>
                    <a:lnTo>
                      <a:pt x="320" y="106"/>
                    </a:lnTo>
                    <a:lnTo>
                      <a:pt x="320" y="102"/>
                    </a:lnTo>
                    <a:lnTo>
                      <a:pt x="320" y="100"/>
                    </a:lnTo>
                    <a:lnTo>
                      <a:pt x="320" y="96"/>
                    </a:lnTo>
                    <a:lnTo>
                      <a:pt x="318" y="93"/>
                    </a:lnTo>
                    <a:lnTo>
                      <a:pt x="323" y="93"/>
                    </a:lnTo>
                    <a:lnTo>
                      <a:pt x="329" y="93"/>
                    </a:lnTo>
                    <a:lnTo>
                      <a:pt x="331" y="83"/>
                    </a:lnTo>
                    <a:lnTo>
                      <a:pt x="331" y="76"/>
                    </a:lnTo>
                    <a:lnTo>
                      <a:pt x="333" y="69"/>
                    </a:lnTo>
                    <a:lnTo>
                      <a:pt x="334" y="61"/>
                    </a:lnTo>
                    <a:lnTo>
                      <a:pt x="336" y="52"/>
                    </a:lnTo>
                    <a:lnTo>
                      <a:pt x="340" y="39"/>
                    </a:lnTo>
                    <a:lnTo>
                      <a:pt x="344" y="24"/>
                    </a:lnTo>
                    <a:lnTo>
                      <a:pt x="349" y="4"/>
                    </a:lnTo>
                    <a:lnTo>
                      <a:pt x="355" y="2"/>
                    </a:lnTo>
                    <a:lnTo>
                      <a:pt x="358" y="2"/>
                    </a:lnTo>
                    <a:lnTo>
                      <a:pt x="362" y="0"/>
                    </a:lnTo>
                    <a:lnTo>
                      <a:pt x="368" y="0"/>
                    </a:lnTo>
                    <a:lnTo>
                      <a:pt x="368" y="6"/>
                    </a:lnTo>
                    <a:lnTo>
                      <a:pt x="368" y="12"/>
                    </a:lnTo>
                    <a:lnTo>
                      <a:pt x="379" y="12"/>
                    </a:lnTo>
                    <a:lnTo>
                      <a:pt x="390" y="12"/>
                    </a:lnTo>
                    <a:lnTo>
                      <a:pt x="401" y="12"/>
                    </a:lnTo>
                    <a:lnTo>
                      <a:pt x="412" y="12"/>
                    </a:lnTo>
                    <a:lnTo>
                      <a:pt x="412" y="13"/>
                    </a:lnTo>
                    <a:lnTo>
                      <a:pt x="412" y="17"/>
                    </a:lnTo>
                    <a:lnTo>
                      <a:pt x="412" y="23"/>
                    </a:lnTo>
                    <a:lnTo>
                      <a:pt x="414" y="26"/>
                    </a:lnTo>
                    <a:lnTo>
                      <a:pt x="414" y="28"/>
                    </a:lnTo>
                    <a:lnTo>
                      <a:pt x="414" y="32"/>
                    </a:lnTo>
                    <a:lnTo>
                      <a:pt x="414" y="34"/>
                    </a:lnTo>
                    <a:lnTo>
                      <a:pt x="412" y="35"/>
                    </a:lnTo>
                    <a:lnTo>
                      <a:pt x="410" y="37"/>
                    </a:lnTo>
                    <a:lnTo>
                      <a:pt x="408" y="41"/>
                    </a:lnTo>
                    <a:lnTo>
                      <a:pt x="412" y="45"/>
                    </a:lnTo>
                    <a:lnTo>
                      <a:pt x="416" y="48"/>
                    </a:lnTo>
                    <a:lnTo>
                      <a:pt x="418" y="52"/>
                    </a:lnTo>
                    <a:lnTo>
                      <a:pt x="419" y="56"/>
                    </a:lnTo>
                    <a:lnTo>
                      <a:pt x="419" y="58"/>
                    </a:lnTo>
                    <a:lnTo>
                      <a:pt x="421" y="61"/>
                    </a:lnTo>
                    <a:lnTo>
                      <a:pt x="421" y="65"/>
                    </a:lnTo>
                    <a:lnTo>
                      <a:pt x="423" y="71"/>
                    </a:lnTo>
                    <a:lnTo>
                      <a:pt x="419" y="72"/>
                    </a:lnTo>
                    <a:lnTo>
                      <a:pt x="414" y="76"/>
                    </a:lnTo>
                    <a:lnTo>
                      <a:pt x="418" y="78"/>
                    </a:lnTo>
                    <a:lnTo>
                      <a:pt x="419" y="82"/>
                    </a:lnTo>
                    <a:lnTo>
                      <a:pt x="421" y="83"/>
                    </a:lnTo>
                    <a:lnTo>
                      <a:pt x="423" y="83"/>
                    </a:lnTo>
                    <a:lnTo>
                      <a:pt x="423" y="87"/>
                    </a:lnTo>
                    <a:lnTo>
                      <a:pt x="423" y="91"/>
                    </a:lnTo>
                    <a:lnTo>
                      <a:pt x="423" y="95"/>
                    </a:lnTo>
                    <a:lnTo>
                      <a:pt x="423" y="98"/>
                    </a:lnTo>
                    <a:lnTo>
                      <a:pt x="427" y="100"/>
                    </a:lnTo>
                    <a:lnTo>
                      <a:pt x="432" y="100"/>
                    </a:lnTo>
                    <a:lnTo>
                      <a:pt x="436" y="102"/>
                    </a:lnTo>
                    <a:lnTo>
                      <a:pt x="440" y="104"/>
                    </a:lnTo>
                    <a:lnTo>
                      <a:pt x="441" y="117"/>
                    </a:lnTo>
                    <a:lnTo>
                      <a:pt x="441" y="128"/>
                    </a:lnTo>
                    <a:lnTo>
                      <a:pt x="443" y="137"/>
                    </a:lnTo>
                    <a:lnTo>
                      <a:pt x="445" y="146"/>
                    </a:lnTo>
                    <a:lnTo>
                      <a:pt x="447" y="154"/>
                    </a:lnTo>
                    <a:lnTo>
                      <a:pt x="447" y="161"/>
                    </a:lnTo>
                    <a:lnTo>
                      <a:pt x="449" y="170"/>
                    </a:lnTo>
                    <a:lnTo>
                      <a:pt x="449" y="181"/>
                    </a:lnTo>
                    <a:lnTo>
                      <a:pt x="443" y="183"/>
                    </a:lnTo>
                    <a:lnTo>
                      <a:pt x="441" y="185"/>
                    </a:lnTo>
                    <a:lnTo>
                      <a:pt x="440" y="187"/>
                    </a:lnTo>
                    <a:lnTo>
                      <a:pt x="440" y="187"/>
                    </a:lnTo>
                    <a:lnTo>
                      <a:pt x="440" y="189"/>
                    </a:lnTo>
                    <a:lnTo>
                      <a:pt x="440" y="191"/>
                    </a:lnTo>
                    <a:lnTo>
                      <a:pt x="443" y="191"/>
                    </a:lnTo>
                    <a:lnTo>
                      <a:pt x="447" y="191"/>
                    </a:lnTo>
                    <a:lnTo>
                      <a:pt x="453" y="191"/>
                    </a:lnTo>
                    <a:lnTo>
                      <a:pt x="456" y="191"/>
                    </a:lnTo>
                    <a:lnTo>
                      <a:pt x="456" y="194"/>
                    </a:lnTo>
                    <a:lnTo>
                      <a:pt x="456" y="198"/>
                    </a:lnTo>
                    <a:lnTo>
                      <a:pt x="456" y="202"/>
                    </a:lnTo>
                    <a:lnTo>
                      <a:pt x="456" y="207"/>
                    </a:lnTo>
                    <a:lnTo>
                      <a:pt x="460" y="207"/>
                    </a:lnTo>
                    <a:lnTo>
                      <a:pt x="462" y="209"/>
                    </a:lnTo>
                    <a:lnTo>
                      <a:pt x="465" y="209"/>
                    </a:lnTo>
                    <a:lnTo>
                      <a:pt x="469" y="211"/>
                    </a:lnTo>
                    <a:lnTo>
                      <a:pt x="469" y="214"/>
                    </a:lnTo>
                    <a:lnTo>
                      <a:pt x="471" y="216"/>
                    </a:lnTo>
                    <a:lnTo>
                      <a:pt x="471" y="220"/>
                    </a:lnTo>
                    <a:lnTo>
                      <a:pt x="473" y="224"/>
                    </a:lnTo>
                    <a:lnTo>
                      <a:pt x="464" y="222"/>
                    </a:lnTo>
                    <a:lnTo>
                      <a:pt x="456" y="222"/>
                    </a:lnTo>
                    <a:lnTo>
                      <a:pt x="449" y="222"/>
                    </a:lnTo>
                    <a:lnTo>
                      <a:pt x="441" y="222"/>
                    </a:lnTo>
                    <a:lnTo>
                      <a:pt x="434" y="224"/>
                    </a:lnTo>
                    <a:lnTo>
                      <a:pt x="427" y="226"/>
                    </a:lnTo>
                    <a:lnTo>
                      <a:pt x="418" y="227"/>
                    </a:lnTo>
                    <a:lnTo>
                      <a:pt x="410" y="229"/>
                    </a:lnTo>
                    <a:lnTo>
                      <a:pt x="408" y="227"/>
                    </a:lnTo>
                    <a:lnTo>
                      <a:pt x="406" y="226"/>
                    </a:lnTo>
                    <a:lnTo>
                      <a:pt x="405" y="227"/>
                    </a:lnTo>
                    <a:lnTo>
                      <a:pt x="405" y="229"/>
                    </a:lnTo>
                    <a:lnTo>
                      <a:pt x="405" y="229"/>
                    </a:lnTo>
                    <a:lnTo>
                      <a:pt x="406" y="231"/>
                    </a:lnTo>
                    <a:lnTo>
                      <a:pt x="405" y="240"/>
                    </a:lnTo>
                    <a:lnTo>
                      <a:pt x="403" y="250"/>
                    </a:lnTo>
                    <a:lnTo>
                      <a:pt x="399" y="261"/>
                    </a:lnTo>
                    <a:lnTo>
                      <a:pt x="395" y="272"/>
                    </a:lnTo>
                    <a:lnTo>
                      <a:pt x="390" y="283"/>
                    </a:lnTo>
                    <a:lnTo>
                      <a:pt x="386" y="294"/>
                    </a:lnTo>
                    <a:lnTo>
                      <a:pt x="382" y="298"/>
                    </a:lnTo>
                    <a:lnTo>
                      <a:pt x="381" y="303"/>
                    </a:lnTo>
                    <a:lnTo>
                      <a:pt x="379" y="307"/>
                    </a:lnTo>
                    <a:lnTo>
                      <a:pt x="375" y="309"/>
                    </a:lnTo>
                    <a:lnTo>
                      <a:pt x="386" y="329"/>
                    </a:lnTo>
                    <a:lnTo>
                      <a:pt x="392" y="342"/>
                    </a:lnTo>
                    <a:lnTo>
                      <a:pt x="394" y="346"/>
                    </a:lnTo>
                    <a:lnTo>
                      <a:pt x="395" y="349"/>
                    </a:lnTo>
                    <a:lnTo>
                      <a:pt x="395" y="355"/>
                    </a:lnTo>
                    <a:lnTo>
                      <a:pt x="397" y="360"/>
                    </a:lnTo>
                    <a:lnTo>
                      <a:pt x="392" y="358"/>
                    </a:lnTo>
                    <a:lnTo>
                      <a:pt x="390" y="358"/>
                    </a:lnTo>
                    <a:lnTo>
                      <a:pt x="386" y="357"/>
                    </a:lnTo>
                    <a:lnTo>
                      <a:pt x="384" y="355"/>
                    </a:lnTo>
                    <a:lnTo>
                      <a:pt x="381" y="353"/>
                    </a:lnTo>
                    <a:lnTo>
                      <a:pt x="377" y="349"/>
                    </a:lnTo>
                    <a:lnTo>
                      <a:pt x="373" y="347"/>
                    </a:lnTo>
                    <a:lnTo>
                      <a:pt x="371" y="344"/>
                    </a:lnTo>
                    <a:lnTo>
                      <a:pt x="368" y="342"/>
                    </a:lnTo>
                    <a:lnTo>
                      <a:pt x="366" y="340"/>
                    </a:lnTo>
                    <a:lnTo>
                      <a:pt x="364" y="340"/>
                    </a:lnTo>
                    <a:lnTo>
                      <a:pt x="362" y="338"/>
                    </a:lnTo>
                    <a:lnTo>
                      <a:pt x="358" y="336"/>
                    </a:lnTo>
                    <a:lnTo>
                      <a:pt x="358" y="334"/>
                    </a:lnTo>
                    <a:lnTo>
                      <a:pt x="358" y="331"/>
                    </a:lnTo>
                    <a:lnTo>
                      <a:pt x="357" y="327"/>
                    </a:lnTo>
                    <a:lnTo>
                      <a:pt x="357" y="327"/>
                    </a:lnTo>
                    <a:lnTo>
                      <a:pt x="357" y="327"/>
                    </a:lnTo>
                    <a:lnTo>
                      <a:pt x="355" y="327"/>
                    </a:lnTo>
                    <a:lnTo>
                      <a:pt x="353" y="327"/>
                    </a:lnTo>
                    <a:lnTo>
                      <a:pt x="355" y="333"/>
                    </a:lnTo>
                    <a:lnTo>
                      <a:pt x="355" y="338"/>
                    </a:lnTo>
                    <a:lnTo>
                      <a:pt x="357" y="340"/>
                    </a:lnTo>
                    <a:lnTo>
                      <a:pt x="358" y="342"/>
                    </a:lnTo>
                    <a:lnTo>
                      <a:pt x="357" y="347"/>
                    </a:lnTo>
                    <a:lnTo>
                      <a:pt x="355" y="353"/>
                    </a:lnTo>
                    <a:lnTo>
                      <a:pt x="355" y="358"/>
                    </a:lnTo>
                    <a:lnTo>
                      <a:pt x="353" y="362"/>
                    </a:lnTo>
                    <a:lnTo>
                      <a:pt x="353" y="368"/>
                    </a:lnTo>
                    <a:lnTo>
                      <a:pt x="353" y="371"/>
                    </a:lnTo>
                    <a:lnTo>
                      <a:pt x="353" y="375"/>
                    </a:lnTo>
                    <a:lnTo>
                      <a:pt x="353" y="377"/>
                    </a:lnTo>
                    <a:lnTo>
                      <a:pt x="357" y="384"/>
                    </a:lnTo>
                    <a:lnTo>
                      <a:pt x="358" y="392"/>
                    </a:lnTo>
                    <a:lnTo>
                      <a:pt x="360" y="399"/>
                    </a:lnTo>
                    <a:lnTo>
                      <a:pt x="364" y="408"/>
                    </a:lnTo>
                    <a:lnTo>
                      <a:pt x="357" y="408"/>
                    </a:lnTo>
                    <a:lnTo>
                      <a:pt x="349" y="406"/>
                    </a:lnTo>
                    <a:lnTo>
                      <a:pt x="344" y="405"/>
                    </a:lnTo>
                    <a:lnTo>
                      <a:pt x="336" y="403"/>
                    </a:lnTo>
                    <a:lnTo>
                      <a:pt x="338" y="408"/>
                    </a:lnTo>
                    <a:lnTo>
                      <a:pt x="340" y="414"/>
                    </a:lnTo>
                    <a:lnTo>
                      <a:pt x="340" y="419"/>
                    </a:lnTo>
                    <a:lnTo>
                      <a:pt x="342" y="425"/>
                    </a:lnTo>
                    <a:lnTo>
                      <a:pt x="338" y="425"/>
                    </a:lnTo>
                    <a:lnTo>
                      <a:pt x="334" y="425"/>
                    </a:lnTo>
                    <a:lnTo>
                      <a:pt x="329" y="425"/>
                    </a:lnTo>
                    <a:lnTo>
                      <a:pt x="325" y="425"/>
                    </a:lnTo>
                    <a:lnTo>
                      <a:pt x="329" y="436"/>
                    </a:lnTo>
                    <a:lnTo>
                      <a:pt x="333" y="443"/>
                    </a:lnTo>
                    <a:lnTo>
                      <a:pt x="334" y="447"/>
                    </a:lnTo>
                    <a:lnTo>
                      <a:pt x="334" y="451"/>
                    </a:lnTo>
                    <a:lnTo>
                      <a:pt x="336" y="454"/>
                    </a:lnTo>
                    <a:lnTo>
                      <a:pt x="340" y="458"/>
                    </a:lnTo>
                    <a:lnTo>
                      <a:pt x="342" y="462"/>
                    </a:lnTo>
                    <a:lnTo>
                      <a:pt x="344" y="465"/>
                    </a:lnTo>
                    <a:lnTo>
                      <a:pt x="347" y="467"/>
                    </a:lnTo>
                    <a:lnTo>
                      <a:pt x="349" y="471"/>
                    </a:lnTo>
                    <a:lnTo>
                      <a:pt x="353" y="475"/>
                    </a:lnTo>
                    <a:lnTo>
                      <a:pt x="357" y="477"/>
                    </a:lnTo>
                    <a:lnTo>
                      <a:pt x="360" y="480"/>
                    </a:lnTo>
                    <a:lnTo>
                      <a:pt x="364" y="482"/>
                    </a:lnTo>
                    <a:lnTo>
                      <a:pt x="360" y="486"/>
                    </a:lnTo>
                    <a:lnTo>
                      <a:pt x="358" y="488"/>
                    </a:lnTo>
                    <a:lnTo>
                      <a:pt x="368" y="489"/>
                    </a:lnTo>
                    <a:lnTo>
                      <a:pt x="373" y="491"/>
                    </a:lnTo>
                    <a:lnTo>
                      <a:pt x="375" y="491"/>
                    </a:lnTo>
                    <a:lnTo>
                      <a:pt x="375" y="493"/>
                    </a:lnTo>
                    <a:lnTo>
                      <a:pt x="375" y="495"/>
                    </a:lnTo>
                    <a:lnTo>
                      <a:pt x="375" y="495"/>
                    </a:lnTo>
                    <a:lnTo>
                      <a:pt x="371" y="495"/>
                    </a:lnTo>
                    <a:lnTo>
                      <a:pt x="370" y="497"/>
                    </a:lnTo>
                    <a:lnTo>
                      <a:pt x="368" y="497"/>
                    </a:lnTo>
                    <a:lnTo>
                      <a:pt x="366" y="497"/>
                    </a:lnTo>
                    <a:lnTo>
                      <a:pt x="366" y="497"/>
                    </a:lnTo>
                    <a:lnTo>
                      <a:pt x="364" y="499"/>
                    </a:lnTo>
                    <a:lnTo>
                      <a:pt x="364" y="501"/>
                    </a:lnTo>
                    <a:lnTo>
                      <a:pt x="364" y="502"/>
                    </a:lnTo>
                    <a:lnTo>
                      <a:pt x="370" y="502"/>
                    </a:lnTo>
                    <a:lnTo>
                      <a:pt x="375" y="502"/>
                    </a:lnTo>
                    <a:lnTo>
                      <a:pt x="382" y="519"/>
                    </a:lnTo>
                    <a:lnTo>
                      <a:pt x="386" y="536"/>
                    </a:lnTo>
                    <a:lnTo>
                      <a:pt x="390" y="541"/>
                    </a:lnTo>
                    <a:lnTo>
                      <a:pt x="392" y="547"/>
                    </a:lnTo>
                    <a:lnTo>
                      <a:pt x="394" y="552"/>
                    </a:lnTo>
                    <a:lnTo>
                      <a:pt x="397" y="558"/>
                    </a:lnTo>
                    <a:lnTo>
                      <a:pt x="399" y="563"/>
                    </a:lnTo>
                    <a:lnTo>
                      <a:pt x="405" y="567"/>
                    </a:lnTo>
                    <a:lnTo>
                      <a:pt x="408" y="571"/>
                    </a:lnTo>
                    <a:lnTo>
                      <a:pt x="414" y="574"/>
                    </a:lnTo>
                    <a:lnTo>
                      <a:pt x="419" y="578"/>
                    </a:lnTo>
                    <a:lnTo>
                      <a:pt x="427" y="582"/>
                    </a:lnTo>
                    <a:lnTo>
                      <a:pt x="434" y="584"/>
                    </a:lnTo>
                    <a:lnTo>
                      <a:pt x="443" y="587"/>
                    </a:lnTo>
                    <a:lnTo>
                      <a:pt x="445" y="582"/>
                    </a:lnTo>
                    <a:lnTo>
                      <a:pt x="447" y="578"/>
                    </a:lnTo>
                    <a:lnTo>
                      <a:pt x="443" y="576"/>
                    </a:lnTo>
                    <a:lnTo>
                      <a:pt x="440" y="574"/>
                    </a:lnTo>
                    <a:lnTo>
                      <a:pt x="436" y="574"/>
                    </a:lnTo>
                    <a:lnTo>
                      <a:pt x="432" y="573"/>
                    </a:lnTo>
                    <a:lnTo>
                      <a:pt x="440" y="571"/>
                    </a:lnTo>
                    <a:lnTo>
                      <a:pt x="443" y="569"/>
                    </a:lnTo>
                    <a:lnTo>
                      <a:pt x="447" y="567"/>
                    </a:lnTo>
                    <a:lnTo>
                      <a:pt x="451" y="565"/>
                    </a:lnTo>
                    <a:lnTo>
                      <a:pt x="453" y="563"/>
                    </a:lnTo>
                    <a:lnTo>
                      <a:pt x="454" y="560"/>
                    </a:lnTo>
                    <a:lnTo>
                      <a:pt x="458" y="556"/>
                    </a:lnTo>
                    <a:lnTo>
                      <a:pt x="460" y="550"/>
                    </a:lnTo>
                    <a:lnTo>
                      <a:pt x="464" y="556"/>
                    </a:lnTo>
                    <a:lnTo>
                      <a:pt x="467" y="561"/>
                    </a:lnTo>
                    <a:lnTo>
                      <a:pt x="469" y="567"/>
                    </a:lnTo>
                    <a:lnTo>
                      <a:pt x="471" y="571"/>
                    </a:lnTo>
                    <a:lnTo>
                      <a:pt x="473" y="576"/>
                    </a:lnTo>
                    <a:lnTo>
                      <a:pt x="473" y="582"/>
                    </a:lnTo>
                    <a:lnTo>
                      <a:pt x="473" y="587"/>
                    </a:lnTo>
                    <a:lnTo>
                      <a:pt x="475" y="595"/>
                    </a:lnTo>
                    <a:lnTo>
                      <a:pt x="469" y="598"/>
                    </a:lnTo>
                    <a:lnTo>
                      <a:pt x="465" y="600"/>
                    </a:lnTo>
                    <a:lnTo>
                      <a:pt x="464" y="604"/>
                    </a:lnTo>
                    <a:lnTo>
                      <a:pt x="462" y="606"/>
                    </a:lnTo>
                    <a:lnTo>
                      <a:pt x="458" y="609"/>
                    </a:lnTo>
                    <a:lnTo>
                      <a:pt x="456" y="615"/>
                    </a:lnTo>
                    <a:lnTo>
                      <a:pt x="453" y="620"/>
                    </a:lnTo>
                    <a:lnTo>
                      <a:pt x="449" y="628"/>
                    </a:lnTo>
                    <a:lnTo>
                      <a:pt x="436" y="635"/>
                    </a:lnTo>
                    <a:lnTo>
                      <a:pt x="423" y="643"/>
                    </a:lnTo>
                    <a:lnTo>
                      <a:pt x="412" y="650"/>
                    </a:lnTo>
                    <a:lnTo>
                      <a:pt x="399" y="657"/>
                    </a:lnTo>
                    <a:lnTo>
                      <a:pt x="403" y="665"/>
                    </a:lnTo>
                    <a:lnTo>
                      <a:pt x="408" y="672"/>
                    </a:lnTo>
                    <a:lnTo>
                      <a:pt x="412" y="678"/>
                    </a:lnTo>
                    <a:lnTo>
                      <a:pt x="414" y="685"/>
                    </a:lnTo>
                    <a:lnTo>
                      <a:pt x="416" y="691"/>
                    </a:lnTo>
                    <a:lnTo>
                      <a:pt x="418" y="698"/>
                    </a:lnTo>
                    <a:lnTo>
                      <a:pt x="419" y="705"/>
                    </a:lnTo>
                    <a:lnTo>
                      <a:pt x="419" y="715"/>
                    </a:lnTo>
                    <a:lnTo>
                      <a:pt x="425" y="715"/>
                    </a:lnTo>
                    <a:lnTo>
                      <a:pt x="430" y="715"/>
                    </a:lnTo>
                    <a:lnTo>
                      <a:pt x="429" y="733"/>
                    </a:lnTo>
                    <a:lnTo>
                      <a:pt x="429" y="746"/>
                    </a:lnTo>
                    <a:lnTo>
                      <a:pt x="427" y="750"/>
                    </a:lnTo>
                    <a:lnTo>
                      <a:pt x="425" y="755"/>
                    </a:lnTo>
                    <a:lnTo>
                      <a:pt x="423" y="761"/>
                    </a:lnTo>
                    <a:lnTo>
                      <a:pt x="421" y="768"/>
                    </a:lnTo>
                    <a:lnTo>
                      <a:pt x="410" y="768"/>
                    </a:lnTo>
                    <a:lnTo>
                      <a:pt x="401" y="768"/>
                    </a:lnTo>
                    <a:lnTo>
                      <a:pt x="392" y="768"/>
                    </a:lnTo>
                    <a:lnTo>
                      <a:pt x="382" y="768"/>
                    </a:lnTo>
                    <a:lnTo>
                      <a:pt x="379" y="774"/>
                    </a:lnTo>
                    <a:lnTo>
                      <a:pt x="377" y="779"/>
                    </a:lnTo>
                    <a:lnTo>
                      <a:pt x="375" y="781"/>
                    </a:lnTo>
                    <a:lnTo>
                      <a:pt x="375" y="785"/>
                    </a:lnTo>
                    <a:lnTo>
                      <a:pt x="375" y="788"/>
                    </a:lnTo>
                    <a:lnTo>
                      <a:pt x="375" y="792"/>
                    </a:lnTo>
                    <a:lnTo>
                      <a:pt x="375" y="798"/>
                    </a:lnTo>
                    <a:lnTo>
                      <a:pt x="375" y="803"/>
                    </a:lnTo>
                    <a:lnTo>
                      <a:pt x="381" y="805"/>
                    </a:lnTo>
                    <a:lnTo>
                      <a:pt x="384" y="807"/>
                    </a:lnTo>
                    <a:lnTo>
                      <a:pt x="390" y="809"/>
                    </a:lnTo>
                    <a:lnTo>
                      <a:pt x="394" y="811"/>
                    </a:lnTo>
                    <a:lnTo>
                      <a:pt x="397" y="811"/>
                    </a:lnTo>
                    <a:lnTo>
                      <a:pt x="399" y="811"/>
                    </a:lnTo>
                    <a:lnTo>
                      <a:pt x="403" y="809"/>
                    </a:lnTo>
                    <a:lnTo>
                      <a:pt x="406" y="809"/>
                    </a:lnTo>
                    <a:lnTo>
                      <a:pt x="412" y="807"/>
                    </a:lnTo>
                    <a:lnTo>
                      <a:pt x="419" y="805"/>
                    </a:lnTo>
                    <a:lnTo>
                      <a:pt x="423" y="805"/>
                    </a:lnTo>
                    <a:lnTo>
                      <a:pt x="427" y="805"/>
                    </a:lnTo>
                    <a:lnTo>
                      <a:pt x="430" y="805"/>
                    </a:lnTo>
                    <a:lnTo>
                      <a:pt x="434" y="807"/>
                    </a:lnTo>
                    <a:lnTo>
                      <a:pt x="436" y="818"/>
                    </a:lnTo>
                    <a:lnTo>
                      <a:pt x="438" y="829"/>
                    </a:lnTo>
                    <a:lnTo>
                      <a:pt x="440" y="840"/>
                    </a:lnTo>
                    <a:lnTo>
                      <a:pt x="441" y="851"/>
                    </a:lnTo>
                    <a:lnTo>
                      <a:pt x="434" y="860"/>
                    </a:lnTo>
                    <a:lnTo>
                      <a:pt x="427" y="868"/>
                    </a:lnTo>
                    <a:lnTo>
                      <a:pt x="418" y="877"/>
                    </a:lnTo>
                    <a:lnTo>
                      <a:pt x="410" y="883"/>
                    </a:lnTo>
                    <a:lnTo>
                      <a:pt x="405" y="888"/>
                    </a:lnTo>
                    <a:lnTo>
                      <a:pt x="401" y="890"/>
                    </a:lnTo>
                    <a:lnTo>
                      <a:pt x="395" y="894"/>
                    </a:lnTo>
                    <a:lnTo>
                      <a:pt x="392" y="897"/>
                    </a:lnTo>
                    <a:lnTo>
                      <a:pt x="386" y="899"/>
                    </a:lnTo>
                    <a:lnTo>
                      <a:pt x="382" y="901"/>
                    </a:lnTo>
                    <a:lnTo>
                      <a:pt x="377" y="903"/>
                    </a:lnTo>
                    <a:lnTo>
                      <a:pt x="371" y="905"/>
                    </a:lnTo>
                    <a:lnTo>
                      <a:pt x="366" y="901"/>
                    </a:lnTo>
                    <a:lnTo>
                      <a:pt x="360" y="897"/>
                    </a:lnTo>
                    <a:lnTo>
                      <a:pt x="357" y="892"/>
                    </a:lnTo>
                    <a:lnTo>
                      <a:pt x="353" y="888"/>
                    </a:lnTo>
                    <a:lnTo>
                      <a:pt x="349" y="884"/>
                    </a:lnTo>
                    <a:lnTo>
                      <a:pt x="347" y="879"/>
                    </a:lnTo>
                    <a:lnTo>
                      <a:pt x="344" y="873"/>
                    </a:lnTo>
                    <a:lnTo>
                      <a:pt x="342" y="870"/>
                    </a:lnTo>
                    <a:lnTo>
                      <a:pt x="342" y="864"/>
                    </a:lnTo>
                    <a:lnTo>
                      <a:pt x="340" y="860"/>
                    </a:lnTo>
                    <a:lnTo>
                      <a:pt x="338" y="855"/>
                    </a:lnTo>
                    <a:lnTo>
                      <a:pt x="338" y="849"/>
                    </a:lnTo>
                    <a:lnTo>
                      <a:pt x="336" y="840"/>
                    </a:lnTo>
                    <a:lnTo>
                      <a:pt x="334" y="831"/>
                    </a:lnTo>
                    <a:lnTo>
                      <a:pt x="333" y="820"/>
                    </a:lnTo>
                    <a:lnTo>
                      <a:pt x="331" y="811"/>
                    </a:lnTo>
                    <a:lnTo>
                      <a:pt x="331" y="807"/>
                    </a:lnTo>
                    <a:lnTo>
                      <a:pt x="329" y="803"/>
                    </a:lnTo>
                    <a:lnTo>
                      <a:pt x="327" y="798"/>
                    </a:lnTo>
                    <a:lnTo>
                      <a:pt x="323" y="794"/>
                    </a:lnTo>
                    <a:lnTo>
                      <a:pt x="322" y="790"/>
                    </a:lnTo>
                    <a:lnTo>
                      <a:pt x="318" y="787"/>
                    </a:lnTo>
                    <a:lnTo>
                      <a:pt x="316" y="783"/>
                    </a:lnTo>
                    <a:lnTo>
                      <a:pt x="310" y="781"/>
                    </a:lnTo>
                    <a:lnTo>
                      <a:pt x="307" y="777"/>
                    </a:lnTo>
                    <a:lnTo>
                      <a:pt x="301" y="774"/>
                    </a:lnTo>
                    <a:lnTo>
                      <a:pt x="296" y="772"/>
                    </a:lnTo>
                    <a:lnTo>
                      <a:pt x="288" y="768"/>
                    </a:lnTo>
                    <a:lnTo>
                      <a:pt x="288" y="763"/>
                    </a:lnTo>
                    <a:lnTo>
                      <a:pt x="288" y="759"/>
                    </a:lnTo>
                    <a:lnTo>
                      <a:pt x="294" y="757"/>
                    </a:lnTo>
                    <a:lnTo>
                      <a:pt x="298" y="755"/>
                    </a:lnTo>
                    <a:lnTo>
                      <a:pt x="301" y="755"/>
                    </a:lnTo>
                    <a:lnTo>
                      <a:pt x="307" y="753"/>
                    </a:lnTo>
                    <a:lnTo>
                      <a:pt x="307" y="750"/>
                    </a:lnTo>
                    <a:lnTo>
                      <a:pt x="307" y="746"/>
                    </a:lnTo>
                    <a:lnTo>
                      <a:pt x="307" y="744"/>
                    </a:lnTo>
                    <a:lnTo>
                      <a:pt x="307" y="742"/>
                    </a:lnTo>
                    <a:lnTo>
                      <a:pt x="305" y="739"/>
                    </a:lnTo>
                    <a:lnTo>
                      <a:pt x="305" y="737"/>
                    </a:lnTo>
                    <a:lnTo>
                      <a:pt x="303" y="733"/>
                    </a:lnTo>
                    <a:lnTo>
                      <a:pt x="301" y="729"/>
                    </a:lnTo>
                    <a:lnTo>
                      <a:pt x="303" y="728"/>
                    </a:lnTo>
                    <a:lnTo>
                      <a:pt x="307" y="724"/>
                    </a:lnTo>
                    <a:lnTo>
                      <a:pt x="309" y="722"/>
                    </a:lnTo>
                    <a:lnTo>
                      <a:pt x="310" y="718"/>
                    </a:lnTo>
                    <a:lnTo>
                      <a:pt x="312" y="715"/>
                    </a:lnTo>
                    <a:lnTo>
                      <a:pt x="314" y="711"/>
                    </a:lnTo>
                    <a:lnTo>
                      <a:pt x="314" y="709"/>
                    </a:lnTo>
                    <a:lnTo>
                      <a:pt x="316" y="704"/>
                    </a:lnTo>
                    <a:lnTo>
                      <a:pt x="316" y="702"/>
                    </a:lnTo>
                    <a:lnTo>
                      <a:pt x="318" y="698"/>
                    </a:lnTo>
                    <a:lnTo>
                      <a:pt x="318" y="692"/>
                    </a:lnTo>
                    <a:lnTo>
                      <a:pt x="318" y="689"/>
                    </a:lnTo>
                    <a:lnTo>
                      <a:pt x="318" y="681"/>
                    </a:lnTo>
                    <a:lnTo>
                      <a:pt x="316" y="672"/>
                    </a:lnTo>
                    <a:lnTo>
                      <a:pt x="314" y="665"/>
                    </a:lnTo>
                    <a:lnTo>
                      <a:pt x="312" y="656"/>
                    </a:lnTo>
                    <a:lnTo>
                      <a:pt x="310" y="646"/>
                    </a:lnTo>
                    <a:lnTo>
                      <a:pt x="309" y="639"/>
                    </a:lnTo>
                    <a:lnTo>
                      <a:pt x="305" y="632"/>
                    </a:lnTo>
                    <a:lnTo>
                      <a:pt x="301" y="624"/>
                    </a:lnTo>
                    <a:lnTo>
                      <a:pt x="299" y="617"/>
                    </a:lnTo>
                    <a:lnTo>
                      <a:pt x="296" y="611"/>
                    </a:lnTo>
                    <a:lnTo>
                      <a:pt x="292" y="585"/>
                    </a:lnTo>
                    <a:lnTo>
                      <a:pt x="286" y="561"/>
                    </a:lnTo>
                    <a:lnTo>
                      <a:pt x="281" y="537"/>
                    </a:lnTo>
                    <a:lnTo>
                      <a:pt x="275" y="513"/>
                    </a:lnTo>
                    <a:lnTo>
                      <a:pt x="272" y="489"/>
                    </a:lnTo>
                    <a:lnTo>
                      <a:pt x="266" y="464"/>
                    </a:lnTo>
                    <a:lnTo>
                      <a:pt x="264" y="453"/>
                    </a:lnTo>
                    <a:lnTo>
                      <a:pt x="262" y="440"/>
                    </a:lnTo>
                    <a:lnTo>
                      <a:pt x="261" y="427"/>
                    </a:lnTo>
                    <a:lnTo>
                      <a:pt x="259" y="416"/>
                    </a:lnTo>
                    <a:lnTo>
                      <a:pt x="266" y="416"/>
                    </a:lnTo>
                    <a:lnTo>
                      <a:pt x="272" y="416"/>
                    </a:lnTo>
                    <a:lnTo>
                      <a:pt x="270" y="410"/>
                    </a:lnTo>
                    <a:lnTo>
                      <a:pt x="270" y="405"/>
                    </a:lnTo>
                    <a:lnTo>
                      <a:pt x="270" y="399"/>
                    </a:lnTo>
                    <a:lnTo>
                      <a:pt x="270" y="394"/>
                    </a:lnTo>
                    <a:lnTo>
                      <a:pt x="266" y="392"/>
                    </a:lnTo>
                    <a:lnTo>
                      <a:pt x="261" y="390"/>
                    </a:lnTo>
                    <a:lnTo>
                      <a:pt x="257" y="388"/>
                    </a:lnTo>
                    <a:lnTo>
                      <a:pt x="251" y="388"/>
                    </a:lnTo>
                    <a:lnTo>
                      <a:pt x="251" y="382"/>
                    </a:lnTo>
                    <a:lnTo>
                      <a:pt x="250" y="375"/>
                    </a:lnTo>
                    <a:lnTo>
                      <a:pt x="250" y="370"/>
                    </a:lnTo>
                    <a:lnTo>
                      <a:pt x="250" y="364"/>
                    </a:lnTo>
                    <a:lnTo>
                      <a:pt x="244" y="362"/>
                    </a:lnTo>
                    <a:lnTo>
                      <a:pt x="238" y="360"/>
                    </a:lnTo>
                    <a:lnTo>
                      <a:pt x="233" y="360"/>
                    </a:lnTo>
                    <a:lnTo>
                      <a:pt x="226" y="358"/>
                    </a:lnTo>
                    <a:lnTo>
                      <a:pt x="226" y="355"/>
                    </a:lnTo>
                    <a:lnTo>
                      <a:pt x="224" y="351"/>
                    </a:lnTo>
                    <a:lnTo>
                      <a:pt x="222" y="347"/>
                    </a:lnTo>
                    <a:lnTo>
                      <a:pt x="220" y="344"/>
                    </a:lnTo>
                    <a:lnTo>
                      <a:pt x="218" y="342"/>
                    </a:lnTo>
                    <a:lnTo>
                      <a:pt x="216" y="340"/>
                    </a:lnTo>
                    <a:lnTo>
                      <a:pt x="215" y="338"/>
                    </a:lnTo>
                    <a:lnTo>
                      <a:pt x="213" y="336"/>
                    </a:lnTo>
                    <a:lnTo>
                      <a:pt x="207" y="333"/>
                    </a:lnTo>
                    <a:lnTo>
                      <a:pt x="202" y="329"/>
                    </a:lnTo>
                    <a:lnTo>
                      <a:pt x="194" y="327"/>
                    </a:lnTo>
                    <a:lnTo>
                      <a:pt x="187" y="323"/>
                    </a:lnTo>
                    <a:lnTo>
                      <a:pt x="187" y="316"/>
                    </a:lnTo>
                    <a:lnTo>
                      <a:pt x="187" y="309"/>
                    </a:lnTo>
                    <a:lnTo>
                      <a:pt x="187" y="301"/>
                    </a:lnTo>
                    <a:lnTo>
                      <a:pt x="187" y="294"/>
                    </a:lnTo>
                    <a:lnTo>
                      <a:pt x="189" y="292"/>
                    </a:lnTo>
                    <a:lnTo>
                      <a:pt x="192" y="292"/>
                    </a:lnTo>
                    <a:lnTo>
                      <a:pt x="196" y="290"/>
                    </a:lnTo>
                    <a:lnTo>
                      <a:pt x="198" y="290"/>
                    </a:lnTo>
                    <a:lnTo>
                      <a:pt x="196" y="285"/>
                    </a:lnTo>
                    <a:lnTo>
                      <a:pt x="194" y="281"/>
                    </a:lnTo>
                    <a:lnTo>
                      <a:pt x="189" y="283"/>
                    </a:lnTo>
                    <a:lnTo>
                      <a:pt x="181" y="285"/>
                    </a:lnTo>
                    <a:lnTo>
                      <a:pt x="176" y="286"/>
                    </a:lnTo>
                    <a:lnTo>
                      <a:pt x="170" y="288"/>
                    </a:lnTo>
                    <a:lnTo>
                      <a:pt x="167" y="299"/>
                    </a:lnTo>
                    <a:lnTo>
                      <a:pt x="163" y="310"/>
                    </a:lnTo>
                    <a:lnTo>
                      <a:pt x="159" y="322"/>
                    </a:lnTo>
                    <a:lnTo>
                      <a:pt x="155" y="334"/>
                    </a:lnTo>
                    <a:lnTo>
                      <a:pt x="161" y="334"/>
                    </a:lnTo>
                    <a:lnTo>
                      <a:pt x="167" y="334"/>
                    </a:lnTo>
                    <a:lnTo>
                      <a:pt x="167" y="338"/>
                    </a:lnTo>
                    <a:lnTo>
                      <a:pt x="168" y="342"/>
                    </a:lnTo>
                    <a:lnTo>
                      <a:pt x="170" y="346"/>
                    </a:lnTo>
                    <a:lnTo>
                      <a:pt x="170" y="347"/>
                    </a:lnTo>
                    <a:lnTo>
                      <a:pt x="172" y="351"/>
                    </a:lnTo>
                    <a:lnTo>
                      <a:pt x="174" y="355"/>
                    </a:lnTo>
                    <a:lnTo>
                      <a:pt x="176" y="357"/>
                    </a:lnTo>
                    <a:lnTo>
                      <a:pt x="179" y="358"/>
                    </a:lnTo>
                    <a:lnTo>
                      <a:pt x="181" y="362"/>
                    </a:lnTo>
                    <a:lnTo>
                      <a:pt x="183" y="364"/>
                    </a:lnTo>
                    <a:lnTo>
                      <a:pt x="187" y="364"/>
                    </a:lnTo>
                    <a:lnTo>
                      <a:pt x="191" y="366"/>
                    </a:lnTo>
                    <a:lnTo>
                      <a:pt x="194" y="368"/>
                    </a:lnTo>
                    <a:lnTo>
                      <a:pt x="198" y="368"/>
                    </a:lnTo>
                    <a:lnTo>
                      <a:pt x="202" y="368"/>
                    </a:lnTo>
                    <a:lnTo>
                      <a:pt x="205" y="368"/>
                    </a:lnTo>
                    <a:lnTo>
                      <a:pt x="207" y="371"/>
                    </a:lnTo>
                    <a:lnTo>
                      <a:pt x="207" y="375"/>
                    </a:lnTo>
                    <a:lnTo>
                      <a:pt x="207" y="379"/>
                    </a:lnTo>
                    <a:lnTo>
                      <a:pt x="209" y="384"/>
                    </a:lnTo>
                    <a:lnTo>
                      <a:pt x="205" y="386"/>
                    </a:lnTo>
                    <a:lnTo>
                      <a:pt x="202" y="388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2" name="Freeform 3363"/>
              <p:cNvSpPr>
                <a:spLocks/>
              </p:cNvSpPr>
              <p:nvPr/>
            </p:nvSpPr>
            <p:spPr bwMode="auto">
              <a:xfrm>
                <a:off x="8319620" y="2523096"/>
                <a:ext cx="42890" cy="107367"/>
              </a:xfrm>
              <a:custGeom>
                <a:avLst/>
                <a:gdLst>
                  <a:gd name="T0" fmla="*/ 20 w 29"/>
                  <a:gd name="T1" fmla="*/ 71 h 71"/>
                  <a:gd name="T2" fmla="*/ 16 w 29"/>
                  <a:gd name="T3" fmla="*/ 60 h 71"/>
                  <a:gd name="T4" fmla="*/ 12 w 29"/>
                  <a:gd name="T5" fmla="*/ 50 h 71"/>
                  <a:gd name="T6" fmla="*/ 11 w 29"/>
                  <a:gd name="T7" fmla="*/ 47 h 71"/>
                  <a:gd name="T8" fmla="*/ 7 w 29"/>
                  <a:gd name="T9" fmla="*/ 43 h 71"/>
                  <a:gd name="T10" fmla="*/ 3 w 29"/>
                  <a:gd name="T11" fmla="*/ 39 h 71"/>
                  <a:gd name="T12" fmla="*/ 0 w 29"/>
                  <a:gd name="T13" fmla="*/ 34 h 71"/>
                  <a:gd name="T14" fmla="*/ 0 w 29"/>
                  <a:gd name="T15" fmla="*/ 26 h 71"/>
                  <a:gd name="T16" fmla="*/ 1 w 29"/>
                  <a:gd name="T17" fmla="*/ 17 h 71"/>
                  <a:gd name="T18" fmla="*/ 1 w 29"/>
                  <a:gd name="T19" fmla="*/ 8 h 71"/>
                  <a:gd name="T20" fmla="*/ 3 w 29"/>
                  <a:gd name="T21" fmla="*/ 0 h 71"/>
                  <a:gd name="T22" fmla="*/ 9 w 29"/>
                  <a:gd name="T23" fmla="*/ 2 h 71"/>
                  <a:gd name="T24" fmla="*/ 14 w 29"/>
                  <a:gd name="T25" fmla="*/ 4 h 71"/>
                  <a:gd name="T26" fmla="*/ 20 w 29"/>
                  <a:gd name="T27" fmla="*/ 8 h 71"/>
                  <a:gd name="T28" fmla="*/ 25 w 29"/>
                  <a:gd name="T29" fmla="*/ 10 h 71"/>
                  <a:gd name="T30" fmla="*/ 27 w 29"/>
                  <a:gd name="T31" fmla="*/ 24 h 71"/>
                  <a:gd name="T32" fmla="*/ 27 w 29"/>
                  <a:gd name="T33" fmla="*/ 37 h 71"/>
                  <a:gd name="T34" fmla="*/ 27 w 29"/>
                  <a:gd name="T35" fmla="*/ 52 h 71"/>
                  <a:gd name="T36" fmla="*/ 29 w 29"/>
                  <a:gd name="T37" fmla="*/ 67 h 71"/>
                  <a:gd name="T38" fmla="*/ 24 w 29"/>
                  <a:gd name="T39" fmla="*/ 69 h 71"/>
                  <a:gd name="T40" fmla="*/ 20 w 29"/>
                  <a:gd name="T41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71">
                    <a:moveTo>
                      <a:pt x="20" y="71"/>
                    </a:moveTo>
                    <a:lnTo>
                      <a:pt x="16" y="60"/>
                    </a:lnTo>
                    <a:lnTo>
                      <a:pt x="12" y="50"/>
                    </a:lnTo>
                    <a:lnTo>
                      <a:pt x="11" y="47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0" y="34"/>
                    </a:lnTo>
                    <a:lnTo>
                      <a:pt x="0" y="26"/>
                    </a:lnTo>
                    <a:lnTo>
                      <a:pt x="1" y="17"/>
                    </a:lnTo>
                    <a:lnTo>
                      <a:pt x="1" y="8"/>
                    </a:lnTo>
                    <a:lnTo>
                      <a:pt x="3" y="0"/>
                    </a:lnTo>
                    <a:lnTo>
                      <a:pt x="9" y="2"/>
                    </a:lnTo>
                    <a:lnTo>
                      <a:pt x="14" y="4"/>
                    </a:lnTo>
                    <a:lnTo>
                      <a:pt x="20" y="8"/>
                    </a:lnTo>
                    <a:lnTo>
                      <a:pt x="25" y="10"/>
                    </a:lnTo>
                    <a:lnTo>
                      <a:pt x="27" y="24"/>
                    </a:lnTo>
                    <a:lnTo>
                      <a:pt x="27" y="37"/>
                    </a:lnTo>
                    <a:lnTo>
                      <a:pt x="27" y="52"/>
                    </a:lnTo>
                    <a:lnTo>
                      <a:pt x="29" y="67"/>
                    </a:lnTo>
                    <a:lnTo>
                      <a:pt x="24" y="69"/>
                    </a:lnTo>
                    <a:lnTo>
                      <a:pt x="20" y="71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685781"/>
                <a:endParaRPr lang="ru-RU" sz="16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891" name="Овал 890"/>
            <p:cNvSpPr/>
            <p:nvPr/>
          </p:nvSpPr>
          <p:spPr>
            <a:xfrm>
              <a:off x="2063750" y="4126210"/>
              <a:ext cx="78000" cy="72000"/>
            </a:xfrm>
            <a:prstGeom prst="ellipse">
              <a:avLst/>
            </a:prstGeom>
            <a:solidFill>
              <a:srgbClr val="D60018"/>
            </a:solidFill>
            <a:ln>
              <a:solidFill>
                <a:srgbClr val="D600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892" name="Овал 891"/>
            <p:cNvSpPr/>
            <p:nvPr/>
          </p:nvSpPr>
          <p:spPr>
            <a:xfrm>
              <a:off x="2117830" y="4345255"/>
              <a:ext cx="78000" cy="720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1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893" name="Title 1"/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174398" y="3905155"/>
              <a:ext cx="949958" cy="334962"/>
            </a:xfrm>
            <a:prstGeom prst="rect">
              <a:avLst/>
            </a:prstGeom>
          </p:spPr>
          <p:txBody>
            <a:bodyPr anchor="ctr"/>
            <a:lstStyle/>
            <a:p>
              <a:pPr marL="1137" defTabSz="685781">
                <a:defRPr/>
              </a:pPr>
              <a:r>
                <a:rPr lang="ru-RU" b="1" u="sng" dirty="0">
                  <a:solidFill>
                    <a:prstClr val="black"/>
                  </a:solidFill>
                  <a:latin typeface="Calibri"/>
                  <a:ea typeface="+mj-ea"/>
                  <a:cs typeface="Arial" pitchFamily="34" charset="0"/>
                </a:rPr>
                <a:t>Амурск</a:t>
              </a:r>
              <a:endParaRPr lang="en-US" sz="600" b="1" u="sng" dirty="0">
                <a:solidFill>
                  <a:prstClr val="black"/>
                </a:solidFill>
                <a:latin typeface="Calibri"/>
                <a:ea typeface="+mj-ea"/>
                <a:cs typeface="Arial" pitchFamily="34" charset="0"/>
              </a:endParaRPr>
            </a:p>
          </p:txBody>
        </p:sp>
        <p:sp>
          <p:nvSpPr>
            <p:cNvPr id="894" name="Title 1"/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1125985" y="4204263"/>
              <a:ext cx="1165578" cy="334962"/>
            </a:xfrm>
            <a:prstGeom prst="rect">
              <a:avLst/>
            </a:prstGeom>
          </p:spPr>
          <p:txBody>
            <a:bodyPr anchor="ctr"/>
            <a:lstStyle/>
            <a:p>
              <a:pPr marL="1137" defTabSz="685781">
                <a:defRPr/>
              </a:pPr>
              <a:r>
                <a:rPr lang="ru-RU" b="1" u="sng" dirty="0">
                  <a:solidFill>
                    <a:prstClr val="black"/>
                  </a:solidFill>
                  <a:latin typeface="Calibri"/>
                  <a:ea typeface="+mj-ea"/>
                  <a:cs typeface="Arial" pitchFamily="34" charset="0"/>
                </a:rPr>
                <a:t>Хабаровск</a:t>
              </a:r>
              <a:endParaRPr lang="en-US" b="1" u="sng" dirty="0">
                <a:solidFill>
                  <a:prstClr val="black"/>
                </a:solidFill>
                <a:latin typeface="Calibri"/>
                <a:ea typeface="+mj-ea"/>
                <a:cs typeface="Arial" pitchFamily="34" charset="0"/>
              </a:endParaRPr>
            </a:p>
          </p:txBody>
        </p:sp>
      </p:grpSp>
      <p:sp>
        <p:nvSpPr>
          <p:cNvPr id="1323" name="Выноска 2 1322"/>
          <p:cNvSpPr/>
          <p:nvPr/>
        </p:nvSpPr>
        <p:spPr>
          <a:xfrm>
            <a:off x="1275779" y="1269311"/>
            <a:ext cx="2642034" cy="1340349"/>
          </a:xfrm>
          <a:prstGeom prst="borderCallout2">
            <a:avLst>
              <a:gd name="adj1" fmla="val 95886"/>
              <a:gd name="adj2" fmla="val 1240"/>
              <a:gd name="adj3" fmla="val 162278"/>
              <a:gd name="adj4" fmla="val 49972"/>
              <a:gd name="adj5" fmla="val 178544"/>
              <a:gd name="adj6" fmla="val 61079"/>
            </a:avLst>
          </a:prstGeom>
          <a:solidFill>
            <a:srgbClr val="D60018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>
              <a:lnSpc>
                <a:spcPts val="1145"/>
              </a:lnSpc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18643" y="781625"/>
            <a:ext cx="5542459" cy="273976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2100" b="1" dirty="0">
                <a:solidFill>
                  <a:schemeClr val="tx2"/>
                </a:solidFill>
                <a:latin typeface="Calibri"/>
              </a:rPr>
              <a:t>ТОСЭР «Комсомольск»</a:t>
            </a:r>
          </a:p>
        </p:txBody>
      </p:sp>
      <p:pic>
        <p:nvPicPr>
          <p:cNvPr id="28" name="Picture 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370" y="1286741"/>
            <a:ext cx="2610852" cy="13039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1" name="Прямоугольник 450"/>
          <p:cNvSpPr/>
          <p:nvPr/>
        </p:nvSpPr>
        <p:spPr>
          <a:xfrm>
            <a:off x="4122724" y="1301298"/>
            <a:ext cx="3618161" cy="1311617"/>
          </a:xfrm>
          <a:prstGeom prst="rect">
            <a:avLst/>
          </a:prstGeom>
          <a:solidFill>
            <a:schemeClr val="bg1">
              <a:lumMod val="85000"/>
              <a:alpha val="17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145"/>
              </a:lnSpc>
              <a:spcBef>
                <a:spcPts val="430"/>
              </a:spcBef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Якорный проект: </a:t>
            </a:r>
          </a:p>
          <a:p>
            <a:pPr defTabSz="685781">
              <a:lnSpc>
                <a:spcPts val="1145"/>
              </a:lnSpc>
              <a:spcBef>
                <a:spcPts val="430"/>
              </a:spcBef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Глубокая переработка древесины, производство фанеры и </a:t>
            </a:r>
            <a:r>
              <a:rPr lang="ru-RU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пеллет</a:t>
            </a:r>
            <a:endParaRPr lang="ru-RU" b="1" dirty="0">
              <a:solidFill>
                <a:prstClr val="black">
                  <a:lumMod val="75000"/>
                  <a:lumOff val="25000"/>
                </a:prstClr>
              </a:solidFill>
              <a:latin typeface="Calibri"/>
            </a:endParaRPr>
          </a:p>
          <a:p>
            <a:pPr defTabSz="685781">
              <a:lnSpc>
                <a:spcPts val="1145"/>
              </a:lnSpc>
              <a:spcBef>
                <a:spcPts val="430"/>
              </a:spcBef>
            </a:pPr>
            <a:endParaRPr lang="ru-RU" b="1" dirty="0">
              <a:solidFill>
                <a:prstClr val="black">
                  <a:lumMod val="75000"/>
                  <a:lumOff val="25000"/>
                </a:prstClr>
              </a:solidFill>
              <a:latin typeface="Calibri"/>
            </a:endParaRPr>
          </a:p>
          <a:p>
            <a:pPr defTabSz="685781">
              <a:lnSpc>
                <a:spcPts val="1145"/>
              </a:lnSpc>
              <a:spcBef>
                <a:spcPts val="430"/>
              </a:spcBef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Рабочие места – </a:t>
            </a:r>
            <a:r>
              <a:rPr lang="ru-RU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650 </a:t>
            </a: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чел.</a:t>
            </a:r>
          </a:p>
          <a:p>
            <a:pPr defTabSz="685781">
              <a:lnSpc>
                <a:spcPts val="1145"/>
              </a:lnSpc>
              <a:spcBef>
                <a:spcPts val="430"/>
              </a:spcBef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Этапы реализации – 2015–2018 гг.</a:t>
            </a:r>
          </a:p>
        </p:txBody>
      </p:sp>
      <p:pic>
        <p:nvPicPr>
          <p:cNvPr id="449" name="Picture 4" descr="C:\Users\User\Documents\! Хабаровск\ТОСЭР\Амурск\DSC0984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3284" y="2700397"/>
            <a:ext cx="2856911" cy="1929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" name="Picture 5" descr="C:\Users\User\Documents\! Хабаровск\ТОСЭР\Амурск\DSC0985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5764" y="2684672"/>
            <a:ext cx="1392525" cy="940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2" name="Picture 2" descr="C:\Users\User\Documents\! Хабаровск\ТОСЭР\Амурск\DSC0981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859" y="3697345"/>
            <a:ext cx="1374428" cy="92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6" name="Рисунок 6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519031" y="478478"/>
            <a:ext cx="6114944" cy="273976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2400" b="1" dirty="0">
                <a:solidFill>
                  <a:schemeClr val="bg1"/>
                </a:solidFill>
                <a:latin typeface="Calibri"/>
              </a:rPr>
              <a:t>Площадка в городе Амурске</a:t>
            </a:r>
          </a:p>
        </p:txBody>
      </p:sp>
    </p:spTree>
    <p:extLst>
      <p:ext uri="{BB962C8B-B14F-4D97-AF65-F5344CB8AC3E}">
        <p14:creationId xmlns:p14="http://schemas.microsoft.com/office/powerpoint/2010/main" val="334900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2" r="24251" b="9854"/>
          <a:stretch/>
        </p:blipFill>
        <p:spPr>
          <a:xfrm>
            <a:off x="5827023" y="1457886"/>
            <a:ext cx="2035091" cy="1183063"/>
          </a:xfrm>
          <a:prstGeom prst="rect">
            <a:avLst/>
          </a:prstGeom>
        </p:spPr>
      </p:pic>
      <p:pic>
        <p:nvPicPr>
          <p:cNvPr id="26" name="Рисунок 25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34" r="11077" b="8991"/>
          <a:stretch/>
        </p:blipFill>
        <p:spPr>
          <a:xfrm>
            <a:off x="3490273" y="1446570"/>
            <a:ext cx="2163475" cy="1194382"/>
          </a:xfrm>
          <a:prstGeom prst="rect">
            <a:avLst/>
          </a:prstGeom>
        </p:spPr>
      </p:pic>
      <p:pic>
        <p:nvPicPr>
          <p:cNvPr id="23" name="Рисунок 22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7" r="13695"/>
          <a:stretch/>
        </p:blipFill>
        <p:spPr>
          <a:xfrm>
            <a:off x="1264582" y="1429213"/>
            <a:ext cx="2043764" cy="1220306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2432594" y="2289244"/>
            <a:ext cx="732938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D60018"/>
                </a:solidFill>
                <a:latin typeface="Calibri"/>
              </a:rPr>
              <a:t>17,7 га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259137" y="1159133"/>
            <a:ext cx="2049215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b="1" dirty="0">
                <a:solidFill>
                  <a:prstClr val="white"/>
                </a:solidFill>
                <a:latin typeface="Calibri"/>
              </a:rPr>
              <a:t>Аэропорт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3490273" y="1159133"/>
            <a:ext cx="2163475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b="1" dirty="0">
                <a:solidFill>
                  <a:prstClr val="white"/>
                </a:solidFill>
                <a:latin typeface="Calibri"/>
              </a:rPr>
              <a:t>Авангард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865846" y="2281582"/>
            <a:ext cx="925382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D60018"/>
                </a:solidFill>
                <a:latin typeface="Calibri"/>
              </a:rPr>
              <a:t>520,1 га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827023" y="1164266"/>
            <a:ext cx="2035091" cy="27397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b="1" dirty="0">
                <a:solidFill>
                  <a:prstClr val="white"/>
                </a:solidFill>
                <a:latin typeface="Calibri"/>
              </a:rPr>
              <a:t>Ракитное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264589" y="4462289"/>
            <a:ext cx="6613960" cy="269703"/>
          </a:xfrm>
          <a:prstGeom prst="rect">
            <a:avLst/>
          </a:prstGeom>
          <a:solidFill>
            <a:schemeClr val="bg1">
              <a:lumMod val="75000"/>
              <a:alpha val="39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26" tIns="27713" rIns="55426" bIns="27713" rtlCol="0" anchor="ctr"/>
          <a:lstStyle/>
          <a:p>
            <a:pPr algn="ctr" defTabSz="685781"/>
            <a:endParaRPr lang="ru-RU" sz="1800" b="1" dirty="0">
              <a:solidFill>
                <a:srgbClr val="013A87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741781" y="2281582"/>
            <a:ext cx="782631" cy="317577"/>
          </a:xfrm>
          <a:prstGeom prst="rect">
            <a:avLst/>
          </a:prstGeom>
          <a:solidFill>
            <a:schemeClr val="accent3">
              <a:lumMod val="20000"/>
              <a:lumOff val="80000"/>
              <a:alpha val="63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55426" tIns="27713" rIns="55426" bIns="27713">
            <a:spAutoFit/>
          </a:bodyPr>
          <a:lstStyle/>
          <a:p>
            <a:pPr defTabSz="685781"/>
            <a:r>
              <a:rPr lang="ru-RU" sz="1700" b="1" dirty="0">
                <a:solidFill>
                  <a:srgbClr val="D60018"/>
                </a:solidFill>
                <a:latin typeface="Calibri"/>
              </a:rPr>
              <a:t>51,7 га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90273" y="2649518"/>
            <a:ext cx="2163475" cy="1749846"/>
          </a:xfrm>
          <a:prstGeom prst="rect">
            <a:avLst/>
          </a:prstGeom>
          <a:solidFill>
            <a:schemeClr val="bg1">
              <a:lumMod val="85000"/>
              <a:alpha val="17000"/>
            </a:schemeClr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Специализация:</a:t>
            </a:r>
            <a:r>
              <a:rPr lang="ru-RU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 </a:t>
            </a:r>
            <a:r>
              <a:rPr lang="ru-RU" sz="1100" b="1" dirty="0">
                <a:solidFill>
                  <a:srgbClr val="013A87"/>
                </a:solidFill>
                <a:latin typeface="Calibri"/>
              </a:rPr>
              <a:t>машиностроение, логистика, пищевая промышленность и другие</a:t>
            </a: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Тип –      </a:t>
            </a:r>
            <a:r>
              <a:rPr lang="en-US" b="1" dirty="0" smtClean="0">
                <a:solidFill>
                  <a:srgbClr val="013A87"/>
                </a:solidFill>
                <a:latin typeface="Calibri"/>
              </a:rPr>
              <a:t>brownfield</a:t>
            </a:r>
            <a:r>
              <a:rPr lang="ru-RU" b="1" dirty="0" smtClean="0">
                <a:solidFill>
                  <a:srgbClr val="013A87"/>
                </a:solidFill>
                <a:latin typeface="Calibri"/>
              </a:rPr>
              <a:t> </a:t>
            </a:r>
            <a:r>
              <a:rPr lang="ru-RU" b="1" dirty="0">
                <a:solidFill>
                  <a:srgbClr val="013A87"/>
                </a:solidFill>
                <a:latin typeface="Calibri"/>
              </a:rPr>
              <a:t>+</a:t>
            </a:r>
          </a:p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srgbClr val="013A87"/>
                </a:solidFill>
                <a:latin typeface="Calibri"/>
              </a:rPr>
              <a:t>                </a:t>
            </a:r>
            <a:r>
              <a:rPr lang="en-US" b="1" dirty="0">
                <a:solidFill>
                  <a:srgbClr val="013A87"/>
                </a:solidFill>
                <a:latin typeface="Calibri"/>
              </a:rPr>
              <a:t>greenfield</a:t>
            </a:r>
            <a:endParaRPr lang="ru-RU" b="1" dirty="0">
              <a:solidFill>
                <a:srgbClr val="013A87"/>
              </a:solidFill>
              <a:latin typeface="Calibr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827023" y="2649518"/>
            <a:ext cx="2035091" cy="1749846"/>
          </a:xfrm>
          <a:prstGeom prst="rect">
            <a:avLst/>
          </a:prstGeom>
          <a:solidFill>
            <a:schemeClr val="bg1">
              <a:lumMod val="85000"/>
              <a:alpha val="17000"/>
            </a:schemeClr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Специализация: </a:t>
            </a:r>
          </a:p>
          <a:p>
            <a:pPr defTabSz="685781">
              <a:lnSpc>
                <a:spcPts val="1091"/>
              </a:lnSpc>
            </a:pPr>
            <a:r>
              <a:rPr lang="ru-RU" sz="1100" b="1" spc="-68" dirty="0">
                <a:solidFill>
                  <a:srgbClr val="013A87"/>
                </a:solidFill>
                <a:latin typeface="Calibri"/>
              </a:rPr>
              <a:t>строительные материалы, металлургия, пищевая промышленность, логистика и другие</a:t>
            </a:r>
            <a:endParaRPr lang="ru-RU" sz="1100" b="1" spc="-68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75000"/>
                  <a:lumOff val="2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Тип –  </a:t>
            </a:r>
            <a:r>
              <a:rPr lang="en-US" b="1" dirty="0" smtClean="0">
                <a:solidFill>
                  <a:srgbClr val="013A87"/>
                </a:solidFill>
                <a:latin typeface="Calibri"/>
              </a:rPr>
              <a:t>brownfield</a:t>
            </a:r>
            <a:r>
              <a:rPr lang="ru-RU" b="1" dirty="0" smtClean="0">
                <a:solidFill>
                  <a:srgbClr val="013A87"/>
                </a:solidFill>
                <a:latin typeface="Calibri"/>
              </a:rPr>
              <a:t> </a:t>
            </a:r>
            <a:r>
              <a:rPr lang="ru-RU" b="1" dirty="0">
                <a:solidFill>
                  <a:srgbClr val="013A87"/>
                </a:solidFill>
                <a:latin typeface="Calibri"/>
              </a:rPr>
              <a:t>+</a:t>
            </a:r>
          </a:p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srgbClr val="013A87"/>
                </a:solidFill>
                <a:latin typeface="Calibri"/>
              </a:rPr>
              <a:t>            </a:t>
            </a:r>
            <a:r>
              <a:rPr lang="en-US" b="1" dirty="0">
                <a:solidFill>
                  <a:srgbClr val="013A87"/>
                </a:solidFill>
                <a:latin typeface="Calibri"/>
              </a:rPr>
              <a:t>greenfield</a:t>
            </a:r>
            <a:endParaRPr lang="ru-RU" b="1" dirty="0">
              <a:solidFill>
                <a:srgbClr val="013A87"/>
              </a:solidFill>
              <a:latin typeface="Calibri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259137" y="2649518"/>
            <a:ext cx="2049215" cy="1749846"/>
          </a:xfrm>
          <a:prstGeom prst="rect">
            <a:avLst/>
          </a:prstGeom>
          <a:solidFill>
            <a:schemeClr val="bg1">
              <a:lumMod val="85000"/>
              <a:alpha val="17000"/>
            </a:schemeClr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103090" tIns="103090" rIns="51545" bIns="25773">
            <a:noAutofit/>
          </a:bodyPr>
          <a:lstStyle/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srgbClr val="404040"/>
                </a:solidFill>
                <a:latin typeface="Calibri"/>
              </a:rPr>
              <a:t>Специализация: </a:t>
            </a:r>
            <a:r>
              <a:rPr lang="ru-RU" b="1" dirty="0">
                <a:solidFill>
                  <a:srgbClr val="013A87"/>
                </a:solidFill>
                <a:latin typeface="Calibri"/>
              </a:rPr>
              <a:t>аэропортовый комплекс, гостиничный и деловой центр</a:t>
            </a: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Тип – </a:t>
            </a:r>
            <a:r>
              <a:rPr lang="en-US" b="1" dirty="0" smtClean="0">
                <a:solidFill>
                  <a:srgbClr val="013A87"/>
                </a:solidFill>
                <a:latin typeface="Calibri"/>
              </a:rPr>
              <a:t>brownfield</a:t>
            </a:r>
            <a:endParaRPr lang="ru-RU" b="1" dirty="0">
              <a:solidFill>
                <a:srgbClr val="013A87"/>
              </a:solidFill>
              <a:latin typeface="Calibri"/>
            </a:endParaRPr>
          </a:p>
          <a:p>
            <a:pPr defTabSz="685781">
              <a:lnSpc>
                <a:spcPts val="1091"/>
              </a:lnSpc>
            </a:pPr>
            <a:endParaRPr lang="ru-RU" b="1" dirty="0">
              <a:solidFill>
                <a:prstClr val="black">
                  <a:lumMod val="75000"/>
                  <a:lumOff val="25000"/>
                </a:prstClr>
              </a:solidFill>
              <a:latin typeface="Calibri"/>
            </a:endParaRPr>
          </a:p>
          <a:p>
            <a:pPr algn="ctr" defTabSz="685781">
              <a:lnSpc>
                <a:spcPts val="716"/>
              </a:lnSpc>
              <a:spcBef>
                <a:spcPts val="430"/>
              </a:spcBef>
            </a:pPr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</a:endParaRPr>
          </a:p>
        </p:txBody>
      </p:sp>
      <p:pic>
        <p:nvPicPr>
          <p:cNvPr id="18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556452" y="474488"/>
            <a:ext cx="6102626" cy="273976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algn="ctr" defTabSz="685781">
              <a:lnSpc>
                <a:spcPts val="1718"/>
              </a:lnSpc>
            </a:pPr>
            <a:r>
              <a:rPr lang="ru-RU" sz="2100" b="1" dirty="0">
                <a:solidFill>
                  <a:schemeClr val="bg1"/>
                </a:solidFill>
                <a:latin typeface="Calibri"/>
              </a:rPr>
              <a:t>Площадки ТОСЭР «Хабаровск»</a:t>
            </a:r>
          </a:p>
        </p:txBody>
      </p:sp>
    </p:spTree>
    <p:extLst>
      <p:ext uri="{BB962C8B-B14F-4D97-AF65-F5344CB8AC3E}">
        <p14:creationId xmlns:p14="http://schemas.microsoft.com/office/powerpoint/2010/main" val="254334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743" y="81605"/>
            <a:ext cx="6858000" cy="73068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>
            <a:off x="1143002" y="5122174"/>
            <a:ext cx="6580212" cy="0"/>
          </a:xfrm>
          <a:prstGeom prst="line">
            <a:avLst/>
          </a:prstGeom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770123" y="498835"/>
            <a:ext cx="6114944" cy="300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sz="2100" b="1" dirty="0">
                <a:solidFill>
                  <a:prstClr val="white"/>
                </a:solidFill>
                <a:latin typeface="Calibri"/>
              </a:rPr>
              <a:t>Как стать резидентом ТОСЭР в Хабаровском крае</a:t>
            </a: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7583" y="897564"/>
          <a:ext cx="6696744" cy="270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981824005"/>
              </p:ext>
            </p:extLst>
          </p:nvPr>
        </p:nvGraphicFramePr>
        <p:xfrm>
          <a:off x="1193852" y="1221600"/>
          <a:ext cx="6763422" cy="34023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439652" y="4678006"/>
            <a:ext cx="6426714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Calibri"/>
              </a:rPr>
              <a:t>Управляющей компанией является АО «Корпорация развития Дальнего Востока» </a:t>
            </a:r>
          </a:p>
          <a:p>
            <a:pPr algn="ctr"/>
            <a:r>
              <a:rPr lang="ru-RU" sz="1200" b="1" dirty="0">
                <a:solidFill>
                  <a:prstClr val="black"/>
                </a:solidFill>
                <a:latin typeface="Calibri"/>
              </a:rPr>
              <a:t>100% акционер – Российская Федерация.</a:t>
            </a:r>
          </a:p>
        </p:txBody>
      </p:sp>
    </p:spTree>
    <p:extLst>
      <p:ext uri="{BB962C8B-B14F-4D97-AF65-F5344CB8AC3E}">
        <p14:creationId xmlns:p14="http://schemas.microsoft.com/office/powerpoint/2010/main" val="311578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143000" y="1479323"/>
            <a:ext cx="6642738" cy="1040852"/>
          </a:xfrm>
          <a:prstGeom prst="rect">
            <a:avLst/>
          </a:prstGeom>
        </p:spPr>
        <p:txBody>
          <a:bodyPr wrap="square" lIns="55426" tIns="27713" rIns="55426" bIns="27713">
            <a:spAutoFit/>
          </a:bodyPr>
          <a:lstStyle/>
          <a:p>
            <a:pPr indent="322316" algn="just" defTabSz="685781"/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322316" algn="just" defTabSz="685781"/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322316" algn="just" defTabSz="685781"/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322316" algn="just" defTabSz="685781"/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59102995"/>
              </p:ext>
            </p:extLst>
          </p:nvPr>
        </p:nvGraphicFramePr>
        <p:xfrm>
          <a:off x="1331642" y="1122342"/>
          <a:ext cx="6534726" cy="3548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Рисунок 6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66884" y="461905"/>
            <a:ext cx="5963675" cy="491984"/>
          </a:xfrm>
          <a:prstGeom prst="rect">
            <a:avLst/>
          </a:prstGeom>
          <a:noFill/>
          <a:effectLst/>
        </p:spPr>
        <p:txBody>
          <a:bodyPr wrap="square" lIns="55426" tIns="27713" rIns="55426" bIns="27713" rtlCol="0">
            <a:spAutoFit/>
          </a:bodyPr>
          <a:lstStyle/>
          <a:p>
            <a:pPr defTabSz="685781">
              <a:lnSpc>
                <a:spcPts val="1718"/>
              </a:lnSpc>
            </a:pPr>
            <a:r>
              <a:rPr lang="ru-RU" sz="2100" b="1" dirty="0">
                <a:solidFill>
                  <a:schemeClr val="bg1"/>
                </a:solidFill>
                <a:latin typeface="+mj-lt"/>
              </a:rPr>
              <a:t>Средние тарифы и арендные ставки для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118033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143004" y="3"/>
            <a:ext cx="695325" cy="3798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8" rIns="68564" bIns="34288" anchor="ctr"/>
          <a:lstStyle/>
          <a:p>
            <a:pPr eaLnBrk="1" hangingPunct="1">
              <a:defRPr/>
            </a:pPr>
            <a:r>
              <a:rPr lang="ru-RU" sz="800" dirty="0">
                <a:solidFill>
                  <a:prstClr val="white"/>
                </a:solidFill>
                <a:cs typeface="Times New Roman" pitchFamily="18" charset="0"/>
              </a:rPr>
              <a:t>Строительные матер</a:t>
            </a: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  <a:p>
            <a:pPr eaLnBrk="1" hangingPunct="1">
              <a:defRPr/>
            </a:pPr>
            <a:endParaRPr lang="ru-RU" sz="800" dirty="0">
              <a:solidFill>
                <a:srgbClr val="002060"/>
              </a:solidFill>
              <a:cs typeface="Times New Roman" pitchFamily="18" charset="0"/>
            </a:endParaRPr>
          </a:p>
        </p:txBody>
      </p:sp>
      <p:pic>
        <p:nvPicPr>
          <p:cNvPr id="12292" name="Рисунок 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-7144"/>
            <a:ext cx="6858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838326" y="466748"/>
            <a:ext cx="6162675" cy="327778"/>
          </a:xfrm>
          <a:prstGeom prst="rect">
            <a:avLst/>
          </a:prstGeom>
        </p:spPr>
        <p:txBody>
          <a:bodyPr wrap="square" lIns="68564" tIns="34288" rIns="68564" bIns="34288">
            <a:spAutoFit/>
          </a:bodyPr>
          <a:lstStyle/>
          <a:p>
            <a:pPr algn="ctr" eaLnBrk="1" hangingPunct="1">
              <a:lnSpc>
                <a:spcPct val="80000"/>
              </a:lnSpc>
              <a:buClr>
                <a:srgbClr val="000000"/>
              </a:buClr>
              <a:buSzPct val="100000"/>
              <a:defRPr/>
            </a:pPr>
            <a:r>
              <a:rPr lang="ru-RU" altLang="ru-RU" sz="2100" b="1" dirty="0">
                <a:ln w="12700">
                  <a:noFill/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ea typeface="DFKai-SB"/>
                <a:cs typeface="Arial" panose="020B0604020202020204" pitchFamily="34" charset="0"/>
              </a:rPr>
              <a:t>Успешные проекты с иностранными инвесторами</a:t>
            </a:r>
          </a:p>
        </p:txBody>
      </p:sp>
      <p:pic>
        <p:nvPicPr>
          <p:cNvPr id="6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0" y="797669"/>
            <a:ext cx="3240000" cy="215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2" descr="http://gov27.ru/service/home/~/?auth=co&amp;loc=ru&amp;id=9357&amp;part=7"/>
          <p:cNvSpPr>
            <a:spLocks noChangeAspect="1" noChangeArrowheads="1"/>
          </p:cNvSpPr>
          <p:nvPr/>
        </p:nvSpPr>
        <p:spPr bwMode="auto">
          <a:xfrm>
            <a:off x="1259681" y="-10833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://gov27.ru/service/home/~/?auth=co&amp;loc=ru&amp;id=9357&amp;part=7"/>
          <p:cNvSpPr>
            <a:spLocks noChangeAspect="1" noChangeArrowheads="1"/>
          </p:cNvSpPr>
          <p:nvPr/>
        </p:nvSpPr>
        <p:spPr bwMode="auto">
          <a:xfrm>
            <a:off x="1373981" y="596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6" descr="http://gov27.ru/service/home/~/?auth=co&amp;loc=ru&amp;id=9357&amp;part=7"/>
          <p:cNvSpPr>
            <a:spLocks noChangeAspect="1" noChangeArrowheads="1"/>
          </p:cNvSpPr>
          <p:nvPr/>
        </p:nvSpPr>
        <p:spPr bwMode="auto">
          <a:xfrm>
            <a:off x="1488281" y="120269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64" tIns="34288" rIns="68564" bIns="3428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5" name="Picture 7" descr="C:\Users\avprotasov\Downloads\Де-Кастри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91" y="797669"/>
            <a:ext cx="3240000" cy="215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 descr="C:\Documents and Settings\eyivanova\Рабочий стол\Сахалин 1.png"/>
          <p:cNvPicPr>
            <a:picLocks noChangeAspect="1"/>
          </p:cNvPicPr>
          <p:nvPr/>
        </p:nvPicPr>
        <p:blipFill rotWithShape="1">
          <a:blip r:embed="rId5" cstate="print"/>
          <a:srcRect l="19107" t="10184" r="14279"/>
          <a:stretch/>
        </p:blipFill>
        <p:spPr bwMode="auto">
          <a:xfrm>
            <a:off x="4680013" y="782576"/>
            <a:ext cx="680685" cy="69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7" name="Picture 9" descr="C:\Users\avprotasov\Downloads\римбунан 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3970" y="3952341"/>
            <a:ext cx="1674000" cy="111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Users\avprotasov\Downloads\римбунан 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612" y="2972785"/>
            <a:ext cx="1674000" cy="111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 descr="C:\Documents and Settings\eyivanova\Рабочий стол\Римбунан.gif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84606" y="4023418"/>
            <a:ext cx="972000" cy="1046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0" name="Picture 12" descr="http://www.bbraun-avitum.ru/images/Khab_small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970" y="3425336"/>
            <a:ext cx="2187000" cy="1640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https://www.khabkrai.ru/photos/230_x92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244" y="2939370"/>
            <a:ext cx="1836000" cy="1224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https://www.khabkrai.ru/photos/231_x922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949" y="3918871"/>
            <a:ext cx="1836000" cy="114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Рисунок 23" descr="JGC Evergreen"/>
          <p:cNvPicPr>
            <a:picLocks noChangeAspect="1"/>
          </p:cNvPicPr>
          <p:nvPr/>
        </p:nvPicPr>
        <p:blipFill rotWithShape="1">
          <a:blip r:embed="rId12" cstate="print"/>
          <a:srcRect l="5641" t="35714" r="5897" b="36905"/>
          <a:stretch/>
        </p:blipFill>
        <p:spPr bwMode="auto">
          <a:xfrm>
            <a:off x="5616953" y="3813912"/>
            <a:ext cx="2330295" cy="353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 descr="C:\Users\iaseredin\Desktop\Иван Алексеевич\ПИСЬМА\Япония\Сухой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078" y="823398"/>
            <a:ext cx="2946240" cy="81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iaseredin\Desktop\Иван Алексеевич\ПИСЬМА\Япония\Эксон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952" y="519522"/>
            <a:ext cx="1515908" cy="1242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iaseredin\Desktop\Иван Алексеевич\ПИСЬМА\Япония\Б Браун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988" y="2949793"/>
            <a:ext cx="2218979" cy="47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5701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1"/>
          <p:cNvGrpSpPr/>
          <p:nvPr/>
        </p:nvGrpSpPr>
        <p:grpSpPr>
          <a:xfrm>
            <a:off x="1143000" y="3"/>
            <a:ext cx="6858000" cy="750094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14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1957305" y="113438"/>
            <a:ext cx="5693039" cy="3257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>
              <a:lnSpc>
                <a:spcPts val="2000"/>
              </a:lnSpc>
              <a:defRPr sz="2800" b="1">
                <a:solidFill>
                  <a:srgbClr val="0070C0"/>
                </a:solidFill>
              </a:defRPr>
            </a:lvl1pPr>
          </a:lstStyle>
          <a:p>
            <a:pPr algn="ctr"/>
            <a:r>
              <a:rPr lang="ru-RU" sz="2400" dirty="0">
                <a:latin typeface="Calibri"/>
              </a:rPr>
              <a:t>Режимы привлечения инвестиций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143000" y="5122177"/>
            <a:ext cx="6561348" cy="21326"/>
          </a:xfrm>
          <a:prstGeom prst="line">
            <a:avLst/>
          </a:prstGeom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979713" y="465516"/>
            <a:ext cx="5542459" cy="3000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400" b="1" dirty="0">
                <a:solidFill>
                  <a:prstClr val="white"/>
                </a:solidFill>
                <a:latin typeface="Calibri"/>
              </a:rPr>
              <a:t>на территории Хабаровского края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979061"/>
              </p:ext>
            </p:extLst>
          </p:nvPr>
        </p:nvGraphicFramePr>
        <p:xfrm>
          <a:off x="617517" y="743243"/>
          <a:ext cx="7908966" cy="413751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90837"/>
                <a:gridCol w="1086117"/>
                <a:gridCol w="1384956"/>
                <a:gridCol w="1320767"/>
                <a:gridCol w="1086257"/>
                <a:gridCol w="1140032"/>
              </a:tblGrid>
              <a:tr h="842304"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500" b="1" u="none" strike="noStrike" dirty="0">
                          <a:effectLst/>
                        </a:rPr>
                        <a:t>Виды налогов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500" b="1" u="none" strike="noStrike" dirty="0" smtClean="0">
                          <a:effectLst/>
                        </a:rPr>
                        <a:t>Обычный</a:t>
                      </a:r>
                      <a:r>
                        <a:rPr lang="ru-RU" sz="1500" b="1" u="none" strike="noStrike" baseline="0" dirty="0" smtClean="0">
                          <a:effectLst/>
                        </a:rPr>
                        <a:t> налоговый режим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400" b="1" u="none" strike="noStrike" dirty="0">
                          <a:effectLst/>
                        </a:rPr>
                        <a:t>Приоритетный </a:t>
                      </a:r>
                      <a:r>
                        <a:rPr lang="ru-RU" sz="1400" b="1" u="none" strike="noStrike" dirty="0" err="1" smtClean="0">
                          <a:effectLst/>
                        </a:rPr>
                        <a:t>инвестицион-ный</a:t>
                      </a:r>
                      <a:r>
                        <a:rPr lang="ru-RU" sz="1400" b="1" u="none" strike="noStrike" dirty="0" smtClean="0">
                          <a:effectLst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про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400" b="1" u="none" strike="noStrike" dirty="0">
                          <a:effectLst/>
                        </a:rPr>
                        <a:t>Региональный </a:t>
                      </a:r>
                      <a:r>
                        <a:rPr lang="ru-RU" sz="1400" b="1" u="none" strike="noStrike" dirty="0" err="1" smtClean="0">
                          <a:effectLst/>
                        </a:rPr>
                        <a:t>инвестицион-ный</a:t>
                      </a:r>
                      <a:r>
                        <a:rPr lang="ru-RU" sz="1400" b="1" u="none" strike="noStrike" dirty="0" smtClean="0">
                          <a:effectLst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про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500" b="1" u="none" strike="noStrike" dirty="0">
                          <a:effectLst/>
                        </a:rPr>
                        <a:t>ТОСЭР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400"/>
                        </a:lnSpc>
                      </a:pPr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ПВ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39655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>
                          <a:effectLst/>
                        </a:rPr>
                        <a:t>Налог на прибыль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20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5,5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0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0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%*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</a:tr>
              <a:tr h="566092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>
                          <a:effectLst/>
                        </a:rPr>
                        <a:t>Налог на имущество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2,2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,1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,1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0%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%*</a:t>
                      </a:r>
                    </a:p>
                  </a:txBody>
                  <a:tcPr marL="7144" marR="7144" marT="7144" marB="0" anchor="ctr"/>
                </a:tc>
              </a:tr>
              <a:tr h="339655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 smtClean="0">
                          <a:effectLst/>
                        </a:rPr>
                        <a:t>Земельный налог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,5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,5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1,5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0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%*</a:t>
                      </a:r>
                    </a:p>
                  </a:txBody>
                  <a:tcPr marL="7144" marR="7144" marT="7144" marB="0" anchor="ctr"/>
                </a:tc>
              </a:tr>
              <a:tr h="479333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 smtClean="0">
                          <a:effectLst/>
                        </a:rPr>
                        <a:t>Социальные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налог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30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30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30%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u="none" strike="noStrike" dirty="0" smtClean="0">
                          <a:effectLst/>
                        </a:rPr>
                        <a:t>7,6%</a:t>
                      </a: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**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,6%**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7144" marB="0" anchor="ctr"/>
                </a:tc>
              </a:tr>
              <a:tr h="566092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 smtClean="0">
                          <a:effectLst/>
                        </a:rPr>
                        <a:t>Режим свободной таможенной зон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Есть</a:t>
                      </a:r>
                      <a:endParaRPr lang="ru-RU" sz="1500" u="none" strike="noStrike" dirty="0" smtClean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Есть</a:t>
                      </a:r>
                    </a:p>
                  </a:txBody>
                  <a:tcPr marL="4763" marR="4763" marT="4763" marB="0" anchor="ctr"/>
                </a:tc>
              </a:tr>
              <a:tr h="719377">
                <a:tc>
                  <a:txBody>
                    <a:bodyPr/>
                    <a:lstStyle/>
                    <a:p>
                      <a:pPr algn="l" fontAlgn="b">
                        <a:lnSpc>
                          <a:spcPts val="1200"/>
                        </a:lnSpc>
                      </a:pPr>
                      <a:r>
                        <a:rPr lang="ru-RU" sz="1400" u="none" strike="noStrike" dirty="0" smtClean="0">
                          <a:effectLst/>
                        </a:rPr>
                        <a:t>Привлечение иностранной рабочей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сил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effectLst/>
                        </a:rPr>
                        <a:t>Без преференци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effectLst/>
                        </a:rPr>
                        <a:t>Без преференци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effectLst/>
                        </a:rPr>
                        <a:t>Без преференци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effectLst/>
                        </a:rPr>
                        <a:t>С преференциями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С преференциями</a:t>
                      </a: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</a:tr>
              <a:tr h="285007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effectLst/>
                        </a:rPr>
                        <a:t>Инфраструктур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нет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 smtClean="0">
                          <a:effectLst/>
                        </a:rPr>
                        <a:t>есть</a:t>
                      </a:r>
                      <a:endParaRPr lang="ru-RU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нет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76227" y="4922816"/>
            <a:ext cx="6791546" cy="1993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>
                <a:solidFill>
                  <a:schemeClr val="tx1"/>
                </a:solidFill>
              </a:rPr>
              <a:t>* в течение 5 лет      ** в течение 10 лет   </a:t>
            </a:r>
          </a:p>
        </p:txBody>
      </p:sp>
    </p:spTree>
    <p:extLst>
      <p:ext uri="{BB962C8B-B14F-4D97-AF65-F5344CB8AC3E}">
        <p14:creationId xmlns:p14="http://schemas.microsoft.com/office/powerpoint/2010/main" val="7565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1"/>
          <p:cNvGrpSpPr/>
          <p:nvPr/>
        </p:nvGrpSpPr>
        <p:grpSpPr>
          <a:xfrm>
            <a:off x="1143000" y="3"/>
            <a:ext cx="6858000" cy="750094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14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1957305" y="113441"/>
            <a:ext cx="5693039" cy="58221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>
              <a:lnSpc>
                <a:spcPts val="2000"/>
              </a:lnSpc>
              <a:defRPr sz="2800" b="1">
                <a:solidFill>
                  <a:srgbClr val="0070C0"/>
                </a:solidFill>
              </a:defRPr>
            </a:lvl1pPr>
          </a:lstStyle>
          <a:p>
            <a:pPr algn="ctr"/>
            <a:r>
              <a:rPr lang="ru-RU" dirty="0">
                <a:latin typeface="Calibri"/>
              </a:rPr>
              <a:t>Сравнение преференциальных режимов </a:t>
            </a:r>
          </a:p>
        </p:txBody>
      </p:sp>
      <p:sp>
        <p:nvSpPr>
          <p:cNvPr id="25" name="Выноска 2 24"/>
          <p:cNvSpPr/>
          <p:nvPr/>
        </p:nvSpPr>
        <p:spPr>
          <a:xfrm>
            <a:off x="1664693" y="695651"/>
            <a:ext cx="6336307" cy="603690"/>
          </a:xfrm>
          <a:prstGeom prst="borderCallout2">
            <a:avLst>
              <a:gd name="adj1" fmla="val 101339"/>
              <a:gd name="adj2" fmla="val 2166"/>
              <a:gd name="adj3" fmla="val 102457"/>
              <a:gd name="adj4" fmla="val 664"/>
              <a:gd name="adj5" fmla="val 101576"/>
              <a:gd name="adj6" fmla="val 1592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dirty="0">
                <a:solidFill>
                  <a:schemeClr val="bg1"/>
                </a:solidFill>
              </a:rPr>
              <a:t>Инвестиции в </a:t>
            </a:r>
            <a:r>
              <a:rPr lang="ru-RU" dirty="0" smtClean="0">
                <a:solidFill>
                  <a:schemeClr val="bg1"/>
                </a:solidFill>
              </a:rPr>
              <a:t>условный проект – </a:t>
            </a:r>
            <a:r>
              <a:rPr lang="ru-RU" b="1" dirty="0" smtClean="0">
                <a:solidFill>
                  <a:schemeClr val="bg1"/>
                </a:solidFill>
              </a:rPr>
              <a:t>50 </a:t>
            </a:r>
            <a:r>
              <a:rPr lang="ru-RU" b="1" dirty="0">
                <a:solidFill>
                  <a:schemeClr val="bg1"/>
                </a:solidFill>
              </a:rPr>
              <a:t>млн. </a:t>
            </a:r>
            <a:r>
              <a:rPr lang="en-US" b="1" dirty="0" smtClean="0">
                <a:solidFill>
                  <a:schemeClr val="bg1"/>
                </a:solidFill>
              </a:rPr>
              <a:t>$</a:t>
            </a:r>
            <a:endParaRPr lang="ru-RU" b="1" dirty="0">
              <a:solidFill>
                <a:schemeClr val="bg1"/>
              </a:solidFill>
            </a:endParaRPr>
          </a:p>
          <a:p>
            <a:pPr algn="ctr">
              <a:lnSpc>
                <a:spcPts val="1500"/>
              </a:lnSpc>
            </a:pPr>
            <a:r>
              <a:rPr lang="ru-RU" dirty="0">
                <a:solidFill>
                  <a:schemeClr val="bg1"/>
                </a:solidFill>
              </a:rPr>
              <a:t>Штат – </a:t>
            </a:r>
            <a:r>
              <a:rPr lang="ru-RU" b="1" dirty="0">
                <a:solidFill>
                  <a:schemeClr val="bg1"/>
                </a:solidFill>
              </a:rPr>
              <a:t>300 человек </a:t>
            </a:r>
            <a:r>
              <a:rPr lang="en-US" b="1" dirty="0">
                <a:solidFill>
                  <a:schemeClr val="bg1"/>
                </a:solidFill>
              </a:rPr>
              <a:t>(</a:t>
            </a:r>
            <a:r>
              <a:rPr lang="ru-RU" b="1" dirty="0">
                <a:solidFill>
                  <a:schemeClr val="bg1"/>
                </a:solidFill>
              </a:rPr>
              <a:t>средняя заработная плата -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806</a:t>
            </a:r>
            <a:r>
              <a:rPr lang="en-US" b="1" dirty="0" smtClean="0">
                <a:solidFill>
                  <a:schemeClr val="bg1"/>
                </a:solidFill>
              </a:rPr>
              <a:t> $</a:t>
            </a:r>
            <a:r>
              <a:rPr lang="ru-RU" b="1" dirty="0" smtClean="0">
                <a:solidFill>
                  <a:schemeClr val="bg1"/>
                </a:solidFill>
              </a:rPr>
              <a:t>)</a:t>
            </a:r>
            <a:endParaRPr lang="ru-RU" b="1" dirty="0">
              <a:solidFill>
                <a:schemeClr val="bg1"/>
              </a:solidFill>
            </a:endParaRPr>
          </a:p>
          <a:p>
            <a:pPr algn="ctr">
              <a:lnSpc>
                <a:spcPts val="1500"/>
              </a:lnSpc>
            </a:pPr>
            <a:r>
              <a:rPr lang="ru-RU" dirty="0">
                <a:solidFill>
                  <a:schemeClr val="bg1"/>
                </a:solidFill>
              </a:rPr>
              <a:t>Фонд оплаты труда – </a:t>
            </a:r>
            <a:r>
              <a:rPr lang="en-US" b="1" dirty="0" smtClean="0">
                <a:solidFill>
                  <a:schemeClr val="bg1"/>
                </a:solidFill>
              </a:rPr>
              <a:t>2,</a:t>
            </a:r>
            <a:r>
              <a:rPr lang="ru-RU" b="1" dirty="0" smtClean="0">
                <a:solidFill>
                  <a:schemeClr val="bg1"/>
                </a:solidFill>
              </a:rPr>
              <a:t>9 </a:t>
            </a:r>
            <a:r>
              <a:rPr lang="ru-RU" b="1" dirty="0">
                <a:solidFill>
                  <a:schemeClr val="bg1"/>
                </a:solidFill>
              </a:rPr>
              <a:t>млн. </a:t>
            </a:r>
            <a:r>
              <a:rPr lang="en-US" b="1" dirty="0" smtClean="0">
                <a:solidFill>
                  <a:schemeClr val="bg1"/>
                </a:solidFill>
              </a:rPr>
              <a:t>$</a:t>
            </a:r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/ год</a:t>
            </a:r>
            <a:r>
              <a:rPr lang="ru-RU" dirty="0">
                <a:solidFill>
                  <a:schemeClr val="bg1"/>
                </a:solidFill>
              </a:rPr>
              <a:t>, прибыль – </a:t>
            </a:r>
            <a:r>
              <a:rPr lang="ru-RU" b="1" dirty="0" smtClean="0">
                <a:solidFill>
                  <a:schemeClr val="bg1"/>
                </a:solidFill>
              </a:rPr>
              <a:t>1</a:t>
            </a:r>
            <a:r>
              <a:rPr lang="en-US" b="1" dirty="0" smtClean="0">
                <a:solidFill>
                  <a:schemeClr val="bg1"/>
                </a:solidFill>
              </a:rPr>
              <a:t>,</a:t>
            </a:r>
            <a:r>
              <a:rPr lang="ru-RU" b="1" dirty="0" smtClean="0">
                <a:solidFill>
                  <a:schemeClr val="bg1"/>
                </a:solidFill>
              </a:rPr>
              <a:t>6 </a:t>
            </a:r>
            <a:r>
              <a:rPr lang="ru-RU" b="1" dirty="0">
                <a:solidFill>
                  <a:schemeClr val="bg1"/>
                </a:solidFill>
              </a:rPr>
              <a:t>млн. </a:t>
            </a:r>
            <a:r>
              <a:rPr lang="en-US" b="1" dirty="0">
                <a:solidFill>
                  <a:schemeClr val="bg1"/>
                </a:solidFill>
              </a:rPr>
              <a:t>$</a:t>
            </a:r>
            <a:r>
              <a:rPr lang="en-US" b="1" dirty="0" smtClean="0">
                <a:solidFill>
                  <a:schemeClr val="bg1"/>
                </a:solidFill>
              </a:rPr>
              <a:t>/</a:t>
            </a:r>
            <a:r>
              <a:rPr lang="ru-RU" b="1" dirty="0">
                <a:solidFill>
                  <a:schemeClr val="bg1"/>
                </a:solidFill>
              </a:rPr>
              <a:t>год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263927"/>
              </p:ext>
            </p:extLst>
          </p:nvPr>
        </p:nvGraphicFramePr>
        <p:xfrm>
          <a:off x="1365664" y="1381933"/>
          <a:ext cx="6911437" cy="37127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6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20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6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687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5002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2127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58563"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Вид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налог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Без льгот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Приоритетный инвестиционный проект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Региональный инвестиционный проект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СЭР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8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СПВ</a:t>
                      </a:r>
                      <a:endParaRPr lang="en-US" sz="1100" b="1" u="none" strike="noStrik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350" marR="6350" marT="4763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2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ог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на прибыль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,0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,0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ог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на имущество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1,0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8,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1,0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,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065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Единый социальный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лог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8,7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8,7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8,7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,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,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1352">
                <a:tc>
                  <a:txBody>
                    <a:bodyPr/>
                    <a:lstStyle/>
                    <a:p>
                      <a:pPr algn="ctr" fontAlgn="b">
                        <a:lnSpc>
                          <a:spcPts val="1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НДФЛ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56839"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2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латежи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в бюджет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7</a:t>
                      </a:r>
                    </a:p>
                  </a:txBody>
                  <a:tcPr marL="0" marR="0" marT="0" marB="0" anchor="b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4</a:t>
                      </a:r>
                    </a:p>
                  </a:txBody>
                  <a:tcPr marL="0" marR="0" marT="0" marB="0" anchor="b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4</a:t>
                      </a:r>
                    </a:p>
                  </a:txBody>
                  <a:tcPr marL="0" marR="0" marT="0" marB="0" anchor="b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065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Экономия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на платежах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0" marR="0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0" marR="0" marT="0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037509"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4763" marB="0" anchor="b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929502"/>
              </p:ext>
            </p:extLst>
          </p:nvPr>
        </p:nvGraphicFramePr>
        <p:xfrm>
          <a:off x="3038870" y="2291938"/>
          <a:ext cx="6105130" cy="1233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ятиугольник 9"/>
          <p:cNvSpPr/>
          <p:nvPr/>
        </p:nvSpPr>
        <p:spPr>
          <a:xfrm>
            <a:off x="1547665" y="2578817"/>
            <a:ext cx="1528123" cy="946223"/>
          </a:xfrm>
          <a:prstGeom prst="homePlate">
            <a:avLst>
              <a:gd name="adj" fmla="val 19801"/>
            </a:avLst>
          </a:prstGeom>
          <a:solidFill>
            <a:srgbClr val="E9ED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сновные платежи в бюджет за 10 лет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1510746" y="4075137"/>
            <a:ext cx="1528123" cy="913983"/>
          </a:xfrm>
          <a:prstGeom prst="homePlate">
            <a:avLst>
              <a:gd name="adj" fmla="val 19801"/>
            </a:avLst>
          </a:prstGeom>
          <a:solidFill>
            <a:srgbClr val="E9ED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lnSpc>
                <a:spcPts val="12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Экономия за 10 лет</a:t>
            </a: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739674792"/>
              </p:ext>
            </p:extLst>
          </p:nvPr>
        </p:nvGraphicFramePr>
        <p:xfrm>
          <a:off x="3075788" y="4075137"/>
          <a:ext cx="5035059" cy="913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12001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187910"/>
              </p:ext>
            </p:extLst>
          </p:nvPr>
        </p:nvGraphicFramePr>
        <p:xfrm>
          <a:off x="1390872" y="783810"/>
          <a:ext cx="6362255" cy="43146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8146"/>
                <a:gridCol w="761899"/>
                <a:gridCol w="448221"/>
                <a:gridCol w="448221"/>
                <a:gridCol w="448221"/>
                <a:gridCol w="448221"/>
                <a:gridCol w="448221"/>
                <a:gridCol w="448221"/>
                <a:gridCol w="448221"/>
                <a:gridCol w="448221"/>
                <a:gridCol w="448221"/>
                <a:gridCol w="448221"/>
              </a:tblGrid>
              <a:tr h="251727"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/>
                        <a:t>Вид льгот</a:t>
                      </a:r>
                      <a:endParaRPr lang="ru-RU" sz="1200" dirty="0"/>
                    </a:p>
                  </a:txBody>
                  <a:tcPr marL="61724" marR="61724" marT="30862" marB="30862" anchor="ctr">
                    <a:solidFill>
                      <a:srgbClr val="013A8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Без льгот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60018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u="none" dirty="0" smtClean="0"/>
                        <a:t>Льготный период для резидентов,</a:t>
                      </a:r>
                      <a:r>
                        <a:rPr lang="ru-RU" sz="1200" u="none" baseline="0" dirty="0" smtClean="0"/>
                        <a:t> годы</a:t>
                      </a:r>
                      <a:endParaRPr lang="ru-RU" sz="1200" i="1" u="none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>
                    <a:solidFill>
                      <a:srgbClr val="013A8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749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2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3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4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5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6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7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8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B87"/>
                          </a:solidFill>
                        </a:rPr>
                        <a:t>9</a:t>
                      </a:r>
                      <a:endParaRPr lang="ru-RU" sz="1900" b="1" dirty="0">
                        <a:solidFill>
                          <a:srgbClr val="013B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Bef>
                          <a:spcPts val="300"/>
                        </a:spcBef>
                      </a:pPr>
                      <a:r>
                        <a:rPr lang="ru-RU" sz="1900" b="1" dirty="0" smtClean="0">
                          <a:solidFill>
                            <a:srgbClr val="013B87"/>
                          </a:solidFill>
                        </a:rPr>
                        <a:t>10</a:t>
                      </a:r>
                      <a:endParaRPr lang="ru-RU" sz="1900" b="1" dirty="0">
                        <a:solidFill>
                          <a:srgbClr val="013B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274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dirty="0" smtClean="0"/>
                        <a:t>Налог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dirty="0" smtClean="0"/>
                        <a:t>на прибыль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/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D60018"/>
                          </a:solidFill>
                        </a:rPr>
                        <a:t>20 %</a:t>
                      </a:r>
                      <a:endParaRPr lang="ru-RU" sz="1600" b="1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/>
                </a:tc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i="1" dirty="0">
                        <a:solidFill>
                          <a:srgbClr val="00B050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6147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1100" dirty="0" smtClean="0"/>
                        <a:t>- федеральный</a:t>
                      </a:r>
                      <a:endParaRPr lang="ru-RU" sz="1100" dirty="0"/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0%  - </a:t>
                      </a:r>
                      <a:r>
                        <a:rPr lang="ru-RU" sz="12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с момента получения прибыли</a:t>
                      </a:r>
                      <a:endParaRPr lang="ru-RU" sz="1200" b="1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2%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561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- региональный</a:t>
                      </a:r>
                      <a:endParaRPr lang="ru-RU" sz="1100" dirty="0"/>
                    </a:p>
                  </a:txBody>
                  <a:tcPr marL="61724" marR="61724" marT="30862" marB="30862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0% -  </a:t>
                      </a:r>
                      <a:r>
                        <a:rPr lang="ru-RU" sz="12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с момента получения прибыли</a:t>
                      </a:r>
                      <a:endParaRPr lang="ru-RU" sz="1200" b="1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10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561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лог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 имущество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D60018"/>
                          </a:solidFill>
                        </a:rPr>
                        <a:t>2,2%</a:t>
                      </a:r>
                      <a:endParaRPr lang="ru-RU" sz="1600" b="1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 0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1,1%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45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лог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 добычу     полезных ископаемых</a:t>
                      </a:r>
                      <a:r>
                        <a:rPr lang="en-US" sz="1100" u="none" kern="1200" dirty="0" smtClean="0"/>
                        <a:t> </a:t>
                      </a:r>
                      <a:endParaRPr lang="ru-RU" sz="1100" b="1" i="0" u="non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2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,2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,4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,</a:t>
                      </a:r>
                      <a:r>
                        <a:rPr lang="en-US" sz="1600" b="1" dirty="0" smtClean="0">
                          <a:solidFill>
                            <a:srgbClr val="013A87"/>
                          </a:solidFill>
                        </a:rPr>
                        <a:t>6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dirty="0" smtClean="0">
                          <a:solidFill>
                            <a:srgbClr val="013A87"/>
                          </a:solidFill>
                        </a:rPr>
                        <a:t>0,8</a:t>
                      </a:r>
                      <a:endParaRPr lang="ru-RU" sz="16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827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Не налоговые льгот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2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>
                          <a:solidFill>
                            <a:srgbClr val="013A87"/>
                          </a:solidFill>
                        </a:rPr>
                        <a:t>Льготный</a:t>
                      </a:r>
                      <a:r>
                        <a:rPr lang="ru-RU" sz="1200" baseline="0" dirty="0" smtClean="0">
                          <a:solidFill>
                            <a:srgbClr val="013A87"/>
                          </a:solidFill>
                        </a:rPr>
                        <a:t> таможенный режим, инфраструктура, иностранная рабочая сила, особый порядок разрешительных процедур</a:t>
                      </a:r>
                      <a:endParaRPr lang="ru-RU" sz="120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59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Отчисления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 социальные нужды</a:t>
                      </a:r>
                      <a:endParaRPr lang="ru-RU" sz="1100" b="1" i="0" u="non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D60018"/>
                          </a:solidFill>
                        </a:rPr>
                        <a:t>30 %</a:t>
                      </a:r>
                    </a:p>
                  </a:txBody>
                  <a:tcPr marL="61724" marR="61724" marT="30862" marB="30862" anchor="ctr"/>
                </a:tc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500" b="1" kern="1200" dirty="0" smtClean="0">
                          <a:solidFill>
                            <a:srgbClr val="013A87"/>
                          </a:solidFill>
                          <a:effectLst/>
                        </a:rPr>
                        <a:t>7,6%</a:t>
                      </a:r>
                      <a:endParaRPr lang="ru-RU" sz="1600" b="1" i="1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" name="Группа 11"/>
          <p:cNvGrpSpPr/>
          <p:nvPr/>
        </p:nvGrpSpPr>
        <p:grpSpPr>
          <a:xfrm>
            <a:off x="1485809" y="2"/>
            <a:ext cx="6172382" cy="791035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7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" name="TextBox 10"/>
          <p:cNvSpPr txBox="1"/>
          <p:nvPr/>
        </p:nvSpPr>
        <p:spPr>
          <a:xfrm>
            <a:off x="1820814" y="13246"/>
            <a:ext cx="6027251" cy="807913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Основные льготы и преференции резидентам ТОСЭР</a:t>
            </a:r>
          </a:p>
        </p:txBody>
      </p:sp>
    </p:spTree>
    <p:extLst>
      <p:ext uri="{BB962C8B-B14F-4D97-AF65-F5344CB8AC3E}">
        <p14:creationId xmlns:p14="http://schemas.microsoft.com/office/powerpoint/2010/main" val="3150128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11"/>
          <p:cNvGrpSpPr/>
          <p:nvPr/>
        </p:nvGrpSpPr>
        <p:grpSpPr>
          <a:xfrm>
            <a:off x="1485809" y="2"/>
            <a:ext cx="6172382" cy="791035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7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" name="TextBox 10"/>
          <p:cNvSpPr txBox="1"/>
          <p:nvPr/>
        </p:nvSpPr>
        <p:spPr>
          <a:xfrm>
            <a:off x="1820814" y="13246"/>
            <a:ext cx="6027251" cy="438582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ТОСЭР Хабаровского края</a:t>
            </a:r>
            <a:endParaRPr lang="ru-RU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CFFF7"/>
              </a:clrFrom>
              <a:clrTo>
                <a:srgbClr val="FCFFF7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3590"/>
            <a:ext cx="2427435" cy="2882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639332" y="781920"/>
            <a:ext cx="5590585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500" b="1" dirty="0" smtClean="0">
                <a:solidFill>
                  <a:srgbClr val="930722"/>
                </a:solidFill>
              </a:rPr>
              <a:t>ТОСЭР "КОМСОМОЛЬСК"</a:t>
            </a:r>
          </a:p>
          <a:p>
            <a:pPr>
              <a:lnSpc>
                <a:spcPts val="1300"/>
              </a:lnSpc>
            </a:pPr>
            <a:r>
              <a:rPr lang="ru-RU" sz="1400" dirty="0" smtClean="0">
                <a:solidFill>
                  <a:srgbClr val="930722"/>
                </a:solidFill>
              </a:rPr>
              <a:t>Площадь </a:t>
            </a:r>
            <a:r>
              <a:rPr lang="ru-RU" sz="1400" dirty="0">
                <a:solidFill>
                  <a:srgbClr val="930722"/>
                </a:solidFill>
              </a:rPr>
              <a:t>–</a:t>
            </a:r>
            <a:r>
              <a:rPr lang="ru-RU" sz="1400" b="1" dirty="0" smtClean="0">
                <a:solidFill>
                  <a:srgbClr val="930722"/>
                </a:solidFill>
              </a:rPr>
              <a:t>  8 247 </a:t>
            </a:r>
            <a:r>
              <a:rPr lang="ru-RU" sz="1400" dirty="0" smtClean="0">
                <a:solidFill>
                  <a:srgbClr val="930722"/>
                </a:solidFill>
              </a:rPr>
              <a:t>га</a:t>
            </a:r>
          </a:p>
          <a:p>
            <a:r>
              <a:rPr lang="ru-RU" sz="1400" dirty="0" smtClean="0">
                <a:solidFill>
                  <a:srgbClr val="930722"/>
                </a:solidFill>
              </a:rPr>
              <a:t>Инвестиции </a:t>
            </a:r>
            <a:r>
              <a:rPr lang="ru-RU" sz="1400" dirty="0">
                <a:solidFill>
                  <a:srgbClr val="930722"/>
                </a:solidFill>
              </a:rPr>
              <a:t>– </a:t>
            </a:r>
            <a:r>
              <a:rPr lang="ru-RU" sz="1400" b="1" dirty="0" smtClean="0">
                <a:solidFill>
                  <a:srgbClr val="930722"/>
                </a:solidFill>
              </a:rPr>
              <a:t> 8,6 </a:t>
            </a:r>
            <a:r>
              <a:rPr lang="ru-RU" sz="1400" dirty="0" smtClean="0">
                <a:solidFill>
                  <a:srgbClr val="930722"/>
                </a:solidFill>
              </a:rPr>
              <a:t>млрд. рублей (по заключенным соглашениям)</a:t>
            </a:r>
          </a:p>
          <a:p>
            <a:r>
              <a:rPr lang="ru-RU" sz="1400" dirty="0" err="1" smtClean="0">
                <a:solidFill>
                  <a:srgbClr val="930722"/>
                </a:solidFill>
              </a:rPr>
              <a:t>Гос</a:t>
            </a:r>
            <a:r>
              <a:rPr lang="ru-RU" sz="1400" dirty="0" smtClean="0">
                <a:solidFill>
                  <a:srgbClr val="930722"/>
                </a:solidFill>
              </a:rPr>
              <a:t>. поддержка </a:t>
            </a:r>
            <a:r>
              <a:rPr lang="ru-RU" sz="1400" dirty="0">
                <a:solidFill>
                  <a:srgbClr val="930722"/>
                </a:solidFill>
              </a:rPr>
              <a:t>– </a:t>
            </a:r>
            <a:r>
              <a:rPr lang="ru-RU" sz="1400" b="1" dirty="0" smtClean="0">
                <a:solidFill>
                  <a:srgbClr val="930722"/>
                </a:solidFill>
              </a:rPr>
              <a:t>1 232,24</a:t>
            </a:r>
            <a:r>
              <a:rPr lang="ru-RU" sz="1400" dirty="0" smtClean="0">
                <a:solidFill>
                  <a:srgbClr val="930722"/>
                </a:solidFill>
              </a:rPr>
              <a:t> млн. рублей (902,6 – ФБ; 329,64 – РБ)</a:t>
            </a:r>
          </a:p>
          <a:p>
            <a:r>
              <a:rPr lang="ru-RU" sz="1400" dirty="0" smtClean="0">
                <a:solidFill>
                  <a:srgbClr val="930722"/>
                </a:solidFill>
              </a:rPr>
              <a:t>Рабочие места </a:t>
            </a:r>
            <a:r>
              <a:rPr lang="ru-RU" sz="1400" dirty="0">
                <a:solidFill>
                  <a:srgbClr val="930722"/>
                </a:solidFill>
              </a:rPr>
              <a:t>– </a:t>
            </a:r>
            <a:r>
              <a:rPr lang="ru-RU" sz="1400" b="1" dirty="0" smtClean="0">
                <a:solidFill>
                  <a:srgbClr val="930722"/>
                </a:solidFill>
              </a:rPr>
              <a:t>1815</a:t>
            </a:r>
            <a:r>
              <a:rPr lang="ru-RU" sz="1400" dirty="0" smtClean="0">
                <a:solidFill>
                  <a:srgbClr val="930722"/>
                </a:solidFill>
              </a:rPr>
              <a:t> человек</a:t>
            </a:r>
          </a:p>
          <a:p>
            <a:r>
              <a:rPr lang="ru-RU" sz="1400" dirty="0" smtClean="0">
                <a:solidFill>
                  <a:srgbClr val="930722"/>
                </a:solidFill>
              </a:rPr>
              <a:t>Подано заявок – </a:t>
            </a:r>
            <a:r>
              <a:rPr lang="ru-RU" sz="1400" b="1" dirty="0" smtClean="0">
                <a:solidFill>
                  <a:srgbClr val="930722"/>
                </a:solidFill>
              </a:rPr>
              <a:t>19</a:t>
            </a:r>
            <a:r>
              <a:rPr lang="ru-RU" sz="1400" dirty="0" smtClean="0">
                <a:solidFill>
                  <a:srgbClr val="930722"/>
                </a:solidFill>
              </a:rPr>
              <a:t>, резиденты – </a:t>
            </a:r>
            <a:r>
              <a:rPr lang="ru-RU" sz="1400" b="1" dirty="0" smtClean="0">
                <a:solidFill>
                  <a:srgbClr val="930722"/>
                </a:solidFill>
              </a:rPr>
              <a:t>8</a:t>
            </a:r>
            <a:r>
              <a:rPr lang="ru-RU" sz="1400" dirty="0" smtClean="0">
                <a:solidFill>
                  <a:srgbClr val="930722"/>
                </a:solidFill>
              </a:rPr>
              <a:t> компаний</a:t>
            </a:r>
            <a:endParaRPr lang="ru-RU" sz="1400" dirty="0">
              <a:solidFill>
                <a:srgbClr val="930722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2515988" y="2048689"/>
            <a:ext cx="5837272" cy="942534"/>
            <a:chOff x="3438838" y="2618973"/>
            <a:chExt cx="5850504" cy="1125184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3438838" y="2640237"/>
              <a:ext cx="1098550" cy="1038415"/>
            </a:xfrm>
            <a:prstGeom prst="roundRect">
              <a:avLst/>
            </a:prstGeom>
            <a:noFill/>
            <a:ln w="28575">
              <a:solidFill>
                <a:srgbClr val="9307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" name="Picture 3" descr="C:\Documents and Settings\admin.IRDV\Рабочий стол\лэп.jp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695842" y="2661505"/>
              <a:ext cx="557840" cy="430249"/>
            </a:xfrm>
            <a:prstGeom prst="rect">
              <a:avLst/>
            </a:prstGeom>
            <a:noFill/>
          </p:spPr>
        </p:pic>
        <p:sp>
          <p:nvSpPr>
            <p:cNvPr id="14" name="TextBox 13"/>
            <p:cNvSpPr txBox="1"/>
            <p:nvPr/>
          </p:nvSpPr>
          <p:spPr>
            <a:xfrm>
              <a:off x="3695842" y="3091754"/>
              <a:ext cx="830302" cy="417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9 МВт</a:t>
              </a:r>
              <a:endParaRPr lang="ru-RU" sz="1400"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443717" y="3368753"/>
              <a:ext cx="1210024" cy="3754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4589942" y="2640238"/>
              <a:ext cx="1098550" cy="1027782"/>
            </a:xfrm>
            <a:prstGeom prst="roundRect">
              <a:avLst/>
            </a:prstGeom>
            <a:noFill/>
            <a:ln w="28575">
              <a:solidFill>
                <a:srgbClr val="9307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5" descr="C:\Documents and Settings\admin.IRDV\Рабочий стол\depositphotos_79484484-Retro-water-faucet-tap-symbol.jp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3000"/>
            </a:blip>
            <a:srcRect/>
            <a:stretch>
              <a:fillRect/>
            </a:stretch>
          </p:blipFill>
          <p:spPr bwMode="auto">
            <a:xfrm>
              <a:off x="4866242" y="2661503"/>
              <a:ext cx="582058" cy="451517"/>
            </a:xfrm>
            <a:prstGeom prst="rect">
              <a:avLst/>
            </a:prstGeom>
            <a:noFill/>
          </p:spPr>
        </p:pic>
        <p:sp>
          <p:nvSpPr>
            <p:cNvPr id="19" name="TextBox 18"/>
            <p:cNvSpPr txBox="1"/>
            <p:nvPr/>
          </p:nvSpPr>
          <p:spPr>
            <a:xfrm>
              <a:off x="4526144" y="3060977"/>
              <a:ext cx="1438721" cy="417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1,8 </a:t>
              </a:r>
              <a:r>
                <a:rPr lang="ru-RU" sz="1150" dirty="0" smtClean="0"/>
                <a:t>тыс. м³/сутки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579920" y="3368753"/>
              <a:ext cx="1210024" cy="3754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21" name="Скругленный прямоугольник 20"/>
            <p:cNvSpPr/>
            <p:nvPr/>
          </p:nvSpPr>
          <p:spPr>
            <a:xfrm>
              <a:off x="5738184" y="2629606"/>
              <a:ext cx="1098550" cy="1038414"/>
            </a:xfrm>
            <a:prstGeom prst="roundRect">
              <a:avLst/>
            </a:prstGeom>
            <a:noFill/>
            <a:ln w="28575">
              <a:solidFill>
                <a:srgbClr val="9307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2" name="Picture 6" descr="C:\Documents and Settings\admin.IRDV\Рабочий стол\вектор-значков-ороги-43329018.jpg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28" t="59578" r="77885" b="28453"/>
            <a:stretch>
              <a:fillRect/>
            </a:stretch>
          </p:blipFill>
          <p:spPr bwMode="auto">
            <a:xfrm>
              <a:off x="5986131" y="2650872"/>
              <a:ext cx="595423" cy="448607"/>
            </a:xfrm>
            <a:prstGeom prst="rect">
              <a:avLst/>
            </a:prstGeom>
            <a:noFill/>
          </p:spPr>
        </p:pic>
        <p:sp>
          <p:nvSpPr>
            <p:cNvPr id="23" name="TextBox 22"/>
            <p:cNvSpPr txBox="1"/>
            <p:nvPr/>
          </p:nvSpPr>
          <p:spPr>
            <a:xfrm>
              <a:off x="5964865" y="3091754"/>
              <a:ext cx="830302" cy="417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2,1 км</a:t>
              </a:r>
              <a:endParaRPr lang="ru-RU" sz="1400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789944" y="3368753"/>
              <a:ext cx="1210024" cy="3754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6879927" y="2618973"/>
              <a:ext cx="1098550" cy="1038413"/>
            </a:xfrm>
            <a:prstGeom prst="roundRect">
              <a:avLst/>
            </a:prstGeom>
            <a:noFill/>
            <a:ln w="28575">
              <a:solidFill>
                <a:srgbClr val="9307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6" name="Picture 2" descr="C:\Documents and Settings\admin.IRDV\Рабочий стол\2-Odnotrubnaya-sistema-otopleniya-chastnogo-doma (2).pn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3739" r="56981" b="72832"/>
            <a:stretch>
              <a:fillRect/>
            </a:stretch>
          </p:blipFill>
          <p:spPr bwMode="auto">
            <a:xfrm>
              <a:off x="7166688" y="2651993"/>
              <a:ext cx="521375" cy="430249"/>
            </a:xfrm>
            <a:prstGeom prst="rect">
              <a:avLst/>
            </a:prstGeom>
            <a:noFill/>
          </p:spPr>
        </p:pic>
        <p:sp>
          <p:nvSpPr>
            <p:cNvPr id="27" name="TextBox 26"/>
            <p:cNvSpPr txBox="1"/>
            <p:nvPr/>
          </p:nvSpPr>
          <p:spPr>
            <a:xfrm>
              <a:off x="7148175" y="3091754"/>
              <a:ext cx="830302" cy="417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25 Гкал</a:t>
              </a:r>
              <a:endParaRPr lang="ru-RU" sz="1400" dirty="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869294" y="3368753"/>
              <a:ext cx="1210024" cy="3754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8014238" y="2629606"/>
              <a:ext cx="1098550" cy="1038413"/>
            </a:xfrm>
            <a:prstGeom prst="roundRect">
              <a:avLst/>
            </a:prstGeom>
            <a:noFill/>
            <a:ln w="28575">
              <a:solidFill>
                <a:srgbClr val="9307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8175" t="65015" r="79929" b="31931"/>
            <a:stretch>
              <a:fillRect/>
            </a:stretch>
          </p:blipFill>
          <p:spPr bwMode="auto">
            <a:xfrm>
              <a:off x="8408369" y="2645617"/>
              <a:ext cx="448784" cy="415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TextBox 30"/>
            <p:cNvSpPr txBox="1"/>
            <p:nvPr/>
          </p:nvSpPr>
          <p:spPr>
            <a:xfrm>
              <a:off x="8075762" y="3060977"/>
              <a:ext cx="1037026" cy="417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5 </a:t>
              </a:r>
              <a:r>
                <a:rPr lang="ru-RU" sz="1150" dirty="0" smtClean="0"/>
                <a:t>тыс. м³/час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8079318" y="3358120"/>
              <a:ext cx="1210024" cy="3754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2551898" y="2936351"/>
            <a:ext cx="5715285" cy="1156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500" b="1" dirty="0" smtClean="0">
                <a:solidFill>
                  <a:srgbClr val="002060"/>
                </a:solidFill>
              </a:rPr>
              <a:t>ТОСЭР "ХАБАРОВСК"</a:t>
            </a:r>
          </a:p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002060"/>
                </a:solidFill>
              </a:rPr>
              <a:t>Площадь </a:t>
            </a:r>
            <a:r>
              <a:rPr lang="ru-RU" sz="1400" dirty="0">
                <a:solidFill>
                  <a:srgbClr val="002060"/>
                </a:solidFill>
              </a:rPr>
              <a:t>– </a:t>
            </a:r>
            <a:r>
              <a:rPr lang="ru-RU" sz="1400" b="1" dirty="0" smtClean="0">
                <a:solidFill>
                  <a:srgbClr val="002060"/>
                </a:solidFill>
              </a:rPr>
              <a:t>13 582</a:t>
            </a:r>
            <a:r>
              <a:rPr lang="ru-RU" sz="1400" dirty="0" smtClean="0">
                <a:solidFill>
                  <a:srgbClr val="002060"/>
                </a:solidFill>
              </a:rPr>
              <a:t> га</a:t>
            </a:r>
          </a:p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002060"/>
                </a:solidFill>
              </a:rPr>
              <a:t>Инвестиции – </a:t>
            </a:r>
            <a:r>
              <a:rPr lang="en-US" sz="1400" b="1" dirty="0" smtClean="0">
                <a:solidFill>
                  <a:srgbClr val="002060"/>
                </a:solidFill>
              </a:rPr>
              <a:t>2</a:t>
            </a:r>
            <a:r>
              <a:rPr lang="ru-RU" sz="1400" b="1" dirty="0" smtClean="0">
                <a:solidFill>
                  <a:srgbClr val="002060"/>
                </a:solidFill>
              </a:rPr>
              <a:t>9,4 </a:t>
            </a:r>
            <a:r>
              <a:rPr lang="ru-RU" sz="1400" dirty="0" smtClean="0">
                <a:solidFill>
                  <a:srgbClr val="002060"/>
                </a:solidFill>
              </a:rPr>
              <a:t>млрд. рублей (по заключенным соглашениям)</a:t>
            </a:r>
            <a:r>
              <a:rPr lang="en-US" sz="1400" dirty="0" smtClean="0">
                <a:solidFill>
                  <a:srgbClr val="002060"/>
                </a:solidFill>
              </a:rPr>
              <a:t> </a:t>
            </a:r>
            <a:endParaRPr lang="ru-RU" sz="1400" dirty="0" smtClean="0">
              <a:solidFill>
                <a:srgbClr val="002060"/>
              </a:solidFill>
            </a:endParaRPr>
          </a:p>
          <a:p>
            <a:pPr>
              <a:lnSpc>
                <a:spcPts val="1400"/>
              </a:lnSpc>
            </a:pPr>
            <a:r>
              <a:rPr lang="ru-RU" sz="1400" dirty="0" err="1" smtClean="0">
                <a:solidFill>
                  <a:srgbClr val="002060"/>
                </a:solidFill>
              </a:rPr>
              <a:t>Гос</a:t>
            </a:r>
            <a:r>
              <a:rPr lang="ru-RU" sz="1400" dirty="0" smtClean="0">
                <a:solidFill>
                  <a:srgbClr val="002060"/>
                </a:solidFill>
              </a:rPr>
              <a:t>. поддержка </a:t>
            </a:r>
            <a:r>
              <a:rPr lang="ru-RU" sz="1400" dirty="0">
                <a:solidFill>
                  <a:srgbClr val="002060"/>
                </a:solidFill>
              </a:rPr>
              <a:t>– </a:t>
            </a:r>
            <a:r>
              <a:rPr lang="ru-RU" sz="1400" b="1" dirty="0" smtClean="0">
                <a:solidFill>
                  <a:srgbClr val="002060"/>
                </a:solidFill>
              </a:rPr>
              <a:t>2 361,1</a:t>
            </a:r>
            <a:r>
              <a:rPr lang="ru-RU" sz="1400" dirty="0" smtClean="0">
                <a:solidFill>
                  <a:srgbClr val="002060"/>
                </a:solidFill>
              </a:rPr>
              <a:t> млн. рублей (1257,99 – ФБ; 1103,11 – РБ)</a:t>
            </a:r>
          </a:p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002060"/>
                </a:solidFill>
              </a:rPr>
              <a:t>Рабочие места </a:t>
            </a:r>
            <a:r>
              <a:rPr lang="ru-RU" sz="1400" dirty="0">
                <a:solidFill>
                  <a:srgbClr val="002060"/>
                </a:solidFill>
              </a:rPr>
              <a:t>– </a:t>
            </a:r>
            <a:r>
              <a:rPr lang="ru-RU" sz="1400" b="1" dirty="0" smtClean="0">
                <a:solidFill>
                  <a:srgbClr val="002060"/>
                </a:solidFill>
              </a:rPr>
              <a:t>2507</a:t>
            </a:r>
            <a:r>
              <a:rPr lang="ru-RU" sz="1400" dirty="0" smtClean="0">
                <a:solidFill>
                  <a:srgbClr val="002060"/>
                </a:solidFill>
              </a:rPr>
              <a:t> человек</a:t>
            </a:r>
          </a:p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002060"/>
                </a:solidFill>
              </a:rPr>
              <a:t>Подано заявок – </a:t>
            </a:r>
            <a:r>
              <a:rPr lang="ru-RU" sz="1400" b="1" dirty="0" smtClean="0">
                <a:solidFill>
                  <a:srgbClr val="002060"/>
                </a:solidFill>
              </a:rPr>
              <a:t>39</a:t>
            </a:r>
            <a:r>
              <a:rPr lang="ru-RU" sz="1400" dirty="0" smtClean="0">
                <a:solidFill>
                  <a:srgbClr val="002060"/>
                </a:solidFill>
              </a:rPr>
              <a:t>, резиденты – </a:t>
            </a:r>
            <a:r>
              <a:rPr lang="ru-RU" sz="1400" b="1" dirty="0" smtClean="0">
                <a:solidFill>
                  <a:srgbClr val="002060"/>
                </a:solidFill>
              </a:rPr>
              <a:t>17</a:t>
            </a:r>
            <a:r>
              <a:rPr lang="ru-RU" sz="1400" dirty="0" smtClean="0">
                <a:solidFill>
                  <a:srgbClr val="002060"/>
                </a:solidFill>
              </a:rPr>
              <a:t> компаний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2565020" y="4116691"/>
            <a:ext cx="5821204" cy="832294"/>
            <a:chOff x="2676762" y="4310034"/>
            <a:chExt cx="5799890" cy="1124359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2676762" y="4331298"/>
              <a:ext cx="1098550" cy="1038415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6" name="Picture 3" descr="C:\Documents and Settings\admin.IRDV\Рабочий стол\лэп.jp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3766" y="4352566"/>
              <a:ext cx="557840" cy="430249"/>
            </a:xfrm>
            <a:prstGeom prst="rect">
              <a:avLst/>
            </a:prstGeom>
            <a:noFill/>
          </p:spPr>
        </p:pic>
        <p:sp>
          <p:nvSpPr>
            <p:cNvPr id="37" name="TextBox 36"/>
            <p:cNvSpPr txBox="1"/>
            <p:nvPr/>
          </p:nvSpPr>
          <p:spPr>
            <a:xfrm>
              <a:off x="2933766" y="4782816"/>
              <a:ext cx="830302" cy="415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92 МВт</a:t>
              </a:r>
              <a:endParaRPr lang="ru-RU" sz="1400" dirty="0"/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2681641" y="5059814"/>
              <a:ext cx="1210024" cy="374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827866" y="4331299"/>
              <a:ext cx="1098550" cy="1027782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0" name="Picture 5" descr="C:\Documents and Settings\admin.IRDV\Рабочий стол\depositphotos_79484484-Retro-water-faucet-tap-symbol.jp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3000"/>
            </a:blip>
            <a:srcRect/>
            <a:stretch>
              <a:fillRect/>
            </a:stretch>
          </p:blipFill>
          <p:spPr bwMode="auto">
            <a:xfrm>
              <a:off x="4104166" y="4352564"/>
              <a:ext cx="582058" cy="451517"/>
            </a:xfrm>
            <a:prstGeom prst="rect">
              <a:avLst/>
            </a:prstGeom>
            <a:noFill/>
          </p:spPr>
        </p:pic>
        <p:sp>
          <p:nvSpPr>
            <p:cNvPr id="41" name="TextBox 40"/>
            <p:cNvSpPr txBox="1"/>
            <p:nvPr/>
          </p:nvSpPr>
          <p:spPr>
            <a:xfrm>
              <a:off x="3764068" y="4752037"/>
              <a:ext cx="1438721" cy="415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4,5 </a:t>
              </a:r>
              <a:r>
                <a:rPr lang="ru-RU" sz="1150" dirty="0" smtClean="0"/>
                <a:t>тыс. м³/сутки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3817844" y="5059814"/>
              <a:ext cx="1210024" cy="374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4976108" y="4320667"/>
              <a:ext cx="1098550" cy="1038414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4" name="Picture 6" descr="C:\Documents and Settings\admin.IRDV\Рабочий стол\вектор-значков-ороги-43329018.jpg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28" t="59578" r="77885" b="28453"/>
            <a:stretch>
              <a:fillRect/>
            </a:stretch>
          </p:blipFill>
          <p:spPr bwMode="auto">
            <a:xfrm>
              <a:off x="5224055" y="4341933"/>
              <a:ext cx="595423" cy="448607"/>
            </a:xfrm>
            <a:prstGeom prst="rect">
              <a:avLst/>
            </a:prstGeom>
            <a:noFill/>
          </p:spPr>
        </p:pic>
        <p:sp>
          <p:nvSpPr>
            <p:cNvPr id="45" name="TextBox 44"/>
            <p:cNvSpPr txBox="1"/>
            <p:nvPr/>
          </p:nvSpPr>
          <p:spPr>
            <a:xfrm>
              <a:off x="5192156" y="4772182"/>
              <a:ext cx="830302" cy="415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15,1 км</a:t>
              </a:r>
              <a:endParaRPr lang="ru-RU" sz="1400" dirty="0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4977254" y="5059814"/>
              <a:ext cx="1210024" cy="374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6</a:t>
              </a:r>
              <a:endParaRPr lang="ru-RU" sz="1200" b="1" dirty="0"/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6117851" y="4310034"/>
              <a:ext cx="1098550" cy="1038413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8" name="Picture 2" descr="C:\Documents and Settings\admin.IRDV\Рабочий стол\2-Odnotrubnaya-sistema-otopleniya-chastnogo-doma (2).pn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3739" r="56981" b="72832"/>
            <a:stretch>
              <a:fillRect/>
            </a:stretch>
          </p:blipFill>
          <p:spPr bwMode="auto">
            <a:xfrm>
              <a:off x="6404612" y="4343054"/>
              <a:ext cx="521375" cy="430249"/>
            </a:xfrm>
            <a:prstGeom prst="rect">
              <a:avLst/>
            </a:prstGeom>
            <a:noFill/>
          </p:spPr>
        </p:pic>
        <p:sp>
          <p:nvSpPr>
            <p:cNvPr id="49" name="TextBox 48"/>
            <p:cNvSpPr txBox="1"/>
            <p:nvPr/>
          </p:nvSpPr>
          <p:spPr>
            <a:xfrm>
              <a:off x="6176770" y="4782815"/>
              <a:ext cx="1039631" cy="415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400" dirty="0" smtClean="0"/>
                <a:t>35 </a:t>
              </a:r>
              <a:r>
                <a:rPr lang="ru-RU" sz="1200" dirty="0" smtClean="0"/>
                <a:t>Гкал/час</a:t>
              </a:r>
              <a:endParaRPr lang="ru-RU" sz="12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6116295" y="5060191"/>
              <a:ext cx="1210024" cy="374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октябрь  2017</a:t>
              </a:r>
              <a:endParaRPr lang="ru-RU" sz="1200" b="1" dirty="0"/>
            </a:p>
          </p:txBody>
        </p:sp>
        <p:sp>
          <p:nvSpPr>
            <p:cNvPr id="51" name="Скругленный прямоугольник 50"/>
            <p:cNvSpPr/>
            <p:nvPr/>
          </p:nvSpPr>
          <p:spPr>
            <a:xfrm>
              <a:off x="7252162" y="4320667"/>
              <a:ext cx="1098550" cy="1038413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2" name="Picture 3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8175" t="65015" r="79929" b="31931"/>
            <a:stretch>
              <a:fillRect/>
            </a:stretch>
          </p:blipFill>
          <p:spPr bwMode="auto">
            <a:xfrm>
              <a:off x="7646293" y="4336678"/>
              <a:ext cx="448784" cy="415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" name="TextBox 52"/>
            <p:cNvSpPr txBox="1"/>
            <p:nvPr/>
          </p:nvSpPr>
          <p:spPr>
            <a:xfrm>
              <a:off x="7140480" y="4752037"/>
              <a:ext cx="1310865" cy="415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00" dirty="0" smtClean="0"/>
                <a:t>19,5</a:t>
              </a:r>
              <a:r>
                <a:rPr lang="ru-RU" sz="1400" dirty="0" smtClean="0"/>
                <a:t> </a:t>
              </a:r>
              <a:r>
                <a:rPr lang="ru-RU" sz="1150" dirty="0" smtClean="0"/>
                <a:t>тыс. м³/час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7266628" y="5049181"/>
              <a:ext cx="1210024" cy="374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b="1" dirty="0" smtClean="0"/>
                <a:t>декабрь  2017</a:t>
              </a:r>
              <a:endParaRPr lang="ru-RU" sz="1200" b="1" dirty="0"/>
            </a:p>
          </p:txBody>
        </p:sp>
      </p:grpSp>
      <p:sp>
        <p:nvSpPr>
          <p:cNvPr id="55" name="Овал 54"/>
          <p:cNvSpPr/>
          <p:nvPr/>
        </p:nvSpPr>
        <p:spPr>
          <a:xfrm rot="979960">
            <a:off x="1063662" y="3272767"/>
            <a:ext cx="119922" cy="23151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/>
              <a:t>                 </a:t>
            </a:r>
            <a:endParaRPr lang="ru-RU" sz="7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300994" y="3060521"/>
            <a:ext cx="912723" cy="20005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"</a:t>
            </a:r>
            <a:r>
              <a:rPr lang="ru-RU" sz="700" b="1" dirty="0">
                <a:solidFill>
                  <a:schemeClr val="bg1"/>
                </a:solidFill>
              </a:rPr>
              <a:t>КОМСОМОЛЬСК"</a:t>
            </a:r>
          </a:p>
        </p:txBody>
      </p:sp>
      <p:sp>
        <p:nvSpPr>
          <p:cNvPr id="57" name="Овал 56"/>
          <p:cNvSpPr/>
          <p:nvPr/>
        </p:nvSpPr>
        <p:spPr>
          <a:xfrm>
            <a:off x="666535" y="3736580"/>
            <a:ext cx="119922" cy="161040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/>
              <a:t>                 </a:t>
            </a:r>
            <a:endParaRPr lang="ru-RU" sz="7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887100" y="3742628"/>
            <a:ext cx="933714" cy="215444"/>
          </a:xfrm>
          <a:prstGeom prst="rect">
            <a:avLst/>
          </a:prstGeom>
          <a:solidFill>
            <a:srgbClr val="002E7B"/>
          </a:solidFill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chemeClr val="bg1"/>
                </a:solidFill>
              </a:rPr>
              <a:t>"ХАБАРОВСК</a:t>
            </a:r>
            <a:r>
              <a:rPr lang="ru-RU" sz="800" b="1" dirty="0">
                <a:solidFill>
                  <a:schemeClr val="bg1"/>
                </a:solidFill>
              </a:rPr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665638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11"/>
          <p:cNvGrpSpPr/>
          <p:nvPr/>
        </p:nvGrpSpPr>
        <p:grpSpPr>
          <a:xfrm>
            <a:off x="1485809" y="2"/>
            <a:ext cx="6172382" cy="791035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7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" name="TextBox 10"/>
          <p:cNvSpPr txBox="1"/>
          <p:nvPr/>
        </p:nvSpPr>
        <p:spPr>
          <a:xfrm>
            <a:off x="1820814" y="13245"/>
            <a:ext cx="6027251" cy="438582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Режим Свободного порта</a:t>
            </a:r>
            <a:endParaRPr lang="ru-RU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74297" y="957290"/>
            <a:ext cx="3585983" cy="3981450"/>
            <a:chOff x="2" y="647852"/>
            <a:chExt cx="4328931" cy="5939026"/>
          </a:xfrm>
        </p:grpSpPr>
        <p:pic>
          <p:nvPicPr>
            <p:cNvPr id="9" name="Picture 4" descr="Y:\0. Комитет по инвестициям и инновационному развитию\8. Отдел ОЭЗ\5. ПРЕЗЕНТАЦИИ\отредактированный2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 r="4495"/>
            <a:stretch>
              <a:fillRect/>
            </a:stretch>
          </p:blipFill>
          <p:spPr bwMode="auto">
            <a:xfrm>
              <a:off x="2" y="647852"/>
              <a:ext cx="4328931" cy="59390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Полилиния 9"/>
            <p:cNvSpPr/>
            <p:nvPr/>
          </p:nvSpPr>
          <p:spPr>
            <a:xfrm>
              <a:off x="2345472" y="4955644"/>
              <a:ext cx="639301" cy="731892"/>
            </a:xfrm>
            <a:custGeom>
              <a:avLst/>
              <a:gdLst>
                <a:gd name="connsiteX0" fmla="*/ 204787 w 509587"/>
                <a:gd name="connsiteY0" fmla="*/ 23812 h 631031"/>
                <a:gd name="connsiteX1" fmla="*/ 80962 w 509587"/>
                <a:gd name="connsiteY1" fmla="*/ 66675 h 631031"/>
                <a:gd name="connsiteX2" fmla="*/ 92868 w 509587"/>
                <a:gd name="connsiteY2" fmla="*/ 130969 h 631031"/>
                <a:gd name="connsiteX3" fmla="*/ 135731 w 509587"/>
                <a:gd name="connsiteY3" fmla="*/ 154781 h 631031"/>
                <a:gd name="connsiteX4" fmla="*/ 100012 w 509587"/>
                <a:gd name="connsiteY4" fmla="*/ 180975 h 631031"/>
                <a:gd name="connsiteX5" fmla="*/ 121443 w 509587"/>
                <a:gd name="connsiteY5" fmla="*/ 219075 h 631031"/>
                <a:gd name="connsiteX6" fmla="*/ 102393 w 509587"/>
                <a:gd name="connsiteY6" fmla="*/ 266700 h 631031"/>
                <a:gd name="connsiteX7" fmla="*/ 104775 w 509587"/>
                <a:gd name="connsiteY7" fmla="*/ 302419 h 631031"/>
                <a:gd name="connsiteX8" fmla="*/ 130968 w 509587"/>
                <a:gd name="connsiteY8" fmla="*/ 330994 h 631031"/>
                <a:gd name="connsiteX9" fmla="*/ 176212 w 509587"/>
                <a:gd name="connsiteY9" fmla="*/ 333375 h 631031"/>
                <a:gd name="connsiteX10" fmla="*/ 204787 w 509587"/>
                <a:gd name="connsiteY10" fmla="*/ 316706 h 631031"/>
                <a:gd name="connsiteX11" fmla="*/ 204787 w 509587"/>
                <a:gd name="connsiteY11" fmla="*/ 347662 h 631031"/>
                <a:gd name="connsiteX12" fmla="*/ 200025 w 509587"/>
                <a:gd name="connsiteY12" fmla="*/ 392906 h 631031"/>
                <a:gd name="connsiteX13" fmla="*/ 188118 w 509587"/>
                <a:gd name="connsiteY13" fmla="*/ 442912 h 631031"/>
                <a:gd name="connsiteX14" fmla="*/ 164306 w 509587"/>
                <a:gd name="connsiteY14" fmla="*/ 435769 h 631031"/>
                <a:gd name="connsiteX15" fmla="*/ 145256 w 509587"/>
                <a:gd name="connsiteY15" fmla="*/ 392906 h 631031"/>
                <a:gd name="connsiteX16" fmla="*/ 119062 w 509587"/>
                <a:gd name="connsiteY16" fmla="*/ 383381 h 631031"/>
                <a:gd name="connsiteX17" fmla="*/ 66675 w 509587"/>
                <a:gd name="connsiteY17" fmla="*/ 385762 h 631031"/>
                <a:gd name="connsiteX18" fmla="*/ 35718 w 509587"/>
                <a:gd name="connsiteY18" fmla="*/ 376237 h 631031"/>
                <a:gd name="connsiteX19" fmla="*/ 9525 w 509587"/>
                <a:gd name="connsiteY19" fmla="*/ 402431 h 631031"/>
                <a:gd name="connsiteX20" fmla="*/ 28575 w 509587"/>
                <a:gd name="connsiteY20" fmla="*/ 433387 h 631031"/>
                <a:gd name="connsiteX21" fmla="*/ 61912 w 509587"/>
                <a:gd name="connsiteY21" fmla="*/ 433387 h 631031"/>
                <a:gd name="connsiteX22" fmla="*/ 88106 w 509587"/>
                <a:gd name="connsiteY22" fmla="*/ 461962 h 631031"/>
                <a:gd name="connsiteX23" fmla="*/ 76200 w 509587"/>
                <a:gd name="connsiteY23" fmla="*/ 535781 h 631031"/>
                <a:gd name="connsiteX24" fmla="*/ 38100 w 509587"/>
                <a:gd name="connsiteY24" fmla="*/ 569119 h 631031"/>
                <a:gd name="connsiteX25" fmla="*/ 0 w 509587"/>
                <a:gd name="connsiteY25" fmla="*/ 604837 h 631031"/>
                <a:gd name="connsiteX26" fmla="*/ 59531 w 509587"/>
                <a:gd name="connsiteY26" fmla="*/ 592931 h 631031"/>
                <a:gd name="connsiteX27" fmla="*/ 150018 w 509587"/>
                <a:gd name="connsiteY27" fmla="*/ 628650 h 631031"/>
                <a:gd name="connsiteX28" fmla="*/ 171450 w 509587"/>
                <a:gd name="connsiteY28" fmla="*/ 631031 h 631031"/>
                <a:gd name="connsiteX29" fmla="*/ 188118 w 509587"/>
                <a:gd name="connsiteY29" fmla="*/ 609600 h 631031"/>
                <a:gd name="connsiteX30" fmla="*/ 245268 w 509587"/>
                <a:gd name="connsiteY30" fmla="*/ 604837 h 631031"/>
                <a:gd name="connsiteX31" fmla="*/ 445293 w 509587"/>
                <a:gd name="connsiteY31" fmla="*/ 628650 h 631031"/>
                <a:gd name="connsiteX32" fmla="*/ 445293 w 509587"/>
                <a:gd name="connsiteY32" fmla="*/ 602456 h 631031"/>
                <a:gd name="connsiteX33" fmla="*/ 452437 w 509587"/>
                <a:gd name="connsiteY33" fmla="*/ 578644 h 631031"/>
                <a:gd name="connsiteX34" fmla="*/ 438150 w 509587"/>
                <a:gd name="connsiteY34" fmla="*/ 557212 h 631031"/>
                <a:gd name="connsiteX35" fmla="*/ 438150 w 509587"/>
                <a:gd name="connsiteY35" fmla="*/ 557212 h 631031"/>
                <a:gd name="connsiteX36" fmla="*/ 478631 w 509587"/>
                <a:gd name="connsiteY36" fmla="*/ 495300 h 631031"/>
                <a:gd name="connsiteX37" fmla="*/ 497681 w 509587"/>
                <a:gd name="connsiteY37" fmla="*/ 414337 h 631031"/>
                <a:gd name="connsiteX38" fmla="*/ 490537 w 509587"/>
                <a:gd name="connsiteY38" fmla="*/ 381000 h 631031"/>
                <a:gd name="connsiteX39" fmla="*/ 466725 w 509587"/>
                <a:gd name="connsiteY39" fmla="*/ 340519 h 631031"/>
                <a:gd name="connsiteX40" fmla="*/ 473868 w 509587"/>
                <a:gd name="connsiteY40" fmla="*/ 316706 h 631031"/>
                <a:gd name="connsiteX41" fmla="*/ 485775 w 509587"/>
                <a:gd name="connsiteY41" fmla="*/ 297656 h 631031"/>
                <a:gd name="connsiteX42" fmla="*/ 509587 w 509587"/>
                <a:gd name="connsiteY42" fmla="*/ 276225 h 631031"/>
                <a:gd name="connsiteX43" fmla="*/ 497681 w 509587"/>
                <a:gd name="connsiteY43" fmla="*/ 259556 h 631031"/>
                <a:gd name="connsiteX44" fmla="*/ 478631 w 509587"/>
                <a:gd name="connsiteY44" fmla="*/ 238125 h 631031"/>
                <a:gd name="connsiteX45" fmla="*/ 461962 w 509587"/>
                <a:gd name="connsiteY45" fmla="*/ 52387 h 631031"/>
                <a:gd name="connsiteX46" fmla="*/ 435768 w 509587"/>
                <a:gd name="connsiteY46" fmla="*/ 26194 h 631031"/>
                <a:gd name="connsiteX47" fmla="*/ 364331 w 509587"/>
                <a:gd name="connsiteY47" fmla="*/ 0 h 631031"/>
                <a:gd name="connsiteX48" fmla="*/ 330993 w 509587"/>
                <a:gd name="connsiteY48" fmla="*/ 69056 h 631031"/>
                <a:gd name="connsiteX49" fmla="*/ 204787 w 509587"/>
                <a:gd name="connsiteY49" fmla="*/ 23812 h 63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9587" h="631031">
                  <a:moveTo>
                    <a:pt x="204787" y="23812"/>
                  </a:moveTo>
                  <a:lnTo>
                    <a:pt x="80962" y="66675"/>
                  </a:lnTo>
                  <a:lnTo>
                    <a:pt x="92868" y="130969"/>
                  </a:lnTo>
                  <a:lnTo>
                    <a:pt x="135731" y="154781"/>
                  </a:lnTo>
                  <a:lnTo>
                    <a:pt x="100012" y="180975"/>
                  </a:lnTo>
                  <a:lnTo>
                    <a:pt x="121443" y="219075"/>
                  </a:lnTo>
                  <a:lnTo>
                    <a:pt x="102393" y="266700"/>
                  </a:lnTo>
                  <a:lnTo>
                    <a:pt x="104775" y="302419"/>
                  </a:lnTo>
                  <a:lnTo>
                    <a:pt x="130968" y="330994"/>
                  </a:lnTo>
                  <a:lnTo>
                    <a:pt x="176212" y="333375"/>
                  </a:lnTo>
                  <a:lnTo>
                    <a:pt x="204787" y="316706"/>
                  </a:lnTo>
                  <a:lnTo>
                    <a:pt x="204787" y="347662"/>
                  </a:lnTo>
                  <a:lnTo>
                    <a:pt x="200025" y="392906"/>
                  </a:lnTo>
                  <a:lnTo>
                    <a:pt x="188118" y="442912"/>
                  </a:lnTo>
                  <a:lnTo>
                    <a:pt x="164306" y="435769"/>
                  </a:lnTo>
                  <a:lnTo>
                    <a:pt x="145256" y="392906"/>
                  </a:lnTo>
                  <a:lnTo>
                    <a:pt x="119062" y="383381"/>
                  </a:lnTo>
                  <a:lnTo>
                    <a:pt x="66675" y="385762"/>
                  </a:lnTo>
                  <a:lnTo>
                    <a:pt x="35718" y="376237"/>
                  </a:lnTo>
                  <a:lnTo>
                    <a:pt x="9525" y="402431"/>
                  </a:lnTo>
                  <a:lnTo>
                    <a:pt x="28575" y="433387"/>
                  </a:lnTo>
                  <a:lnTo>
                    <a:pt x="61912" y="433387"/>
                  </a:lnTo>
                  <a:lnTo>
                    <a:pt x="88106" y="461962"/>
                  </a:lnTo>
                  <a:lnTo>
                    <a:pt x="76200" y="535781"/>
                  </a:lnTo>
                  <a:lnTo>
                    <a:pt x="38100" y="569119"/>
                  </a:lnTo>
                  <a:lnTo>
                    <a:pt x="0" y="604837"/>
                  </a:lnTo>
                  <a:lnTo>
                    <a:pt x="59531" y="592931"/>
                  </a:lnTo>
                  <a:lnTo>
                    <a:pt x="150018" y="628650"/>
                  </a:lnTo>
                  <a:lnTo>
                    <a:pt x="171450" y="631031"/>
                  </a:lnTo>
                  <a:lnTo>
                    <a:pt x="188118" y="609600"/>
                  </a:lnTo>
                  <a:lnTo>
                    <a:pt x="245268" y="604837"/>
                  </a:lnTo>
                  <a:lnTo>
                    <a:pt x="445293" y="628650"/>
                  </a:lnTo>
                  <a:lnTo>
                    <a:pt x="445293" y="602456"/>
                  </a:lnTo>
                  <a:lnTo>
                    <a:pt x="452437" y="578644"/>
                  </a:lnTo>
                  <a:lnTo>
                    <a:pt x="438150" y="557212"/>
                  </a:lnTo>
                  <a:lnTo>
                    <a:pt x="438150" y="557212"/>
                  </a:lnTo>
                  <a:lnTo>
                    <a:pt x="478631" y="495300"/>
                  </a:lnTo>
                  <a:lnTo>
                    <a:pt x="497681" y="414337"/>
                  </a:lnTo>
                  <a:lnTo>
                    <a:pt x="490537" y="381000"/>
                  </a:lnTo>
                  <a:lnTo>
                    <a:pt x="466725" y="340519"/>
                  </a:lnTo>
                  <a:lnTo>
                    <a:pt x="473868" y="316706"/>
                  </a:lnTo>
                  <a:lnTo>
                    <a:pt x="485775" y="297656"/>
                  </a:lnTo>
                  <a:lnTo>
                    <a:pt x="509587" y="276225"/>
                  </a:lnTo>
                  <a:lnTo>
                    <a:pt x="497681" y="259556"/>
                  </a:lnTo>
                  <a:lnTo>
                    <a:pt x="478631" y="238125"/>
                  </a:lnTo>
                  <a:lnTo>
                    <a:pt x="461962" y="52387"/>
                  </a:lnTo>
                  <a:lnTo>
                    <a:pt x="435768" y="26194"/>
                  </a:lnTo>
                  <a:lnTo>
                    <a:pt x="364331" y="0"/>
                  </a:lnTo>
                  <a:lnTo>
                    <a:pt x="330993" y="69056"/>
                  </a:lnTo>
                  <a:lnTo>
                    <a:pt x="204787" y="23812"/>
                  </a:lnTo>
                  <a:close/>
                </a:path>
              </a:pathLst>
            </a:custGeom>
            <a:solidFill>
              <a:schemeClr val="accent1">
                <a:alpha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Овал 11"/>
            <p:cNvSpPr/>
            <p:nvPr/>
          </p:nvSpPr>
          <p:spPr>
            <a:xfrm>
              <a:off x="2777520" y="5543520"/>
              <a:ext cx="144016" cy="144016"/>
            </a:xfrm>
            <a:prstGeom prst="ellipse">
              <a:avLst/>
            </a:prstGeom>
            <a:solidFill>
              <a:schemeClr val="bg1"/>
            </a:solidFill>
            <a:ln w="444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Выноска 3 12"/>
          <p:cNvSpPr/>
          <p:nvPr/>
        </p:nvSpPr>
        <p:spPr>
          <a:xfrm>
            <a:off x="3938407" y="957290"/>
            <a:ext cx="4904317" cy="2302764"/>
          </a:xfrm>
          <a:prstGeom prst="borderCallout3">
            <a:avLst>
              <a:gd name="adj1" fmla="val 91994"/>
              <a:gd name="adj2" fmla="val -396"/>
              <a:gd name="adj3" fmla="val 91955"/>
              <a:gd name="adj4" fmla="val -7093"/>
              <a:gd name="adj5" fmla="val 124347"/>
              <a:gd name="adj6" fmla="val -6841"/>
              <a:gd name="adj7" fmla="val 129039"/>
              <a:gd name="adj8" fmla="val -24584"/>
            </a:avLst>
          </a:prstGeom>
          <a:solidFill>
            <a:srgbClr val="002E7B"/>
          </a:solidFill>
          <a:ln w="28575">
            <a:solidFill>
              <a:srgbClr val="002E7B"/>
            </a:solidFill>
          </a:ln>
          <a:effectLst>
            <a:outerShdw blurRad="2032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ts val="1900"/>
              </a:lnSpc>
            </a:pPr>
            <a:r>
              <a:rPr lang="ru-RU" sz="2000" b="1" dirty="0" smtClean="0">
                <a:solidFill>
                  <a:schemeClr val="bg1"/>
                </a:solidFill>
              </a:rPr>
              <a:t> СПВ </a:t>
            </a:r>
            <a:r>
              <a:rPr lang="ru-RU" sz="2000" b="1" dirty="0" err="1" smtClean="0">
                <a:solidFill>
                  <a:schemeClr val="bg1"/>
                </a:solidFill>
              </a:rPr>
              <a:t>Ванинский</a:t>
            </a:r>
            <a:r>
              <a:rPr lang="ru-RU" sz="2000" b="1" dirty="0" smtClean="0">
                <a:solidFill>
                  <a:schemeClr val="bg1"/>
                </a:solidFill>
              </a:rPr>
              <a:t> район</a:t>
            </a:r>
            <a:endParaRPr lang="en-US" sz="2000" b="1" dirty="0" smtClean="0">
              <a:solidFill>
                <a:schemeClr val="bg1"/>
              </a:solidFill>
            </a:endParaRPr>
          </a:p>
          <a:p>
            <a:pPr algn="ctr">
              <a:lnSpc>
                <a:spcPts val="1900"/>
              </a:lnSpc>
            </a:pPr>
            <a:endParaRPr lang="en-US" sz="2000" b="1" dirty="0">
              <a:solidFill>
                <a:schemeClr val="bg1"/>
              </a:solidFill>
            </a:endParaRPr>
          </a:p>
          <a:p>
            <a:pPr algn="ctr">
              <a:lnSpc>
                <a:spcPts val="1900"/>
              </a:lnSpc>
            </a:pPr>
            <a:endParaRPr lang="en-US" sz="2000" b="1" dirty="0" smtClean="0">
              <a:solidFill>
                <a:schemeClr val="bg1"/>
              </a:solidFill>
            </a:endParaRPr>
          </a:p>
          <a:p>
            <a:endParaRPr lang="ru-RU" sz="1600" dirty="0" smtClean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Выноска 3 13"/>
          <p:cNvSpPr/>
          <p:nvPr/>
        </p:nvSpPr>
        <p:spPr>
          <a:xfrm>
            <a:off x="3938409" y="3386843"/>
            <a:ext cx="4904317" cy="1543504"/>
          </a:xfrm>
          <a:prstGeom prst="borderCallout3">
            <a:avLst>
              <a:gd name="adj1" fmla="val 91994"/>
              <a:gd name="adj2" fmla="val -396"/>
              <a:gd name="adj3" fmla="val 91955"/>
              <a:gd name="adj4" fmla="val -7093"/>
              <a:gd name="adj5" fmla="val 92825"/>
              <a:gd name="adj6" fmla="val -16919"/>
              <a:gd name="adj7" fmla="val 78303"/>
              <a:gd name="adj8" fmla="val -24962"/>
            </a:avLst>
          </a:prstGeom>
          <a:solidFill>
            <a:schemeClr val="bg1"/>
          </a:solidFill>
          <a:ln w="28575">
            <a:solidFill>
              <a:srgbClr val="002E7B"/>
            </a:solidFill>
            <a:prstDash val="dash"/>
          </a:ln>
          <a:effectLst>
            <a:outerShdw blurRad="2032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ts val="1900"/>
              </a:lnSpc>
            </a:pPr>
            <a:r>
              <a:rPr lang="ru-RU" b="1" dirty="0" smtClean="0">
                <a:solidFill>
                  <a:srgbClr val="002E7B"/>
                </a:solidFill>
              </a:rPr>
              <a:t>СПВ Советско-Гаванский район</a:t>
            </a:r>
            <a:endParaRPr lang="en-US" b="1" dirty="0" smtClean="0">
              <a:solidFill>
                <a:srgbClr val="002E7B"/>
              </a:solidFill>
            </a:endParaRPr>
          </a:p>
          <a:p>
            <a:pPr>
              <a:lnSpc>
                <a:spcPts val="1900"/>
              </a:lnSpc>
            </a:pPr>
            <a:endParaRPr lang="ru-RU" b="1" dirty="0" smtClean="0">
              <a:solidFill>
                <a:schemeClr val="tx1"/>
              </a:solidFill>
            </a:endParaRPr>
          </a:p>
          <a:p>
            <a:pPr>
              <a:lnSpc>
                <a:spcPts val="1900"/>
              </a:lnSpc>
            </a:pPr>
            <a:endParaRPr lang="ru-RU" b="1" dirty="0">
              <a:solidFill>
                <a:schemeClr val="tx1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6953297"/>
              </p:ext>
            </p:extLst>
          </p:nvPr>
        </p:nvGraphicFramePr>
        <p:xfrm>
          <a:off x="3938409" y="3567926"/>
          <a:ext cx="4959303" cy="14392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8070"/>
                <a:gridCol w="1761233"/>
              </a:tblGrid>
              <a:tr h="23985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Площадь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E7B"/>
                          </a:solidFill>
                        </a:rPr>
                        <a:t>15,5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 тыс. кв. км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</a:tr>
              <a:tr h="20730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Население, 2016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E7B"/>
                          </a:solidFill>
                        </a:rPr>
                        <a:t>40,1 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тыс. чел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</a:tr>
              <a:tr h="245993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Среднемесячная</a:t>
                      </a:r>
                      <a:r>
                        <a:rPr lang="ru-RU" sz="1400" baseline="0" dirty="0" smtClean="0">
                          <a:solidFill>
                            <a:srgbClr val="002E7B"/>
                          </a:solidFill>
                        </a:rPr>
                        <a:t> начисленная 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з/п, 2015 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E7B"/>
                          </a:solidFill>
                        </a:rPr>
                        <a:t>592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 $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</a:tr>
              <a:tr h="260937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Инвестиции  в</a:t>
                      </a:r>
                      <a:r>
                        <a:rPr lang="ru-RU" sz="1400" baseline="0" dirty="0" smtClean="0">
                          <a:solidFill>
                            <a:srgbClr val="002E7B"/>
                          </a:solidFill>
                        </a:rPr>
                        <a:t> основной капитал 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, 2015 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E7B"/>
                          </a:solidFill>
                        </a:rPr>
                        <a:t>45,2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 млн. $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</a:tr>
              <a:tr h="31150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Грузооборот авт. Транспорта,2015</a:t>
                      </a:r>
                      <a:endParaRPr lang="ru-RU" sz="1400" dirty="0">
                        <a:solidFill>
                          <a:srgbClr val="002E7B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E7B"/>
                          </a:solidFill>
                        </a:rPr>
                        <a:t>27,9</a:t>
                      </a:r>
                      <a:r>
                        <a:rPr lang="ru-RU" sz="1400" dirty="0" smtClean="0">
                          <a:solidFill>
                            <a:srgbClr val="002E7B"/>
                          </a:solidFill>
                        </a:rPr>
                        <a:t> млн. т-км</a:t>
                      </a:r>
                    </a:p>
                  </a:txBody>
                  <a:tcPr marT="34290" marB="34290"/>
                </a:tc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395075"/>
              </p:ext>
            </p:extLst>
          </p:nvPr>
        </p:nvGraphicFramePr>
        <p:xfrm>
          <a:off x="3938409" y="1120971"/>
          <a:ext cx="4904318" cy="1905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40446"/>
                <a:gridCol w="1663872"/>
              </a:tblGrid>
              <a:tr h="26513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Площадь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25,7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тыс. кв. км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  <a:tr h="26513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Население, 2016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34,3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тыс. чел. 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  <a:tr h="26513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Среднемесячная</a:t>
                      </a:r>
                      <a:r>
                        <a:rPr lang="ru-RU" sz="14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начисленная з/п, 2015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676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$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  <a:tr h="26513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Инвестиции в основной капитал,</a:t>
                      </a:r>
                      <a:r>
                        <a:rPr lang="ru-RU" sz="14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2015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105,7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млн. $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  <a:tr h="465783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Грузооборот </a:t>
                      </a:r>
                      <a:r>
                        <a:rPr lang="ru-RU" sz="1400" baseline="0" dirty="0" smtClean="0">
                          <a:solidFill>
                            <a:schemeClr val="bg1"/>
                          </a:solidFill>
                        </a:rPr>
                        <a:t> автомобильного транспорта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, 2015 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130,8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млн. т-км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  <a:tr h="26687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Экспорт п. Ванино, 2015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24,3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млн. т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3751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027372"/>
              </p:ext>
            </p:extLst>
          </p:nvPr>
        </p:nvGraphicFramePr>
        <p:xfrm>
          <a:off x="1365667" y="974544"/>
          <a:ext cx="6662056" cy="40931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0835"/>
                <a:gridCol w="797801"/>
                <a:gridCol w="469342"/>
                <a:gridCol w="469342"/>
                <a:gridCol w="469342"/>
                <a:gridCol w="469342"/>
                <a:gridCol w="469342"/>
                <a:gridCol w="469342"/>
                <a:gridCol w="469342"/>
                <a:gridCol w="469342"/>
                <a:gridCol w="469342"/>
                <a:gridCol w="469342"/>
              </a:tblGrid>
              <a:tr h="258421"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/>
                        <a:t>Вид льгот</a:t>
                      </a:r>
                      <a:endParaRPr lang="ru-RU" sz="1200" dirty="0"/>
                    </a:p>
                  </a:txBody>
                  <a:tcPr marL="61724" marR="61724" marT="30862" marB="30862" anchor="ctr">
                    <a:solidFill>
                      <a:srgbClr val="013A8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Без льгот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60018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200" u="none" dirty="0" smtClean="0"/>
                        <a:t>Льготный период для резидентов,</a:t>
                      </a:r>
                      <a:r>
                        <a:rPr lang="ru-RU" sz="1200" u="none" baseline="0" dirty="0" smtClean="0"/>
                        <a:t> годы</a:t>
                      </a:r>
                      <a:endParaRPr lang="ru-RU" sz="1200" i="1" u="none" dirty="0">
                        <a:solidFill>
                          <a:schemeClr val="bg1"/>
                        </a:solidFill>
                      </a:endParaRPr>
                    </a:p>
                  </a:txBody>
                  <a:tcPr marL="61724" marR="61724" marT="30862" marB="30862">
                    <a:solidFill>
                      <a:srgbClr val="013A8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584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2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3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4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5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6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7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8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9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900" b="1" dirty="0" smtClean="0">
                          <a:solidFill>
                            <a:srgbClr val="013A87"/>
                          </a:solidFill>
                        </a:rPr>
                        <a:t>10</a:t>
                      </a:r>
                      <a:endParaRPr lang="ru-RU" sz="1900" b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18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dirty="0" smtClean="0"/>
                        <a:t>Налог на прибыль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/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D60018"/>
                          </a:solidFill>
                        </a:rPr>
                        <a:t>20 %</a:t>
                      </a:r>
                      <a:endParaRPr lang="ru-RU" sz="1600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i="1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9204"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ru-RU" sz="1100" dirty="0" smtClean="0"/>
                        <a:t>- федеральный</a:t>
                      </a:r>
                      <a:endParaRPr lang="ru-RU" sz="1100" dirty="0"/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0%</a:t>
                      </a: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2%</a:t>
                      </a: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992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- региональный</a:t>
                      </a:r>
                      <a:endParaRPr lang="ru-RU" sz="1100" dirty="0"/>
                    </a:p>
                  </a:txBody>
                  <a:tcPr marL="61724" marR="61724" marT="30862" marB="30862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0%</a:t>
                      </a: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10%</a:t>
                      </a: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318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алог на имущество</a:t>
                      </a:r>
                      <a:endParaRPr lang="ru-RU" sz="1100" b="1" i="0" u="none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D60018"/>
                          </a:solidFill>
                        </a:rPr>
                        <a:t>2,2%</a:t>
                      </a:r>
                      <a:endParaRPr lang="ru-RU" sz="1600" dirty="0">
                        <a:solidFill>
                          <a:srgbClr val="D60018"/>
                        </a:solidFill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rgbClr val="013A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%</a:t>
                      </a:r>
                      <a:endParaRPr lang="ru-RU" sz="1600" b="1" i="0" kern="1200" dirty="0">
                        <a:solidFill>
                          <a:srgbClr val="013A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18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Земельный налог</a:t>
                      </a:r>
                      <a:endParaRPr lang="ru-RU" sz="1100" b="1" i="0" u="non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D60018"/>
                          </a:solidFill>
                          <a:latin typeface="+mn-lt"/>
                          <a:ea typeface="+mn-ea"/>
                          <a:cs typeface="+mn-cs"/>
                        </a:rPr>
                        <a:t>1,5%</a:t>
                      </a:r>
                      <a:endParaRPr lang="ru-RU" sz="1600" kern="1200" dirty="0">
                        <a:solidFill>
                          <a:srgbClr val="D6001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0%</a:t>
                      </a: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24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24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600" b="1" i="0" dirty="0" smtClean="0">
                          <a:solidFill>
                            <a:srgbClr val="013A87"/>
                          </a:solidFill>
                        </a:rPr>
                        <a:t>1,5%</a:t>
                      </a:r>
                      <a:endParaRPr lang="ru-RU" sz="1600" b="1" i="0" dirty="0">
                        <a:solidFill>
                          <a:srgbClr val="013A87"/>
                        </a:solidFill>
                      </a:endParaRPr>
                    </a:p>
                  </a:txBody>
                  <a:tcPr marL="61724" marR="61724" marT="30862" marB="3086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24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24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6225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Не налоговые льгот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D60018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600" kern="1200" dirty="0">
                        <a:solidFill>
                          <a:srgbClr val="D6001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/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ru-RU" sz="1200" b="1" dirty="0" smtClean="0">
                          <a:solidFill>
                            <a:srgbClr val="013A8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жим свободной таможенной</a:t>
                      </a:r>
                      <a:r>
                        <a:rPr lang="ru-RU" sz="1200" b="1" baseline="0" dirty="0" smtClean="0">
                          <a:solidFill>
                            <a:srgbClr val="013A8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оны, «одно окно», упрощенный визовый режим, ускорение в сфере строительства, </a:t>
                      </a:r>
                      <a:r>
                        <a:rPr lang="ru-RU" sz="1400" b="1" kern="1200" dirty="0" smtClean="0">
                          <a:solidFill>
                            <a:srgbClr val="013A87"/>
                          </a:solidFill>
                          <a:latin typeface="+mn-lt"/>
                          <a:ea typeface="+mn-ea"/>
                          <a:cs typeface="+mn-cs"/>
                        </a:rPr>
                        <a:t>государственная протекция </a:t>
                      </a:r>
                      <a:endParaRPr lang="ru-RU" sz="1200" b="1" dirty="0">
                        <a:solidFill>
                          <a:srgbClr val="013A87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724" marR="61724" marT="30862" marB="3086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35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kern="1200" dirty="0" smtClean="0"/>
                        <a:t>НДС, проведение работ (оказание услуг) </a:t>
                      </a:r>
                      <a:endParaRPr lang="ru-RU" sz="1100" b="1" i="0" u="non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D60018"/>
                          </a:solidFill>
                          <a:latin typeface="+mn-lt"/>
                          <a:ea typeface="+mn-ea"/>
                          <a:cs typeface="+mn-cs"/>
                        </a:rPr>
                        <a:t>18 %</a:t>
                      </a: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13A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скоренная процедура возмещения НДС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13A8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724" marR="61724" marT="30862" marB="30862" anchor="ctr"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2" name="Группа 11"/>
          <p:cNvGrpSpPr/>
          <p:nvPr/>
        </p:nvGrpSpPr>
        <p:grpSpPr>
          <a:xfrm>
            <a:off x="1485809" y="1"/>
            <a:ext cx="6172382" cy="843254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9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2061530" y="49460"/>
            <a:ext cx="5449523" cy="807913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льготы и преференции </a:t>
            </a:r>
            <a:br>
              <a:rPr lang="ru-RU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идентам СПВ</a:t>
            </a:r>
          </a:p>
        </p:txBody>
      </p:sp>
    </p:spTree>
    <p:extLst>
      <p:ext uri="{BB962C8B-B14F-4D97-AF65-F5344CB8AC3E}">
        <p14:creationId xmlns:p14="http://schemas.microsoft.com/office/powerpoint/2010/main" val="392752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1"/>
          <p:cNvGrpSpPr/>
          <p:nvPr/>
        </p:nvGrpSpPr>
        <p:grpSpPr>
          <a:xfrm>
            <a:off x="1485809" y="1"/>
            <a:ext cx="6172382" cy="843254"/>
            <a:chOff x="0" y="5050"/>
            <a:chExt cx="9144000" cy="100012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797"/>
              <a:ext cx="9144000" cy="974240"/>
            </a:xfrm>
            <a:prstGeom prst="rect">
              <a:avLst/>
            </a:prstGeom>
          </p:spPr>
        </p:pic>
        <p:pic>
          <p:nvPicPr>
            <p:cNvPr id="9" name="Picture 11" descr="M:\Геральдика -Хаб-края\Герб_цветной\ХК_герб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6104" y="5050"/>
              <a:ext cx="881062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/>
        </p:nvSpPr>
        <p:spPr>
          <a:xfrm>
            <a:off x="1965278" y="49460"/>
            <a:ext cx="5950423" cy="807913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прощенный режим привлечения иностранной рабочей силы в ТОСЭР, СПВ</a:t>
            </a:r>
            <a:endParaRPr lang="ru-RU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89811" y="1037286"/>
            <a:ext cx="7235323" cy="8617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endParaRPr lang="ru-RU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lnSpc>
                <a:spcPts val="2000"/>
              </a:lnSpc>
            </a:pPr>
            <a:r>
              <a:rPr lang="ru-RU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ru-RU" sz="3600" dirty="0" smtClean="0">
                <a:solidFill>
                  <a:schemeClr val="bg1"/>
                </a:solidFill>
              </a:rPr>
              <a:t>. </a:t>
            </a:r>
            <a:r>
              <a:rPr lang="ru-RU" sz="1600" dirty="0" smtClean="0">
                <a:solidFill>
                  <a:schemeClr val="bg1"/>
                </a:solidFill>
              </a:rPr>
              <a:t>Резиденту ТОСЭР</a:t>
            </a:r>
            <a:r>
              <a:rPr lang="en-US" sz="1600" dirty="0" smtClean="0">
                <a:solidFill>
                  <a:schemeClr val="bg1"/>
                </a:solidFill>
              </a:rPr>
              <a:t>/</a:t>
            </a:r>
            <a:r>
              <a:rPr lang="ru-RU" sz="1600" dirty="0" smtClean="0">
                <a:solidFill>
                  <a:schemeClr val="bg1"/>
                </a:solidFill>
              </a:rPr>
              <a:t>СПВ не требуется получение разрешени</a:t>
            </a:r>
            <a:r>
              <a:rPr lang="ru-RU" sz="1600" dirty="0">
                <a:solidFill>
                  <a:schemeClr val="bg1"/>
                </a:solidFill>
              </a:rPr>
              <a:t>я</a:t>
            </a:r>
            <a:r>
              <a:rPr lang="ru-RU" sz="1600" dirty="0" smtClean="0">
                <a:solidFill>
                  <a:schemeClr val="bg1"/>
                </a:solidFill>
              </a:rPr>
              <a:t> на привлечение иностранных работников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89810" y="2150769"/>
            <a:ext cx="7235323" cy="8617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endParaRPr lang="ru-RU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lnSpc>
                <a:spcPts val="2000"/>
              </a:lnSpc>
            </a:pPr>
            <a:r>
              <a:rPr lang="ru-RU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ru-RU" sz="3600" dirty="0" smtClean="0">
                <a:solidFill>
                  <a:schemeClr val="bg1"/>
                </a:solidFill>
              </a:rPr>
              <a:t>. </a:t>
            </a:r>
            <a:r>
              <a:rPr lang="ru-RU" sz="1600" dirty="0" smtClean="0">
                <a:solidFill>
                  <a:schemeClr val="bg1"/>
                </a:solidFill>
              </a:rPr>
              <a:t>Наблюдательный совет ТОСЭР</a:t>
            </a:r>
            <a:r>
              <a:rPr lang="en-US" sz="1600" dirty="0" smtClean="0">
                <a:solidFill>
                  <a:schemeClr val="bg1"/>
                </a:solidFill>
              </a:rPr>
              <a:t>/</a:t>
            </a:r>
            <a:r>
              <a:rPr lang="ru-RU" sz="1600" dirty="0" smtClean="0">
                <a:solidFill>
                  <a:schemeClr val="bg1"/>
                </a:solidFill>
              </a:rPr>
              <a:t>СПВ определяет долю иностранных работников, привлекаемых резидентами ТОСЭР</a:t>
            </a:r>
            <a:r>
              <a:rPr lang="en-US" sz="1600" dirty="0" smtClean="0">
                <a:solidFill>
                  <a:schemeClr val="bg1"/>
                </a:solidFill>
              </a:rPr>
              <a:t>/</a:t>
            </a:r>
            <a:r>
              <a:rPr lang="ru-RU" sz="1600" dirty="0" smtClean="0">
                <a:solidFill>
                  <a:schemeClr val="bg1"/>
                </a:solidFill>
              </a:rPr>
              <a:t>СПВ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89812" y="3236362"/>
            <a:ext cx="7235322" cy="111825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endParaRPr lang="ru-RU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lnSpc>
                <a:spcPts val="2000"/>
              </a:lnSpc>
            </a:pPr>
            <a:r>
              <a:rPr lang="ru-RU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</a:t>
            </a:r>
            <a:r>
              <a:rPr lang="ru-RU" sz="1600" dirty="0">
                <a:solidFill>
                  <a:schemeClr val="bg1"/>
                </a:solidFill>
              </a:rPr>
              <a:t>П</a:t>
            </a:r>
            <a:r>
              <a:rPr lang="ru-RU" sz="1600" dirty="0" smtClean="0">
                <a:solidFill>
                  <a:schemeClr val="bg1"/>
                </a:solidFill>
              </a:rPr>
              <a:t>ри </a:t>
            </a:r>
            <a:r>
              <a:rPr lang="ru-RU" sz="1600" dirty="0">
                <a:solidFill>
                  <a:schemeClr val="bg1"/>
                </a:solidFill>
              </a:rPr>
              <a:t>наличии документа об определении доли </a:t>
            </a:r>
            <a:r>
              <a:rPr lang="ru-RU" sz="1600" dirty="0" smtClean="0">
                <a:solidFill>
                  <a:schemeClr val="bg1"/>
                </a:solidFill>
              </a:rPr>
              <a:t>иностранных работников для </a:t>
            </a:r>
            <a:r>
              <a:rPr lang="ru-RU" sz="1600" dirty="0">
                <a:solidFill>
                  <a:schemeClr val="bg1"/>
                </a:solidFill>
              </a:rPr>
              <a:t>оформления разрешения на работу </a:t>
            </a:r>
            <a:r>
              <a:rPr lang="ru-RU" sz="1600" dirty="0" smtClean="0">
                <a:solidFill>
                  <a:schemeClr val="bg1"/>
                </a:solidFill>
              </a:rPr>
              <a:t>резиденту ТОСЭР</a:t>
            </a:r>
            <a:r>
              <a:rPr lang="en-US" sz="1600" dirty="0" smtClean="0">
                <a:solidFill>
                  <a:schemeClr val="bg1"/>
                </a:solidFill>
              </a:rPr>
              <a:t>/</a:t>
            </a:r>
            <a:r>
              <a:rPr lang="ru-RU" sz="1600" dirty="0" smtClean="0">
                <a:solidFill>
                  <a:schemeClr val="bg1"/>
                </a:solidFill>
              </a:rPr>
              <a:t>СПВ </a:t>
            </a:r>
            <a:r>
              <a:rPr lang="ru-RU" sz="1600" dirty="0">
                <a:solidFill>
                  <a:schemeClr val="bg1"/>
                </a:solidFill>
              </a:rPr>
              <a:t>необходимо обратиться в территориальный орган </a:t>
            </a:r>
            <a:r>
              <a:rPr lang="ru-RU" sz="1600" dirty="0" smtClean="0">
                <a:solidFill>
                  <a:schemeClr val="bg1"/>
                </a:solidFill>
              </a:rPr>
              <a:t>МВД России</a:t>
            </a:r>
          </a:p>
        </p:txBody>
      </p:sp>
    </p:spTree>
    <p:extLst>
      <p:ext uri="{BB962C8B-B14F-4D97-AF65-F5344CB8AC3E}">
        <p14:creationId xmlns:p14="http://schemas.microsoft.com/office/powerpoint/2010/main" val="382781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TccDyrU0m7.vrlbxzT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TccDyrU0m7.vrlbxzTQ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0</TotalTime>
  <Words>1705</Words>
  <Application>Microsoft Office PowerPoint</Application>
  <PresentationFormat>Экран (16:9)</PresentationFormat>
  <Paragraphs>531</Paragraphs>
  <Slides>24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илоненко Валентина Владимировна</dc:creator>
  <cp:lastModifiedBy>Вищик Ю.Л. (339)</cp:lastModifiedBy>
  <cp:revision>34</cp:revision>
  <cp:lastPrinted>2017-03-11T03:50:22Z</cp:lastPrinted>
  <dcterms:created xsi:type="dcterms:W3CDTF">2016-06-01T04:56:47Z</dcterms:created>
  <dcterms:modified xsi:type="dcterms:W3CDTF">2017-03-27T07:10:06Z</dcterms:modified>
</cp:coreProperties>
</file>